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1.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2.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charts/chart4.xml" ContentType="application/vnd.openxmlformats-officedocument.drawingml.chart+xml"/>
  <Override PartName="/ppt/notesSlides/notesSlide1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 id="2147483750" r:id="rId2"/>
    <p:sldMasterId id="2147483987" r:id="rId3"/>
    <p:sldMasterId id="2147483989" r:id="rId4"/>
    <p:sldMasterId id="2147484012" r:id="rId5"/>
    <p:sldMasterId id="2147484030" r:id="rId6"/>
    <p:sldMasterId id="2147484067" r:id="rId7"/>
    <p:sldMasterId id="2147484085" r:id="rId8"/>
    <p:sldMasterId id="2147484105" r:id="rId9"/>
    <p:sldMasterId id="2147484150" r:id="rId10"/>
    <p:sldMasterId id="2147484198" r:id="rId11"/>
    <p:sldMasterId id="2147484211" r:id="rId12"/>
    <p:sldMasterId id="2147484235" r:id="rId13"/>
  </p:sldMasterIdLst>
  <p:notesMasterIdLst>
    <p:notesMasterId r:id="rId38"/>
  </p:notesMasterIdLst>
  <p:handoutMasterIdLst>
    <p:handoutMasterId r:id="rId39"/>
  </p:handoutMasterIdLst>
  <p:sldIdLst>
    <p:sldId id="584" r:id="rId14"/>
    <p:sldId id="702" r:id="rId15"/>
    <p:sldId id="686" r:id="rId16"/>
    <p:sldId id="688" r:id="rId17"/>
    <p:sldId id="693" r:id="rId18"/>
    <p:sldId id="708" r:id="rId19"/>
    <p:sldId id="704" r:id="rId20"/>
    <p:sldId id="709" r:id="rId21"/>
    <p:sldId id="716" r:id="rId22"/>
    <p:sldId id="719" r:id="rId23"/>
    <p:sldId id="721" r:id="rId24"/>
    <p:sldId id="694" r:id="rId25"/>
    <p:sldId id="692" r:id="rId26"/>
    <p:sldId id="652" r:id="rId27"/>
    <p:sldId id="695" r:id="rId28"/>
    <p:sldId id="673" r:id="rId29"/>
    <p:sldId id="697" r:id="rId30"/>
    <p:sldId id="685" r:id="rId31"/>
    <p:sldId id="722" r:id="rId32"/>
    <p:sldId id="727" r:id="rId33"/>
    <p:sldId id="724" r:id="rId34"/>
    <p:sldId id="725" r:id="rId35"/>
    <p:sldId id="726" r:id="rId36"/>
    <p:sldId id="728" r:id="rId37"/>
  </p:sldIdLst>
  <p:sldSz cx="9144000" cy="5143500" type="screen16x9"/>
  <p:notesSz cx="9296400" cy="70104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1414"/>
    <a:srgbClr val="FFCC00"/>
    <a:srgbClr val="C0C0C0"/>
    <a:srgbClr val="A3A3A3"/>
    <a:srgbClr val="E5E5E5"/>
    <a:srgbClr val="B3B3B3"/>
    <a:srgbClr val="454545"/>
    <a:srgbClr val="FF0000"/>
    <a:srgbClr val="7F7F7F"/>
    <a:srgbClr val="7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69" autoAdjust="0"/>
    <p:restoredTop sz="75000" autoAdjust="0"/>
  </p:normalViewPr>
  <p:slideViewPr>
    <p:cSldViewPr snapToGrid="0">
      <p:cViewPr varScale="1">
        <p:scale>
          <a:sx n="63" d="100"/>
          <a:sy n="63" d="100"/>
        </p:scale>
        <p:origin x="-1416" y="-60"/>
      </p:cViewPr>
      <p:guideLst>
        <p:guide orient="horz" pos="1492"/>
        <p:guide orient="horz" pos="842"/>
        <p:guide orient="horz" pos="540"/>
        <p:guide orient="horz" pos="2281"/>
        <p:guide orient="horz" pos="2776"/>
        <p:guide orient="horz" pos="648"/>
        <p:guide orient="horz" pos="1739"/>
        <p:guide orient="horz" pos="355"/>
        <p:guide orient="horz" pos="180"/>
        <p:guide orient="horz" pos="263"/>
        <p:guide pos="2880"/>
        <p:guide pos="5619"/>
        <p:guide pos="3091"/>
        <p:guide pos="291"/>
        <p:guide pos="2327"/>
        <p:guide pos="512"/>
      </p:guideLst>
    </p:cSldViewPr>
  </p:slideViewPr>
  <p:notesTextViewPr>
    <p:cViewPr>
      <p:scale>
        <a:sx n="1" d="1"/>
        <a:sy n="1" d="1"/>
      </p:scale>
      <p:origin x="0" y="0"/>
    </p:cViewPr>
  </p:notesTextViewPr>
  <p:sorterViewPr>
    <p:cViewPr>
      <p:scale>
        <a:sx n="90" d="100"/>
        <a:sy n="90" d="100"/>
      </p:scale>
      <p:origin x="0" y="946"/>
    </p:cViewPr>
  </p:sorterViewPr>
  <p:notesViewPr>
    <p:cSldViewPr snapToGrid="0" snapToObjects="1">
      <p:cViewPr varScale="1">
        <p:scale>
          <a:sx n="95" d="100"/>
          <a:sy n="95" d="100"/>
        </p:scale>
        <p:origin x="-2724" y="-9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1.xlsx"/></Relationships>
</file>

<file path=ppt/charts/_rels/chart2.xml.rels><?xml version="1.0" encoding="UTF-8" standalone="yes"?>
<Relationships xmlns="http://schemas.openxmlformats.org/package/2006/relationships"><Relationship Id="rId1" Type="http://schemas.openxmlformats.org/officeDocument/2006/relationships/oleObject" Target="Workbook16"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___2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3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gradFill flip="none" rotWithShape="1">
              <a:gsLst>
                <a:gs pos="0">
                  <a:srgbClr val="C80000"/>
                </a:gs>
                <a:gs pos="100000">
                  <a:srgbClr val="FF1414"/>
                </a:gs>
              </a:gsLst>
              <a:lin ang="16200000" scaled="0"/>
              <a:tileRect/>
            </a:gradFill>
          </c:spPr>
          <c:invertIfNegative val="0"/>
          <c:dLbls>
            <c:dLbl>
              <c:idx val="0"/>
              <c:layout>
                <c:manualLayout>
                  <c:x val="0"/>
                  <c:y val="-0.15148356455443177"/>
                </c:manualLayout>
              </c:layout>
              <c:tx>
                <c:rich>
                  <a:bodyPr/>
                  <a:lstStyle/>
                  <a:p>
                    <a:r>
                      <a:rPr lang="en-US" dirty="0"/>
                      <a:t>$</a:t>
                    </a:r>
                    <a:r>
                      <a:rPr lang="en-US" dirty="0" smtClean="0"/>
                      <a:t>1.3B</a:t>
                    </a:r>
                    <a:endParaRPr lang="en-US" dirty="0"/>
                  </a:p>
                </c:rich>
              </c:tx>
              <c:dLblPos val="ctr"/>
              <c:showLegendKey val="0"/>
              <c:showVal val="1"/>
              <c:showCatName val="0"/>
              <c:showSerName val="0"/>
              <c:showPercent val="0"/>
              <c:showBubbleSize val="0"/>
            </c:dLbl>
            <c:dLbl>
              <c:idx val="1"/>
              <c:layout>
                <c:manualLayout>
                  <c:x val="0"/>
                  <c:y val="-0.16497979419239414"/>
                </c:manualLayout>
              </c:layout>
              <c:tx>
                <c:rich>
                  <a:bodyPr/>
                  <a:lstStyle/>
                  <a:p>
                    <a:r>
                      <a:rPr lang="en-US" dirty="0"/>
                      <a:t>$</a:t>
                    </a:r>
                    <a:r>
                      <a:rPr lang="en-US" dirty="0" smtClean="0"/>
                      <a:t>1.5B</a:t>
                    </a:r>
                    <a:endParaRPr lang="en-US" dirty="0"/>
                  </a:p>
                </c:rich>
              </c:tx>
              <c:dLblPos val="ctr"/>
              <c:showLegendKey val="0"/>
              <c:showVal val="1"/>
              <c:showCatName val="0"/>
              <c:showSerName val="0"/>
              <c:showPercent val="0"/>
              <c:showBubbleSize val="0"/>
            </c:dLbl>
            <c:dLbl>
              <c:idx val="2"/>
              <c:layout>
                <c:manualLayout>
                  <c:x val="0"/>
                  <c:y val="-0.18668208140649237"/>
                </c:manualLayout>
              </c:layout>
              <c:tx>
                <c:rich>
                  <a:bodyPr/>
                  <a:lstStyle/>
                  <a:p>
                    <a:r>
                      <a:rPr lang="en-US" dirty="0"/>
                      <a:t>$</a:t>
                    </a:r>
                    <a:r>
                      <a:rPr lang="en-US" dirty="0" smtClean="0"/>
                      <a:t>1.9B</a:t>
                    </a:r>
                    <a:endParaRPr lang="en-US" dirty="0"/>
                  </a:p>
                </c:rich>
              </c:tx>
              <c:dLblPos val="ctr"/>
              <c:showLegendKey val="0"/>
              <c:showVal val="1"/>
              <c:showCatName val="0"/>
              <c:showSerName val="0"/>
              <c:showPercent val="0"/>
              <c:showBubbleSize val="0"/>
            </c:dLbl>
            <c:dLbl>
              <c:idx val="3"/>
              <c:layout>
                <c:manualLayout>
                  <c:x val="2.4210365582239511E-3"/>
                  <c:y val="-0.20546931633545887"/>
                </c:manualLayout>
              </c:layout>
              <c:tx>
                <c:rich>
                  <a:bodyPr/>
                  <a:lstStyle/>
                  <a:p>
                    <a:r>
                      <a:rPr lang="en-US" dirty="0"/>
                      <a:t>$</a:t>
                    </a:r>
                    <a:r>
                      <a:rPr lang="en-US" dirty="0" smtClean="0"/>
                      <a:t>2.1B</a:t>
                    </a:r>
                    <a:endParaRPr lang="en-US" dirty="0"/>
                  </a:p>
                </c:rich>
              </c:tx>
              <c:dLblPos val="ctr"/>
              <c:showLegendKey val="0"/>
              <c:showVal val="1"/>
              <c:showCatName val="0"/>
              <c:showSerName val="0"/>
              <c:showPercent val="0"/>
              <c:showBubbleSize val="0"/>
            </c:dLbl>
            <c:dLbl>
              <c:idx val="4"/>
              <c:layout>
                <c:manualLayout>
                  <c:x val="0"/>
                  <c:y val="-0.23656501270674504"/>
                </c:manualLayout>
              </c:layout>
              <c:tx>
                <c:rich>
                  <a:bodyPr/>
                  <a:lstStyle/>
                  <a:p>
                    <a:r>
                      <a:rPr lang="en-US" dirty="0"/>
                      <a:t>$</a:t>
                    </a:r>
                    <a:r>
                      <a:rPr lang="en-US" dirty="0" smtClean="0"/>
                      <a:t>2.6B</a:t>
                    </a:r>
                    <a:endParaRPr lang="en-US" dirty="0"/>
                  </a:p>
                </c:rich>
              </c:tx>
              <c:dLblPos val="ctr"/>
              <c:showLegendKey val="0"/>
              <c:showVal val="1"/>
              <c:showCatName val="0"/>
              <c:showSerName val="0"/>
              <c:showPercent val="0"/>
              <c:showBubbleSize val="0"/>
            </c:dLbl>
            <c:dLbl>
              <c:idx val="5"/>
              <c:layout>
                <c:manualLayout>
                  <c:x val="0"/>
                  <c:y val="-0.23656501270674493"/>
                </c:manualLayout>
              </c:layout>
              <c:tx>
                <c:rich>
                  <a:bodyPr/>
                  <a:lstStyle/>
                  <a:p>
                    <a:r>
                      <a:rPr lang="en-US" dirty="0"/>
                      <a:t>$</a:t>
                    </a:r>
                    <a:r>
                      <a:rPr lang="en-US" dirty="0" smtClean="0"/>
                      <a:t>2.6B</a:t>
                    </a:r>
                    <a:endParaRPr lang="en-US" dirty="0"/>
                  </a:p>
                </c:rich>
              </c:tx>
              <c:dLblPos val="ctr"/>
              <c:showLegendKey val="0"/>
              <c:showVal val="1"/>
              <c:showCatName val="0"/>
              <c:showSerName val="0"/>
              <c:showPercent val="0"/>
              <c:showBubbleSize val="0"/>
            </c:dLbl>
            <c:dLbl>
              <c:idx val="6"/>
              <c:layout>
                <c:manualLayout>
                  <c:x val="0"/>
                  <c:y val="-0.26766070907803197"/>
                </c:manualLayout>
              </c:layout>
              <c:tx>
                <c:rich>
                  <a:bodyPr/>
                  <a:lstStyle/>
                  <a:p>
                    <a:r>
                      <a:rPr lang="en-US" dirty="0"/>
                      <a:t>$</a:t>
                    </a:r>
                    <a:r>
                      <a:rPr lang="en-US" dirty="0" smtClean="0"/>
                      <a:t>3.1B</a:t>
                    </a:r>
                    <a:endParaRPr lang="en-US" dirty="0"/>
                  </a:p>
                </c:rich>
              </c:tx>
              <c:dLblPos val="ctr"/>
              <c:showLegendKey val="0"/>
              <c:showVal val="1"/>
              <c:showCatName val="0"/>
              <c:showSerName val="0"/>
              <c:showPercent val="0"/>
              <c:showBubbleSize val="0"/>
            </c:dLbl>
            <c:dLbl>
              <c:idx val="7"/>
              <c:layout>
                <c:manualLayout>
                  <c:x val="0"/>
                  <c:y val="-0.36213598300212485"/>
                </c:manualLayout>
              </c:layout>
              <c:tx>
                <c:rich>
                  <a:bodyPr/>
                  <a:lstStyle/>
                  <a:p>
                    <a:r>
                      <a:rPr lang="en-US" dirty="0"/>
                      <a:t>$</a:t>
                    </a:r>
                    <a:r>
                      <a:rPr lang="en-US" dirty="0" smtClean="0"/>
                      <a:t>4.5B</a:t>
                    </a:r>
                    <a:endParaRPr lang="en-US" dirty="0"/>
                  </a:p>
                </c:rich>
              </c:tx>
              <c:dLblPos val="ctr"/>
              <c:showLegendKey val="0"/>
              <c:showVal val="1"/>
              <c:showCatName val="0"/>
              <c:showSerName val="0"/>
              <c:showPercent val="0"/>
              <c:showBubbleSize val="0"/>
            </c:dLbl>
            <c:dLbl>
              <c:idx val="8"/>
              <c:layout>
                <c:manualLayout>
                  <c:x val="-8.8770314985959006E-17"/>
                  <c:y val="-0.36213598300212485"/>
                </c:manualLayout>
              </c:layout>
              <c:tx>
                <c:rich>
                  <a:bodyPr/>
                  <a:lstStyle/>
                  <a:p>
                    <a:r>
                      <a:rPr lang="en-US" dirty="0"/>
                      <a:t>$</a:t>
                    </a:r>
                    <a:r>
                      <a:rPr lang="en-US" dirty="0" smtClean="0"/>
                      <a:t>4.5B</a:t>
                    </a:r>
                    <a:endParaRPr lang="en-US" dirty="0"/>
                  </a:p>
                </c:rich>
              </c:tx>
              <c:dLblPos val="ctr"/>
              <c:showLegendKey val="0"/>
              <c:showVal val="1"/>
              <c:showCatName val="0"/>
              <c:showSerName val="0"/>
              <c:showPercent val="0"/>
              <c:showBubbleSize val="0"/>
            </c:dLbl>
            <c:dLbl>
              <c:idx val="9"/>
              <c:layout>
                <c:manualLayout>
                  <c:x val="0"/>
                  <c:y val="-0.38383785360163331"/>
                </c:manualLayout>
              </c:layout>
              <c:tx>
                <c:rich>
                  <a:bodyPr/>
                  <a:lstStyle/>
                  <a:p>
                    <a:r>
                      <a:rPr lang="en-US" dirty="0"/>
                      <a:t>$</a:t>
                    </a:r>
                    <a:r>
                      <a:rPr lang="en-US" dirty="0" smtClean="0"/>
                      <a:t>4.9B</a:t>
                    </a:r>
                    <a:endParaRPr lang="en-US" dirty="0"/>
                  </a:p>
                </c:rich>
              </c:tx>
              <c:dLblPos val="ctr"/>
              <c:showLegendKey val="0"/>
              <c:showVal val="1"/>
              <c:showCatName val="0"/>
              <c:showSerName val="0"/>
              <c:showPercent val="0"/>
              <c:showBubbleSize val="0"/>
            </c:dLbl>
            <c:numFmt formatCode="&quot;$&quot;#.#" sourceLinked="0"/>
            <c:txPr>
              <a:bodyPr/>
              <a:lstStyle/>
              <a:p>
                <a:pPr>
                  <a:defRPr sz="1400" b="1"/>
                </a:pPr>
                <a:endParaRPr lang="zh-CN"/>
              </a:p>
            </c:txPr>
            <c:dLblPos val="inBase"/>
            <c:showLegendKey val="0"/>
            <c:showVal val="1"/>
            <c:showCatName val="0"/>
            <c:showSerName val="0"/>
            <c:showPercent val="0"/>
            <c:showBubbleSize val="0"/>
            <c:showLeaderLines val="0"/>
          </c:dLbls>
          <c:cat>
            <c:strRef>
              <c:f>Sheet1!$A$2:$A$11</c:f>
              <c:strCache>
                <c:ptCount val="10"/>
                <c:pt idx="0">
                  <c:v>FY04</c:v>
                </c:pt>
                <c:pt idx="1">
                  <c:v>FY05</c:v>
                </c:pt>
                <c:pt idx="2">
                  <c:v>FY06</c:v>
                </c:pt>
                <c:pt idx="3">
                  <c:v>FY07</c:v>
                </c:pt>
                <c:pt idx="4">
                  <c:v>FY08</c:v>
                </c:pt>
                <c:pt idx="5">
                  <c:v>FY09</c:v>
                </c:pt>
                <c:pt idx="6">
                  <c:v>FY10</c:v>
                </c:pt>
                <c:pt idx="7">
                  <c:v>FY11</c:v>
                </c:pt>
                <c:pt idx="8">
                  <c:v>FY12</c:v>
                </c:pt>
                <c:pt idx="9">
                  <c:v>FY13</c:v>
                </c:pt>
              </c:strCache>
            </c:strRef>
          </c:cat>
          <c:val>
            <c:numRef>
              <c:f>Sheet1!$B$2:$B$11</c:f>
              <c:numCache>
                <c:formatCode>General</c:formatCode>
                <c:ptCount val="10"/>
                <c:pt idx="0">
                  <c:v>1.3</c:v>
                </c:pt>
                <c:pt idx="1">
                  <c:v>1.5</c:v>
                </c:pt>
                <c:pt idx="2">
                  <c:v>1.9000000000000001</c:v>
                </c:pt>
                <c:pt idx="3">
                  <c:v>2.1</c:v>
                </c:pt>
                <c:pt idx="4">
                  <c:v>2.6</c:v>
                </c:pt>
                <c:pt idx="5">
                  <c:v>2.6</c:v>
                </c:pt>
                <c:pt idx="6">
                  <c:v>3.1</c:v>
                </c:pt>
                <c:pt idx="7">
                  <c:v>4.5</c:v>
                </c:pt>
                <c:pt idx="8">
                  <c:v>4.5</c:v>
                </c:pt>
                <c:pt idx="9">
                  <c:v>4.9000000000000004</c:v>
                </c:pt>
              </c:numCache>
            </c:numRef>
          </c:val>
        </c:ser>
        <c:dLbls>
          <c:showLegendKey val="0"/>
          <c:showVal val="1"/>
          <c:showCatName val="0"/>
          <c:showSerName val="0"/>
          <c:showPercent val="0"/>
          <c:showBubbleSize val="0"/>
        </c:dLbls>
        <c:gapWidth val="21"/>
        <c:overlap val="100"/>
        <c:axId val="47426176"/>
        <c:axId val="47453696"/>
      </c:barChart>
      <c:catAx>
        <c:axId val="47426176"/>
        <c:scaling>
          <c:orientation val="minMax"/>
        </c:scaling>
        <c:delete val="0"/>
        <c:axPos val="b"/>
        <c:majorTickMark val="none"/>
        <c:minorTickMark val="none"/>
        <c:tickLblPos val="nextTo"/>
        <c:txPr>
          <a:bodyPr/>
          <a:lstStyle/>
          <a:p>
            <a:pPr>
              <a:defRPr sz="1400" b="1"/>
            </a:pPr>
            <a:endParaRPr lang="zh-CN"/>
          </a:p>
        </c:txPr>
        <c:crossAx val="47453696"/>
        <c:crosses val="autoZero"/>
        <c:auto val="1"/>
        <c:lblAlgn val="ctr"/>
        <c:lblOffset val="100"/>
        <c:noMultiLvlLbl val="0"/>
      </c:catAx>
      <c:valAx>
        <c:axId val="47453696"/>
        <c:scaling>
          <c:orientation val="minMax"/>
        </c:scaling>
        <c:delete val="1"/>
        <c:axPos val="l"/>
        <c:numFmt formatCode="General" sourceLinked="1"/>
        <c:majorTickMark val="out"/>
        <c:minorTickMark val="none"/>
        <c:tickLblPos val="none"/>
        <c:crossAx val="4742617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4405986096169501"/>
          <c:y val="5.0925925925926777E-2"/>
          <c:w val="0.80143462337296456"/>
          <c:h val="0.83333333333333304"/>
        </c:manualLayout>
      </c:layout>
      <c:barChart>
        <c:barDir val="col"/>
        <c:grouping val="clustered"/>
        <c:varyColors val="0"/>
        <c:ser>
          <c:idx val="0"/>
          <c:order val="0"/>
          <c:tx>
            <c:strRef>
              <c:f>Sheet1!$B$18</c:f>
              <c:strCache>
                <c:ptCount val="1"/>
                <c:pt idx="0">
                  <c:v>Before HCC</c:v>
                </c:pt>
              </c:strCache>
            </c:strRef>
          </c:tx>
          <c:spPr>
            <a:solidFill>
              <a:schemeClr val="bg1">
                <a:lumMod val="65000"/>
              </a:schemeClr>
            </a:solidFill>
            <a:scene3d>
              <a:camera prst="orthographicFront"/>
              <a:lightRig rig="threePt" dir="t"/>
            </a:scene3d>
            <a:sp3d>
              <a:bevelT/>
            </a:sp3d>
          </c:spPr>
          <c:invertIfNegative val="0"/>
          <c:cat>
            <c:strRef>
              <c:f>Sheet1!$A$19:$A$23</c:f>
              <c:strCache>
                <c:ptCount val="5"/>
                <c:pt idx="0">
                  <c:v>Example #1</c:v>
                </c:pt>
                <c:pt idx="1">
                  <c:v>Example #2</c:v>
                </c:pt>
                <c:pt idx="2">
                  <c:v>Example #3</c:v>
                </c:pt>
                <c:pt idx="3">
                  <c:v>Example #4</c:v>
                </c:pt>
                <c:pt idx="4">
                  <c:v>Example #5</c:v>
                </c:pt>
              </c:strCache>
            </c:strRef>
          </c:cat>
          <c:val>
            <c:numRef>
              <c:f>Sheet1!$B$19:$B$23</c:f>
              <c:numCache>
                <c:formatCode>General</c:formatCode>
                <c:ptCount val="5"/>
                <c:pt idx="0">
                  <c:v>52</c:v>
                </c:pt>
                <c:pt idx="1">
                  <c:v>52</c:v>
                </c:pt>
                <c:pt idx="2">
                  <c:v>149</c:v>
                </c:pt>
                <c:pt idx="3">
                  <c:v>142</c:v>
                </c:pt>
                <c:pt idx="4">
                  <c:v>103</c:v>
                </c:pt>
              </c:numCache>
            </c:numRef>
          </c:val>
        </c:ser>
        <c:ser>
          <c:idx val="1"/>
          <c:order val="1"/>
          <c:tx>
            <c:strRef>
              <c:f>Sheet1!$C$18</c:f>
              <c:strCache>
                <c:ptCount val="1"/>
                <c:pt idx="0">
                  <c:v>After HCC</c:v>
                </c:pt>
              </c:strCache>
            </c:strRef>
          </c:tx>
          <c:spPr>
            <a:solidFill>
              <a:srgbClr val="FF0000"/>
            </a:solidFill>
            <a:scene3d>
              <a:camera prst="orthographicFront"/>
              <a:lightRig rig="threePt" dir="t"/>
            </a:scene3d>
            <a:sp3d>
              <a:bevelT/>
            </a:sp3d>
          </c:spPr>
          <c:invertIfNegative val="0"/>
          <c:cat>
            <c:strRef>
              <c:f>Sheet1!$A$19:$A$23</c:f>
              <c:strCache>
                <c:ptCount val="5"/>
                <c:pt idx="0">
                  <c:v>Example #1</c:v>
                </c:pt>
                <c:pt idx="1">
                  <c:v>Example #2</c:v>
                </c:pt>
                <c:pt idx="2">
                  <c:v>Example #3</c:v>
                </c:pt>
                <c:pt idx="3">
                  <c:v>Example #4</c:v>
                </c:pt>
                <c:pt idx="4">
                  <c:v>Example #5</c:v>
                </c:pt>
              </c:strCache>
            </c:strRef>
          </c:cat>
          <c:val>
            <c:numRef>
              <c:f>Sheet1!$C$19:$C$23</c:f>
              <c:numCache>
                <c:formatCode>General</c:formatCode>
                <c:ptCount val="5"/>
                <c:pt idx="0">
                  <c:v>10</c:v>
                </c:pt>
                <c:pt idx="1">
                  <c:v>36</c:v>
                </c:pt>
                <c:pt idx="2">
                  <c:v>30</c:v>
                </c:pt>
                <c:pt idx="3">
                  <c:v>29</c:v>
                </c:pt>
                <c:pt idx="4">
                  <c:v>31</c:v>
                </c:pt>
              </c:numCache>
            </c:numRef>
          </c:val>
        </c:ser>
        <c:dLbls>
          <c:showLegendKey val="0"/>
          <c:showVal val="0"/>
          <c:showCatName val="0"/>
          <c:showSerName val="0"/>
          <c:showPercent val="0"/>
          <c:showBubbleSize val="0"/>
        </c:dLbls>
        <c:gapWidth val="95"/>
        <c:axId val="47576576"/>
        <c:axId val="47578112"/>
      </c:barChart>
      <c:catAx>
        <c:axId val="47576576"/>
        <c:scaling>
          <c:orientation val="minMax"/>
        </c:scaling>
        <c:delete val="1"/>
        <c:axPos val="b"/>
        <c:majorTickMark val="out"/>
        <c:minorTickMark val="none"/>
        <c:tickLblPos val="none"/>
        <c:crossAx val="47578112"/>
        <c:crosses val="autoZero"/>
        <c:auto val="1"/>
        <c:lblAlgn val="ctr"/>
        <c:lblOffset val="100"/>
        <c:noMultiLvlLbl val="0"/>
      </c:catAx>
      <c:valAx>
        <c:axId val="47578112"/>
        <c:scaling>
          <c:orientation val="minMax"/>
        </c:scaling>
        <c:delete val="0"/>
        <c:axPos val="l"/>
        <c:majorGridlines/>
        <c:numFmt formatCode="General" sourceLinked="1"/>
        <c:majorTickMark val="out"/>
        <c:minorTickMark val="none"/>
        <c:tickLblPos val="nextTo"/>
        <c:crossAx val="47576576"/>
        <c:crosses val="autoZero"/>
        <c:crossBetween val="between"/>
      </c:valAx>
    </c:plotArea>
    <c:legend>
      <c:legendPos val="r"/>
      <c:legendEntry>
        <c:idx val="0"/>
        <c:txPr>
          <a:bodyPr/>
          <a:lstStyle/>
          <a:p>
            <a:pPr>
              <a:defRPr sz="1000" b="0">
                <a:latin typeface="Arial"/>
                <a:cs typeface="Arial"/>
              </a:defRPr>
            </a:pPr>
            <a:endParaRPr lang="zh-CN"/>
          </a:p>
        </c:txPr>
      </c:legendEntry>
      <c:legendEntry>
        <c:idx val="1"/>
        <c:txPr>
          <a:bodyPr/>
          <a:lstStyle/>
          <a:p>
            <a:pPr>
              <a:defRPr b="0">
                <a:latin typeface="Arial"/>
                <a:cs typeface="Arial"/>
              </a:defRPr>
            </a:pPr>
            <a:endParaRPr lang="zh-CN"/>
          </a:p>
        </c:txPr>
      </c:legendEntry>
      <c:layout>
        <c:manualLayout>
          <c:xMode val="edge"/>
          <c:yMode val="edge"/>
          <c:x val="0.16365917871809221"/>
          <c:y val="0.90702354913969097"/>
          <c:w val="0.79209289248903736"/>
          <c:h val="8.4101049868766764E-2"/>
        </c:manualLayout>
      </c:layout>
      <c:overlay val="0"/>
      <c:txPr>
        <a:bodyPr/>
        <a:lstStyle/>
        <a:p>
          <a:pPr>
            <a:defRPr b="0">
              <a:latin typeface="Arial"/>
              <a:cs typeface="Arial"/>
            </a:defRPr>
          </a:pPr>
          <a:endParaRPr lang="zh-CN"/>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1394255920119"/>
          <c:y val="0.15457593487277574"/>
          <c:w val="0.85935504084058834"/>
          <c:h val="0.69318758625708299"/>
        </c:manualLayout>
      </c:layout>
      <c:barChart>
        <c:barDir val="col"/>
        <c:grouping val="clustered"/>
        <c:varyColors val="0"/>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scene3d>
              <a:camera prst="orthographicFront"/>
              <a:lightRig rig="threePt" dir="t"/>
            </a:scene3d>
            <a:sp3d>
              <a:bevelT/>
              <a:bevelB w="0" h="0"/>
            </a:sp3d>
          </c:spPr>
          <c:invertIfNegative val="0"/>
          <c:cat>
            <c:strRef>
              <c:f>Sheet1!$A$2:$A$11</c:f>
              <c:strCache>
                <c:ptCount val="10"/>
                <c:pt idx="0">
                  <c:v>A</c:v>
                </c:pt>
                <c:pt idx="1">
                  <c:v>B</c:v>
                </c:pt>
                <c:pt idx="2">
                  <c:v>C</c:v>
                </c:pt>
                <c:pt idx="3">
                  <c:v>D</c:v>
                </c:pt>
                <c:pt idx="4">
                  <c:v>E</c:v>
                </c:pt>
                <c:pt idx="5">
                  <c:v>F</c:v>
                </c:pt>
                <c:pt idx="6">
                  <c:v>G</c:v>
                </c:pt>
                <c:pt idx="7">
                  <c:v>H</c:v>
                </c:pt>
                <c:pt idx="8">
                  <c:v>I</c:v>
                </c:pt>
                <c:pt idx="9">
                  <c:v>J</c:v>
                </c:pt>
              </c:strCache>
            </c:strRef>
          </c:cat>
          <c:val>
            <c:numRef>
              <c:f>Sheet1!$B$2:$B$11</c:f>
              <c:numCache>
                <c:formatCode>General</c:formatCode>
                <c:ptCount val="10"/>
                <c:pt idx="0">
                  <c:v>6</c:v>
                </c:pt>
                <c:pt idx="1">
                  <c:v>4</c:v>
                </c:pt>
                <c:pt idx="2">
                  <c:v>16</c:v>
                </c:pt>
                <c:pt idx="3">
                  <c:v>6</c:v>
                </c:pt>
                <c:pt idx="4">
                  <c:v>32</c:v>
                </c:pt>
                <c:pt idx="5">
                  <c:v>24</c:v>
                </c:pt>
                <c:pt idx="6">
                  <c:v>12</c:v>
                </c:pt>
                <c:pt idx="7">
                  <c:v>7</c:v>
                </c:pt>
                <c:pt idx="8">
                  <c:v>14</c:v>
                </c:pt>
                <c:pt idx="9">
                  <c:v>8</c:v>
                </c:pt>
              </c:numCache>
            </c:numRef>
          </c:val>
        </c:ser>
        <c:dLbls>
          <c:showLegendKey val="0"/>
          <c:showVal val="0"/>
          <c:showCatName val="0"/>
          <c:showSerName val="0"/>
          <c:showPercent val="0"/>
          <c:showBubbleSize val="0"/>
        </c:dLbls>
        <c:gapWidth val="98"/>
        <c:axId val="48057728"/>
        <c:axId val="48088192"/>
      </c:barChart>
      <c:catAx>
        <c:axId val="48057728"/>
        <c:scaling>
          <c:orientation val="minMax"/>
        </c:scaling>
        <c:delete val="0"/>
        <c:axPos val="b"/>
        <c:majorTickMark val="out"/>
        <c:minorTickMark val="none"/>
        <c:tickLblPos val="nextTo"/>
        <c:txPr>
          <a:bodyPr/>
          <a:lstStyle/>
          <a:p>
            <a:pPr>
              <a:defRPr sz="1000" baseline="0"/>
            </a:pPr>
            <a:endParaRPr lang="zh-CN"/>
          </a:p>
        </c:txPr>
        <c:crossAx val="48088192"/>
        <c:crosses val="autoZero"/>
        <c:auto val="1"/>
        <c:lblAlgn val="ctr"/>
        <c:lblOffset val="100"/>
        <c:noMultiLvlLbl val="0"/>
      </c:catAx>
      <c:valAx>
        <c:axId val="48088192"/>
        <c:scaling>
          <c:orientation val="minMax"/>
        </c:scaling>
        <c:delete val="0"/>
        <c:axPos val="l"/>
        <c:majorGridlines/>
        <c:numFmt formatCode="General" sourceLinked="0"/>
        <c:majorTickMark val="out"/>
        <c:minorTickMark val="none"/>
        <c:tickLblPos val="nextTo"/>
        <c:txPr>
          <a:bodyPr/>
          <a:lstStyle/>
          <a:p>
            <a:pPr>
              <a:defRPr sz="1000" baseline="0"/>
            </a:pPr>
            <a:endParaRPr lang="zh-CN"/>
          </a:p>
        </c:txPr>
        <c:crossAx val="48057728"/>
        <c:crosses val="autoZero"/>
        <c:crossBetween val="between"/>
      </c:valAx>
    </c:plotArea>
    <c:plotVisOnly val="1"/>
    <c:dispBlanksAs val="gap"/>
    <c:showDLblsOverMax val="0"/>
  </c:chart>
  <c:txPr>
    <a:bodyPr/>
    <a:lstStyle/>
    <a:p>
      <a:pPr>
        <a:defRPr sz="1800"/>
      </a:pPr>
      <a:endParaRPr lang="zh-CN"/>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rAngAx val="0"/>
      <c:perspective val="0"/>
    </c:view3D>
    <c:floor>
      <c:thickness val="0"/>
    </c:floor>
    <c:sideWall>
      <c:thickness val="0"/>
    </c:sideWall>
    <c:backWall>
      <c:thickness val="0"/>
    </c:backWall>
    <c:plotArea>
      <c:layout>
        <c:manualLayout>
          <c:layoutTarget val="inner"/>
          <c:xMode val="edge"/>
          <c:yMode val="edge"/>
          <c:x val="0.18295561872449753"/>
          <c:y val="9.3453661198337243E-2"/>
          <c:w val="0.76412876530191198"/>
          <c:h val="0.86862048818241089"/>
        </c:manualLayout>
      </c:layout>
      <c:bar3DChart>
        <c:barDir val="bar"/>
        <c:grouping val="percentStacked"/>
        <c:varyColors val="0"/>
        <c:ser>
          <c:idx val="0"/>
          <c:order val="0"/>
          <c:tx>
            <c:strRef>
              <c:f>Sheet1!$A$2</c:f>
              <c:strCache>
                <c:ptCount val="1"/>
                <c:pt idx="0">
                  <c:v>Hardware</c:v>
                </c:pt>
              </c:strCache>
            </c:strRef>
          </c:tx>
          <c:invertIfNegative val="0"/>
          <c:dLbls>
            <c:numFmt formatCode="0%" sourceLinked="0"/>
            <c:showLegendKey val="0"/>
            <c:showVal val="1"/>
            <c:showCatName val="0"/>
            <c:showSerName val="0"/>
            <c:showPercent val="0"/>
            <c:showBubbleSize val="0"/>
            <c:showLeaderLines val="0"/>
          </c:dLbls>
          <c:cat>
            <c:strRef>
              <c:f>Sheet1!$B$1:$C$1</c:f>
              <c:strCache>
                <c:ptCount val="2"/>
                <c:pt idx="0">
                  <c:v>Expected 2015</c:v>
                </c:pt>
                <c:pt idx="1">
                  <c:v>Today</c:v>
                </c:pt>
              </c:strCache>
            </c:strRef>
          </c:cat>
          <c:val>
            <c:numRef>
              <c:f>Sheet1!$B$2:$C$2</c:f>
              <c:numCache>
                <c:formatCode>0%</c:formatCode>
                <c:ptCount val="2"/>
                <c:pt idx="0">
                  <c:v>0.24500000000000041</c:v>
                </c:pt>
                <c:pt idx="1">
                  <c:v>0.29100000000000031</c:v>
                </c:pt>
              </c:numCache>
            </c:numRef>
          </c:val>
        </c:ser>
        <c:ser>
          <c:idx val="1"/>
          <c:order val="1"/>
          <c:tx>
            <c:strRef>
              <c:f>Sheet1!$A$3</c:f>
              <c:strCache>
                <c:ptCount val="1"/>
                <c:pt idx="0">
                  <c:v>Software</c:v>
                </c:pt>
              </c:strCache>
            </c:strRef>
          </c:tx>
          <c:invertIfNegative val="0"/>
          <c:cat>
            <c:strRef>
              <c:f>Sheet1!$B$1:$C$1</c:f>
              <c:strCache>
                <c:ptCount val="2"/>
                <c:pt idx="0">
                  <c:v>Expected 2015</c:v>
                </c:pt>
                <c:pt idx="1">
                  <c:v>Today</c:v>
                </c:pt>
              </c:strCache>
            </c:strRef>
          </c:cat>
          <c:val>
            <c:numRef>
              <c:f>Sheet1!$B$3:$C$3</c:f>
              <c:numCache>
                <c:formatCode>0%</c:formatCode>
                <c:ptCount val="2"/>
                <c:pt idx="0">
                  <c:v>0.24400000000000024</c:v>
                </c:pt>
                <c:pt idx="1">
                  <c:v>0.23500000000000001</c:v>
                </c:pt>
              </c:numCache>
            </c:numRef>
          </c:val>
        </c:ser>
        <c:ser>
          <c:idx val="2"/>
          <c:order val="2"/>
          <c:tx>
            <c:strRef>
              <c:f>Sheet1!$A$4</c:f>
              <c:strCache>
                <c:ptCount val="1"/>
                <c:pt idx="0">
                  <c:v>Services</c:v>
                </c:pt>
              </c:strCache>
            </c:strRef>
          </c:tx>
          <c:invertIfNegative val="0"/>
          <c:cat>
            <c:strRef>
              <c:f>Sheet1!$B$1:$C$1</c:f>
              <c:strCache>
                <c:ptCount val="2"/>
                <c:pt idx="0">
                  <c:v>Expected 2015</c:v>
                </c:pt>
                <c:pt idx="1">
                  <c:v>Today</c:v>
                </c:pt>
              </c:strCache>
            </c:strRef>
          </c:cat>
          <c:val>
            <c:numRef>
              <c:f>Sheet1!$B$4:$C$4</c:f>
              <c:numCache>
                <c:formatCode>0%</c:formatCode>
                <c:ptCount val="2"/>
                <c:pt idx="0">
                  <c:v>0.51200000000000001</c:v>
                </c:pt>
                <c:pt idx="1">
                  <c:v>0.47400000000000031</c:v>
                </c:pt>
              </c:numCache>
            </c:numRef>
          </c:val>
        </c:ser>
        <c:dLbls>
          <c:showLegendKey val="0"/>
          <c:showVal val="1"/>
          <c:showCatName val="0"/>
          <c:showSerName val="0"/>
          <c:showPercent val="0"/>
          <c:showBubbleSize val="0"/>
        </c:dLbls>
        <c:gapWidth val="59"/>
        <c:shape val="box"/>
        <c:axId val="49244416"/>
        <c:axId val="49250304"/>
        <c:axId val="0"/>
      </c:bar3DChart>
      <c:catAx>
        <c:axId val="49244416"/>
        <c:scaling>
          <c:orientation val="minMax"/>
        </c:scaling>
        <c:delete val="0"/>
        <c:axPos val="l"/>
        <c:numFmt formatCode="General" sourceLinked="1"/>
        <c:majorTickMark val="out"/>
        <c:minorTickMark val="none"/>
        <c:tickLblPos val="nextTo"/>
        <c:crossAx val="49250304"/>
        <c:crosses val="autoZero"/>
        <c:auto val="1"/>
        <c:lblAlgn val="ctr"/>
        <c:lblOffset val="100"/>
        <c:noMultiLvlLbl val="0"/>
      </c:catAx>
      <c:valAx>
        <c:axId val="49250304"/>
        <c:scaling>
          <c:orientation val="minMax"/>
        </c:scaling>
        <c:delete val="1"/>
        <c:axPos val="b"/>
        <c:numFmt formatCode="0%" sourceLinked="1"/>
        <c:majorTickMark val="out"/>
        <c:minorTickMark val="none"/>
        <c:tickLblPos val="none"/>
        <c:crossAx val="49244416"/>
        <c:crosses val="autoZero"/>
        <c:crossBetween val="between"/>
      </c:valAx>
    </c:plotArea>
    <c:legend>
      <c:legendPos val="t"/>
      <c:layout>
        <c:manualLayout>
          <c:xMode val="edge"/>
          <c:yMode val="edge"/>
          <c:x val="0.26348459492916637"/>
          <c:y val="6.735876828711003E-2"/>
          <c:w val="0.53616638393470839"/>
          <c:h val="7.4782234936352443E-2"/>
        </c:manualLayout>
      </c:layout>
      <c:overlay val="0"/>
    </c:legend>
    <c:plotVisOnly val="1"/>
    <c:dispBlanksAs val="gap"/>
    <c:showDLblsOverMax val="0"/>
  </c:chart>
  <c:txPr>
    <a:bodyPr/>
    <a:lstStyle/>
    <a:p>
      <a:pPr>
        <a:defRPr sz="1800" b="1"/>
      </a:pPr>
      <a:endParaRPr lang="zh-CN"/>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37918</cdr:x>
      <cdr:y>0.90196</cdr:y>
    </cdr:from>
    <cdr:to>
      <cdr:x>0.70731</cdr:x>
      <cdr:y>0.99784</cdr:y>
    </cdr:to>
    <cdr:sp macro="" textlink="">
      <cdr:nvSpPr>
        <cdr:cNvPr id="3" name="TextBox 2"/>
        <cdr:cNvSpPr txBox="1"/>
      </cdr:nvSpPr>
      <cdr:spPr>
        <a:xfrm xmlns:a="http://schemas.openxmlformats.org/drawingml/2006/main">
          <a:off x="1110344" y="2503715"/>
          <a:ext cx="960836" cy="266153"/>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r>
            <a:rPr lang="en-US" dirty="0" smtClean="0">
              <a:solidFill>
                <a:schemeClr val="tx2"/>
              </a:solidFill>
            </a:rPr>
            <a:t>Company</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5265809" y="0"/>
            <a:ext cx="4028440" cy="350520"/>
          </a:xfrm>
          <a:prstGeom prst="rect">
            <a:avLst/>
          </a:prstGeom>
        </p:spPr>
        <p:txBody>
          <a:bodyPr vert="horz" lIns="93177" tIns="46589" rIns="93177" bIns="46589" rtlCol="0"/>
          <a:lstStyle>
            <a:lvl1pPr algn="r">
              <a:defRPr sz="1200"/>
            </a:lvl1pPr>
          </a:lstStyle>
          <a:p>
            <a:fld id="{E99333BE-0D34-4F62-BD6E-2C3B14663373}" type="datetimeFigureOut">
              <a:rPr lang="en-US" smtClean="0"/>
              <a:pPr/>
              <a:t>1/5/2018</a:t>
            </a:fld>
            <a:endParaRPr lang="en-US" dirty="0"/>
          </a:p>
        </p:txBody>
      </p:sp>
      <p:sp>
        <p:nvSpPr>
          <p:cNvPr id="4" name="Footer Placeholder 3"/>
          <p:cNvSpPr>
            <a:spLocks noGrp="1"/>
          </p:cNvSpPr>
          <p:nvPr>
            <p:ph type="ftr" sz="quarter" idx="2"/>
          </p:nvPr>
        </p:nvSpPr>
        <p:spPr>
          <a:xfrm>
            <a:off x="0" y="6658664"/>
            <a:ext cx="4028440" cy="3505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809" y="6658664"/>
            <a:ext cx="4028440" cy="350520"/>
          </a:xfrm>
          <a:prstGeom prst="rect">
            <a:avLst/>
          </a:prstGeom>
        </p:spPr>
        <p:txBody>
          <a:bodyPr vert="horz" lIns="93177" tIns="46589" rIns="93177" bIns="46589" rtlCol="0" anchor="b"/>
          <a:lstStyle>
            <a:lvl1pPr algn="r">
              <a:defRPr sz="1200"/>
            </a:lvl1pPr>
          </a:lstStyle>
          <a:p>
            <a:fld id="{AECABB6E-EB62-4D88-B3E7-408903A4E4B0}" type="slidenum">
              <a:rPr lang="en-US" smtClean="0"/>
              <a:pPr/>
              <a:t>‹#›</a:t>
            </a:fld>
            <a:endParaRPr lang="en-US" dirty="0"/>
          </a:p>
        </p:txBody>
      </p:sp>
    </p:spTree>
    <p:extLst>
      <p:ext uri="{BB962C8B-B14F-4D97-AF65-F5344CB8AC3E}">
        <p14:creationId xmlns:p14="http://schemas.microsoft.com/office/powerpoint/2010/main" val="17059739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5265809" y="0"/>
            <a:ext cx="4028440" cy="350520"/>
          </a:xfrm>
          <a:prstGeom prst="rect">
            <a:avLst/>
          </a:prstGeom>
        </p:spPr>
        <p:txBody>
          <a:bodyPr vert="horz" lIns="93177" tIns="46589" rIns="93177" bIns="46589" rtlCol="0"/>
          <a:lstStyle>
            <a:lvl1pPr algn="r">
              <a:defRPr sz="1200"/>
            </a:lvl1pPr>
          </a:lstStyle>
          <a:p>
            <a:fld id="{4A2D1F94-724F-43BD-B41B-43157E9B4550}" type="datetimeFigureOut">
              <a:rPr lang="en-US" smtClean="0"/>
              <a:pPr/>
              <a:t>1/5/2018</a:t>
            </a:fld>
            <a:endParaRPr lang="en-US" dirty="0"/>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658664"/>
            <a:ext cx="4028440" cy="3505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0520"/>
          </a:xfrm>
          <a:prstGeom prst="rect">
            <a:avLst/>
          </a:prstGeom>
        </p:spPr>
        <p:txBody>
          <a:bodyPr vert="horz" lIns="93177" tIns="46589" rIns="93177" bIns="46589" rtlCol="0" anchor="b"/>
          <a:lstStyle>
            <a:lvl1pPr algn="r">
              <a:defRPr sz="1200"/>
            </a:lvl1pPr>
          </a:lstStyle>
          <a:p>
            <a:fld id="{36E82501-53DA-4152-84B0-51135B15EEA8}" type="slidenum">
              <a:rPr lang="en-US" smtClean="0"/>
              <a:pPr/>
              <a:t>‹#›</a:t>
            </a:fld>
            <a:endParaRPr lang="en-US" dirty="0"/>
          </a:p>
        </p:txBody>
      </p:sp>
    </p:spTree>
    <p:extLst>
      <p:ext uri="{BB962C8B-B14F-4D97-AF65-F5344CB8AC3E}">
        <p14:creationId xmlns:p14="http://schemas.microsoft.com/office/powerpoint/2010/main" val="21532524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oracle.com/partner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 know what most of you are thinking. Oracle’s too big for me. Oracle’s too big or expensive for my customers. I’m going to zone out now and do email on my iphone for the next 20 minutes. Let me tell you why that would be a mistake. Here’s the Oracle of the past – big relationships with Accenture and all of their buddies. Maybe we were a little arrogant and even ignored you. Here’s the Oracle of today. We’ve got a partnership opportunity and product for everyone. We can reach down to customers as small as 250 seats. We’ve got one of the strongest brands in IT. We can help you grow your business.” </a:t>
            </a: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a:t>
            </a:r>
            <a:r>
              <a:rPr lang="en-US" baseline="0" dirty="0" smtClean="0"/>
              <a:t> fact, Oracle can save you money not just with the reduction in the number of systems you purchase and their costs – but also in your operational expenses.</a:t>
            </a:r>
          </a:p>
          <a:p>
            <a:endParaRPr lang="en-US" baseline="0" dirty="0" smtClean="0"/>
          </a:p>
          <a:p>
            <a:r>
              <a:rPr lang="en-US" baseline="0" dirty="0" smtClean="0"/>
              <a:t>Oracle Storage is engineered exclusively with Oracle Database 12c to communicate critical tuning parameters to the storage, so it can automatically configure itself and reduce administration and provisioning time by more than 65%</a:t>
            </a:r>
          </a:p>
          <a:p>
            <a:endParaRPr lang="en-US" baseline="0" dirty="0" smtClean="0"/>
          </a:p>
          <a:p>
            <a:r>
              <a:rPr lang="en-US" baseline="0" dirty="0" smtClean="0"/>
              <a:t>With Dtrace storage analytics, external analysts have shown that we can reduce the time it takes to troubleshoot an environment by 44% when compared to NetApp.</a:t>
            </a:r>
          </a:p>
          <a:p>
            <a:endParaRPr lang="en-US" baseline="0" dirty="0" smtClean="0"/>
          </a:p>
          <a:p>
            <a:r>
              <a:rPr lang="en-US" baseline="0" dirty="0" smtClean="0"/>
              <a:t>And, when taken together this means that you can repurpose ½ of the storage admins that you currently have supporting your mountain of NetApp filers to work on more strategic projects.  This means that you can deliver strategic projects faster, have a larger positive impact on the business, and save over $1M per year in the administration of your storage environment.</a:t>
            </a:r>
            <a:endParaRPr lang="en-US" dirty="0"/>
          </a:p>
        </p:txBody>
      </p:sp>
      <p:sp>
        <p:nvSpPr>
          <p:cNvPr id="4" name="Slide Number Placeholder 3"/>
          <p:cNvSpPr>
            <a:spLocks noGrp="1"/>
          </p:cNvSpPr>
          <p:nvPr>
            <p:ph type="sldNum" sz="quarter" idx="10"/>
          </p:nvPr>
        </p:nvSpPr>
        <p:spPr/>
        <p:txBody>
          <a:bodyPr/>
          <a:lstStyle/>
          <a:p>
            <a:pPr>
              <a:defRPr/>
            </a:pPr>
            <a:fld id="{CB582ABE-5DE3-4CE6-AB2B-1A87602939A6}" type="slidenum">
              <a:rPr lang="en-US" smtClean="0">
                <a:solidFill>
                  <a:prstClr val="black"/>
                </a:solidFill>
              </a:rPr>
              <a:pPr>
                <a:defRPr/>
              </a:pPr>
              <a:t>10</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00">
                <a:solidFill>
                  <a:schemeClr val="tx1"/>
                </a:solidFill>
                <a:latin typeface="Arial" charset="0"/>
                <a:ea typeface="ＭＳ Ｐゴシック" charset="0"/>
                <a:cs typeface="ＭＳ Ｐゴシック" charset="0"/>
              </a:defRPr>
            </a:lvl1pPr>
            <a:lvl2pPr marL="38648486" indent="-38182646" eaLnBrk="0" hangingPunct="0">
              <a:defRPr sz="700">
                <a:solidFill>
                  <a:schemeClr val="tx1"/>
                </a:solidFill>
                <a:latin typeface="Arial" charset="0"/>
                <a:ea typeface="ＭＳ Ｐゴシック" charset="0"/>
              </a:defRPr>
            </a:lvl2pPr>
            <a:lvl3pPr eaLnBrk="0" hangingPunct="0">
              <a:defRPr sz="700">
                <a:solidFill>
                  <a:schemeClr val="tx1"/>
                </a:solidFill>
                <a:latin typeface="Arial" charset="0"/>
                <a:ea typeface="ＭＳ Ｐゴシック" charset="0"/>
              </a:defRPr>
            </a:lvl3pPr>
            <a:lvl4pPr eaLnBrk="0" hangingPunct="0">
              <a:defRPr sz="700">
                <a:solidFill>
                  <a:schemeClr val="tx1"/>
                </a:solidFill>
                <a:latin typeface="Arial" charset="0"/>
                <a:ea typeface="ＭＳ Ｐゴシック" charset="0"/>
              </a:defRPr>
            </a:lvl4pPr>
            <a:lvl5pPr eaLnBrk="0" hangingPunct="0">
              <a:defRPr sz="700">
                <a:solidFill>
                  <a:schemeClr val="tx1"/>
                </a:solidFill>
                <a:latin typeface="Arial" charset="0"/>
                <a:ea typeface="ＭＳ Ｐゴシック" charset="0"/>
              </a:defRPr>
            </a:lvl5pPr>
            <a:lvl6pPr marL="465839" eaLnBrk="0" fontAlgn="base" hangingPunct="0">
              <a:spcBef>
                <a:spcPct val="0"/>
              </a:spcBef>
              <a:spcAft>
                <a:spcPct val="0"/>
              </a:spcAft>
              <a:defRPr sz="700">
                <a:solidFill>
                  <a:schemeClr val="tx1"/>
                </a:solidFill>
                <a:latin typeface="Arial" charset="0"/>
                <a:ea typeface="ＭＳ Ｐゴシック" charset="0"/>
              </a:defRPr>
            </a:lvl6pPr>
            <a:lvl7pPr marL="931679" eaLnBrk="0" fontAlgn="base" hangingPunct="0">
              <a:spcBef>
                <a:spcPct val="0"/>
              </a:spcBef>
              <a:spcAft>
                <a:spcPct val="0"/>
              </a:spcAft>
              <a:defRPr sz="700">
                <a:solidFill>
                  <a:schemeClr val="tx1"/>
                </a:solidFill>
                <a:latin typeface="Arial" charset="0"/>
                <a:ea typeface="ＭＳ Ｐゴシック" charset="0"/>
              </a:defRPr>
            </a:lvl7pPr>
            <a:lvl8pPr marL="1397518" eaLnBrk="0" fontAlgn="base" hangingPunct="0">
              <a:spcBef>
                <a:spcPct val="0"/>
              </a:spcBef>
              <a:spcAft>
                <a:spcPct val="0"/>
              </a:spcAft>
              <a:defRPr sz="700">
                <a:solidFill>
                  <a:schemeClr val="tx1"/>
                </a:solidFill>
                <a:latin typeface="Arial" charset="0"/>
                <a:ea typeface="ＭＳ Ｐゴシック" charset="0"/>
              </a:defRPr>
            </a:lvl8pPr>
            <a:lvl9pPr marL="1863358" eaLnBrk="0" fontAlgn="base" hangingPunct="0">
              <a:spcBef>
                <a:spcPct val="0"/>
              </a:spcBef>
              <a:spcAft>
                <a:spcPct val="0"/>
              </a:spcAft>
              <a:defRPr sz="700">
                <a:solidFill>
                  <a:schemeClr val="tx1"/>
                </a:solidFill>
                <a:latin typeface="Arial" charset="0"/>
                <a:ea typeface="ＭＳ Ｐゴシック" charset="0"/>
              </a:defRPr>
            </a:lvl9pPr>
          </a:lstStyle>
          <a:p>
            <a:fld id="{DE79783F-9660-7043-8CDE-1C7E75BB5431}" type="slidenum">
              <a:rPr lang="en-US" sz="1200">
                <a:solidFill>
                  <a:srgbClr val="000000"/>
                </a:solidFill>
                <a:latin typeface="Times" charset="0"/>
              </a:rPr>
              <a:pPr/>
              <a:t>11</a:t>
            </a:fld>
            <a:endParaRPr lang="en-US" sz="1200" dirty="0">
              <a:solidFill>
                <a:srgbClr val="000000"/>
              </a:solidFill>
              <a:latin typeface="Times" charset="0"/>
            </a:endParaRPr>
          </a:p>
        </p:txBody>
      </p:sp>
      <p:sp>
        <p:nvSpPr>
          <p:cNvPr id="5" name="Notes Placeholder 4"/>
          <p:cNvSpPr>
            <a:spLocks noGrp="1"/>
          </p:cNvSpPr>
          <p:nvPr>
            <p:ph type="body" sz="quarter" idx="10"/>
          </p:nvPr>
        </p:nvSpPr>
        <p:spPr/>
        <p:txBody>
          <a:bodyPr>
            <a:normAutofit/>
          </a:bodyPr>
          <a:lstStyle/>
          <a:p>
            <a:r>
              <a:rPr lang="en-US" dirty="0" smtClean="0"/>
              <a:t>What we have seen in real-world environments is that typical queries compress about 12 or 13x, and that it accelerates</a:t>
            </a:r>
            <a:r>
              <a:rPr lang="en-US" baseline="0" dirty="0" smtClean="0"/>
              <a:t> many queries by reducing the data access latency and increasing the amount of current data that is held in database, server, or storage cache.  It is particularly important in data warehouses and where enterprises need to maintain long term archives of database data.</a:t>
            </a:r>
          </a:p>
          <a:p>
            <a:endParaRPr lang="en-US" baseline="0" dirty="0" smtClean="0"/>
          </a:p>
          <a:p>
            <a:r>
              <a:rPr lang="en-US" baseline="0" dirty="0" smtClean="0"/>
              <a:t>Of course, whether you are using Oracle Database 11g or 12c, Hybrid Columnar Compression is only available on Oracle Storage – Oracle Exadata Storage Servers, ZFS Storage Appliance, and Pillar Axiom.</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pPr eaLnBrk="0" hangingPunct="0"/>
            <a:r>
              <a:rPr lang="en-US" dirty="0" smtClean="0"/>
              <a:t>So, let’s talk about Oracle</a:t>
            </a:r>
            <a:r>
              <a:rPr lang="en-US" baseline="0" dirty="0" smtClean="0"/>
              <a:t> PartnerNetwork (or OPN) and how our partner engage to benefit from the market opportunity that Oracle provides.</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800" b="1" dirty="0" smtClean="0">
                <a:latin typeface="Arial" pitchFamily="-106" charset="0"/>
                <a:ea typeface="ＭＳ Ｐゴシック" charset="-128"/>
                <a:cs typeface="ＭＳ Ｐゴシック" charset="-128"/>
              </a:rPr>
              <a:t>We’re growing in a challenging market</a:t>
            </a:r>
          </a:p>
          <a:p>
            <a:pPr lvl="1"/>
            <a:r>
              <a:rPr lang="en-US" sz="800" dirty="0" smtClean="0">
                <a:latin typeface="Arial" pitchFamily="-106" charset="0"/>
                <a:ea typeface="ＭＳ Ｐゴシック" pitchFamily="-106" charset="-128"/>
              </a:rPr>
              <a:t>Where do you see </a:t>
            </a:r>
            <a:r>
              <a:rPr lang="en-US" sz="800" i="1" dirty="0" smtClean="0">
                <a:latin typeface="Arial" pitchFamily="-106" charset="0"/>
                <a:ea typeface="ＭＳ Ｐゴシック" pitchFamily="-106" charset="-128"/>
              </a:rPr>
              <a:t>your </a:t>
            </a:r>
            <a:r>
              <a:rPr lang="en-US" sz="800" dirty="0" smtClean="0">
                <a:latin typeface="Arial" pitchFamily="-106" charset="0"/>
                <a:ea typeface="ＭＳ Ｐゴシック" pitchFamily="-106" charset="-128"/>
              </a:rPr>
              <a:t>growth coming from in the next few years?</a:t>
            </a:r>
          </a:p>
          <a:p>
            <a:pPr lvl="1"/>
            <a:r>
              <a:rPr lang="en-US" sz="800" dirty="0" smtClean="0">
                <a:latin typeface="Arial" pitchFamily="-106" charset="0"/>
                <a:ea typeface="ＭＳ Ｐゴシック" pitchFamily="-106" charset="-128"/>
              </a:rPr>
              <a:t>Look at your install base for Oracle</a:t>
            </a:r>
          </a:p>
          <a:p>
            <a:pPr lvl="0"/>
            <a:endParaRPr lang="en-US" sz="800" b="1" dirty="0" smtClean="0">
              <a:latin typeface="Arial" pitchFamily="-106" charset="0"/>
              <a:ea typeface="ＭＳ Ｐゴシック" charset="-128"/>
              <a:cs typeface="ＭＳ Ｐゴシック" charset="-128"/>
            </a:endParaRPr>
          </a:p>
          <a:p>
            <a:pPr lvl="0"/>
            <a:r>
              <a:rPr lang="en-US" sz="800" b="1" dirty="0" smtClean="0">
                <a:latin typeface="Arial" pitchFamily="-106" charset="0"/>
                <a:ea typeface="ＭＳ Ｐゴシック" charset="-128"/>
                <a:cs typeface="ＭＳ Ｐゴシック" charset="-128"/>
              </a:rPr>
              <a:t>Best product portfolio</a:t>
            </a:r>
          </a:p>
          <a:p>
            <a:pPr lvl="0"/>
            <a:endParaRPr lang="en-US" sz="800" b="1" dirty="0" smtClean="0">
              <a:latin typeface="Arial" pitchFamily="-106" charset="0"/>
              <a:ea typeface="ＭＳ Ｐゴシック" charset="-128"/>
              <a:cs typeface="ＭＳ Ｐゴシック" charset="-128"/>
            </a:endParaRPr>
          </a:p>
          <a:p>
            <a:pPr lvl="0"/>
            <a:r>
              <a:rPr lang="en-US" sz="800" b="1" dirty="0" smtClean="0">
                <a:latin typeface="Arial" pitchFamily="-106" charset="0"/>
                <a:ea typeface="ＭＳ Ｐゴシック" charset="-128"/>
                <a:cs typeface="ＭＳ Ｐゴシック" charset="-128"/>
              </a:rPr>
              <a:t>Solid partner program with minimal competition </a:t>
            </a:r>
          </a:p>
          <a:p>
            <a:r>
              <a:rPr lang="en-US" sz="800" b="1" dirty="0" smtClean="0">
                <a:latin typeface="Arial" pitchFamily="-106" charset="0"/>
                <a:ea typeface="ＭＳ Ｐゴシック" charset="-128"/>
                <a:cs typeface="ＭＳ Ｐゴシック" charset="-128"/>
              </a:rPr>
              <a:t> </a:t>
            </a:r>
          </a:p>
          <a:p>
            <a:r>
              <a:rPr lang="en-US" sz="800" b="1" i="1" dirty="0" smtClean="0">
                <a:latin typeface="Arial" pitchFamily="-106" charset="0"/>
                <a:ea typeface="ＭＳ Ｐゴシック" charset="-128"/>
                <a:cs typeface="ＭＳ Ｐゴシック" charset="-128"/>
              </a:rPr>
              <a:t>Transition: </a:t>
            </a:r>
            <a:r>
              <a:rPr lang="en-US" sz="800" b="1" dirty="0" smtClean="0">
                <a:latin typeface="Arial" pitchFamily="-106" charset="0"/>
                <a:ea typeface="ＭＳ Ｐゴシック" charset="-128"/>
                <a:cs typeface="ＭＳ Ｐゴシック" charset="-128"/>
              </a:rPr>
              <a:t>Even better to hear it form someone else…</a:t>
            </a:r>
            <a:endParaRPr lang="en-US" sz="800" b="1" dirty="0">
              <a:latin typeface="Arial" pitchFamily="-106" charset="0"/>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rPr>
              <a:pPr/>
              <a:t>13</a:t>
            </a:fld>
            <a:endParaRPr lang="en-US"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ver</a:t>
            </a:r>
            <a:r>
              <a:rPr lang="en-US" baseline="0" dirty="0" smtClean="0"/>
              <a:t> the past 10 years, Oracle has acquired over 90 companies.</a:t>
            </a:r>
          </a:p>
          <a:p>
            <a:endParaRPr lang="en-US" baseline="0" dirty="0" smtClean="0"/>
          </a:p>
          <a:p>
            <a:r>
              <a:rPr lang="en-US" baseline="0" dirty="0" smtClean="0"/>
              <a:t>But there’s one company we haven’t acquired.  </a:t>
            </a:r>
          </a:p>
          <a:p>
            <a:endParaRPr lang="en-US" baseline="0" dirty="0" smtClean="0"/>
          </a:p>
          <a:p>
            <a:r>
              <a:rPr lang="en-US" baseline="0" dirty="0" smtClean="0"/>
              <a:t>Services.</a:t>
            </a:r>
          </a:p>
          <a:p>
            <a:endParaRPr lang="en-US" baseline="0" dirty="0" smtClean="0"/>
          </a:p>
          <a:p>
            <a:r>
              <a:rPr lang="en-US" baseline="0" dirty="0" smtClean="0"/>
              <a:t>This is where we count on our OPN Members.  We need partners to round out solutions to deliver them to our customers. Striped by industry,  bring innovation to the marketplace. </a:t>
            </a:r>
          </a:p>
          <a:p>
            <a:endParaRPr lang="en-US" baseline="0" dirty="0" smtClean="0"/>
          </a:p>
          <a:p>
            <a:r>
              <a:rPr lang="en-US" baseline="0" dirty="0" smtClean="0"/>
              <a:t>And do so to profit handsomely.  Today, the largest and most profitable part of your revenue mix is services. Over 47%.  </a:t>
            </a:r>
          </a:p>
          <a:p>
            <a:r>
              <a:rPr lang="en-US" baseline="0" dirty="0" smtClean="0"/>
              <a:t/>
            </a:r>
            <a:br>
              <a:rPr lang="en-US" baseline="0" dirty="0" smtClean="0"/>
            </a:br>
            <a:r>
              <a:rPr lang="en-US" baseline="0" dirty="0" smtClean="0"/>
              <a:t>HP bought EDS. IBM has Global Services.</a:t>
            </a: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1C7487F-3C1F-4B48-9D67-389859149849}" type="slidenum">
              <a:rPr lang="en-US" smtClean="0"/>
              <a:pPr>
                <a:defRPr/>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fld id="{ED85F9D3-6A7A-4BF5-81D5-AD656B2C4D3A}" type="slidenum">
              <a:rPr lang="en-US" smtClean="0">
                <a:solidFill>
                  <a:prstClr val="black"/>
                </a:solidFill>
                <a:latin typeface="Calibri"/>
              </a:rPr>
              <a:pPr/>
              <a:t>16</a:t>
            </a:fld>
            <a:endParaRPr lang="en-US" dirty="0" smtClean="0">
              <a:solidFill>
                <a:prstClr val="black"/>
              </a:solidFill>
              <a:latin typeface="Calibri"/>
            </a:endParaRPr>
          </a:p>
        </p:txBody>
      </p:sp>
      <p:sp>
        <p:nvSpPr>
          <p:cNvPr id="6147" name="Rectangle 7"/>
          <p:cNvSpPr txBox="1">
            <a:spLocks noGrp="1" noChangeArrowheads="1"/>
          </p:cNvSpPr>
          <p:nvPr/>
        </p:nvSpPr>
        <p:spPr bwMode="auto">
          <a:xfrm>
            <a:off x="5266715" y="6658642"/>
            <a:ext cx="4027606" cy="350578"/>
          </a:xfrm>
          <a:prstGeom prst="rect">
            <a:avLst/>
          </a:prstGeom>
          <a:noFill/>
          <a:ln w="9525">
            <a:noFill/>
            <a:miter lim="800000"/>
            <a:headEnd/>
            <a:tailEnd/>
          </a:ln>
        </p:spPr>
        <p:txBody>
          <a:bodyPr lIns="95034" tIns="47517" rIns="95034" bIns="47517" anchor="b"/>
          <a:lstStyle/>
          <a:p>
            <a:pPr algn="r" defTabSz="949654" fontAlgn="base">
              <a:spcBef>
                <a:spcPct val="0"/>
              </a:spcBef>
              <a:spcAft>
                <a:spcPct val="0"/>
              </a:spcAft>
            </a:pPr>
            <a:fld id="{CB968223-C637-4CA1-B655-BE9237009266}" type="slidenum">
              <a:rPr lang="en-US" sz="1200">
                <a:solidFill>
                  <a:prstClr val="black"/>
                </a:solidFill>
                <a:latin typeface="Calibri"/>
                <a:ea typeface="ＭＳ Ｐゴシック" pitchFamily="34" charset="-128"/>
              </a:rPr>
              <a:pPr algn="r" defTabSz="949654" fontAlgn="base">
                <a:spcBef>
                  <a:spcPct val="0"/>
                </a:spcBef>
                <a:spcAft>
                  <a:spcPct val="0"/>
                </a:spcAft>
              </a:pPr>
              <a:t>16</a:t>
            </a:fld>
            <a:endParaRPr lang="en-US" sz="1200" dirty="0">
              <a:solidFill>
                <a:prstClr val="black"/>
              </a:solidFill>
              <a:latin typeface="Calibri"/>
              <a:ea typeface="ＭＳ Ｐゴシック" pitchFamily="34" charset="-128"/>
            </a:endParaRPr>
          </a:p>
        </p:txBody>
      </p:sp>
      <p:sp>
        <p:nvSpPr>
          <p:cNvPr id="6148" name="Rectangle 2"/>
          <p:cNvSpPr>
            <a:spLocks noGrp="1" noRot="1" noChangeAspect="1" noChangeArrowheads="1" noTextEdit="1"/>
          </p:cNvSpPr>
          <p:nvPr>
            <p:ph type="sldImg"/>
          </p:nvPr>
        </p:nvSpPr>
        <p:spPr>
          <a:xfrm>
            <a:off x="1981200" y="525463"/>
            <a:ext cx="2560638" cy="1441450"/>
          </a:xfrm>
          <a:ln/>
        </p:spPr>
      </p:sp>
      <p:sp>
        <p:nvSpPr>
          <p:cNvPr id="6149" name="Rectangle 3"/>
          <p:cNvSpPr>
            <a:spLocks noGrp="1" noChangeArrowheads="1"/>
          </p:cNvSpPr>
          <p:nvPr>
            <p:ph type="body" idx="1"/>
          </p:nvPr>
        </p:nvSpPr>
        <p:spPr>
          <a:xfrm>
            <a:off x="411865" y="2013219"/>
            <a:ext cx="8573534" cy="3155211"/>
          </a:xfrm>
          <a:noFill/>
          <a:ln/>
        </p:spPr>
        <p:txBody>
          <a:bodyPr lIns="95034" tIns="47517" rIns="95034" bIns="47517"/>
          <a:lstStyle/>
          <a:p>
            <a:r>
              <a:rPr lang="en-GB" sz="1400" dirty="0" smtClean="0"/>
              <a:t>The OPN program is flexible and designed to evolve with our partners’ business needs. OPN Members at the Gold level and above can access increased benefits and visibility through Specialization.</a:t>
            </a:r>
            <a:endParaRPr lang="en-US" sz="1400" dirty="0" smtClean="0"/>
          </a:p>
          <a:p>
            <a:endParaRPr lang="en-US" sz="1400" dirty="0" smtClean="0"/>
          </a:p>
          <a:p>
            <a:pPr eaLnBrk="1" hangingPunct="1">
              <a:buFontTx/>
              <a:buNone/>
            </a:pPr>
            <a:r>
              <a:rPr lang="en-US" sz="1400" dirty="0" smtClean="0">
                <a:latin typeface="Arial" pitchFamily="34" charset="0"/>
                <a:ea typeface="ヒラギノ角ゴ Pro W3"/>
                <a:cs typeface="ヒラギノ角ゴ Pro W3"/>
              </a:rPr>
              <a:t>As we consider the Oracle PartnerNetwork program and how we work with our members, we assure we are delivering value to three primary groups: our community of partners, our end customers and our Oracle internal sales force.</a:t>
            </a:r>
          </a:p>
          <a:p>
            <a:pPr eaLnBrk="1" hangingPunct="1">
              <a:buFontTx/>
              <a:buNone/>
            </a:pPr>
            <a:endParaRPr lang="en-US" sz="1400" dirty="0" smtClean="0">
              <a:latin typeface="Arial" pitchFamily="34" charset="0"/>
              <a:ea typeface="ヒラギノ角ゴ Pro W3"/>
              <a:cs typeface="ヒラギノ角ゴ Pro W3"/>
            </a:endParaRPr>
          </a:p>
          <a:p>
            <a:pPr eaLnBrk="1" hangingPunct="1">
              <a:buFontTx/>
              <a:buNone/>
            </a:pPr>
            <a:r>
              <a:rPr lang="en-US" sz="1400" dirty="0" smtClean="0">
                <a:latin typeface="Arial" pitchFamily="34" charset="0"/>
                <a:ea typeface="ヒラギノ角ゴ Pro W3"/>
                <a:cs typeface="ヒラギノ角ゴ Pro W3"/>
              </a:rPr>
              <a:t>The OPN Specialized program provides partners with tools to better develop, sell, and implement Oracle solutions. </a:t>
            </a:r>
          </a:p>
          <a:p>
            <a:endParaRPr lang="en-US" sz="1400" dirty="0" smtClean="0"/>
          </a:p>
          <a:p>
            <a:r>
              <a:rPr lang="en-US" sz="1400" dirty="0" smtClean="0"/>
              <a:t>Specialization is the key for our Members to differentiate in the marketplace, be recognized by Oracle and preferred by customers.</a:t>
            </a:r>
          </a:p>
          <a:p>
            <a:pPr eaLnBrk="1" hangingPunct="1">
              <a:buFont typeface="Arial" pitchFamily="34" charset="0"/>
              <a:buNone/>
            </a:pPr>
            <a:r>
              <a:rPr lang="en-US" sz="1400" dirty="0" smtClean="0">
                <a:latin typeface="Arial" pitchFamily="34" charset="0"/>
                <a:ea typeface="ヒラギノ角ゴ Pro W3"/>
                <a:cs typeface="ヒラギノ角ゴ Pro W3"/>
              </a:rPr>
              <a:t>Oracle </a:t>
            </a:r>
            <a:r>
              <a:rPr lang="en-US" sz="1400" dirty="0">
                <a:latin typeface="Arial" pitchFamily="34" charset="0"/>
                <a:ea typeface="ヒラギノ角ゴ Pro W3"/>
                <a:cs typeface="ヒラギノ角ゴ Pro W3"/>
              </a:rPr>
              <a:t>Partner Network, is our flagship partner Program. </a:t>
            </a:r>
          </a:p>
          <a:p>
            <a:pPr eaLnBrk="1" hangingPunct="1">
              <a:buFont typeface="Arial" pitchFamily="34" charset="0"/>
              <a:buChar char="•"/>
            </a:pPr>
            <a:r>
              <a:rPr lang="en-US" sz="1400" dirty="0">
                <a:latin typeface="Arial" pitchFamily="34" charset="0"/>
                <a:ea typeface="ヒラギノ角ゴ Pro W3"/>
                <a:cs typeface="ヒラギノ角ゴ Pro W3"/>
              </a:rPr>
              <a:t>The program offers tools to better develop, sell, and implement Oracle broad solutions. </a:t>
            </a:r>
          </a:p>
          <a:p>
            <a:pPr eaLnBrk="1" hangingPunct="1">
              <a:buFont typeface="Arial" pitchFamily="34" charset="0"/>
              <a:buChar char="•"/>
            </a:pPr>
            <a:endParaRPr lang="en-US" sz="1400" dirty="0">
              <a:latin typeface="Arial" pitchFamily="34" charset="0"/>
              <a:ea typeface="ヒラギノ角ゴ Pro W3"/>
              <a:cs typeface="ヒラギノ角ゴ Pro W3"/>
            </a:endParaRPr>
          </a:p>
          <a:p>
            <a:pPr eaLnBrk="1" hangingPunct="1">
              <a:buFont typeface="Arial" pitchFamily="34" charset="0"/>
              <a:buChar char="•"/>
            </a:pPr>
            <a:r>
              <a:rPr lang="en-US" sz="1400" dirty="0">
                <a:latin typeface="Arial" pitchFamily="34" charset="0"/>
                <a:ea typeface="ヒラギノ角ゴ Pro W3"/>
                <a:cs typeface="ヒラギノ角ゴ Pro W3"/>
              </a:rPr>
              <a:t>At silver, partners get resources and support directly from Oracle.   At gold, partners sell our entire product portfolio and begin to Specialize. Partners get specialized by meeting specific business and competency criteria. Specializations are available in over </a:t>
            </a:r>
            <a:r>
              <a:rPr lang="en-US" sz="1400" dirty="0" smtClean="0">
                <a:latin typeface="Arial" pitchFamily="34" charset="0"/>
                <a:ea typeface="ヒラギノ角ゴ Pro W3"/>
                <a:cs typeface="ヒラギノ角ゴ Pro W3"/>
              </a:rPr>
              <a:t>150 </a:t>
            </a:r>
            <a:r>
              <a:rPr lang="en-US" sz="1400" dirty="0">
                <a:latin typeface="Arial" pitchFamily="34" charset="0"/>
                <a:ea typeface="ヒラギノ角ゴ Pro W3"/>
                <a:cs typeface="ヒラギノ角ゴ Pro W3"/>
              </a:rPr>
              <a:t>of Oracle’s key product areas. With 5 specializations, partner can become platinum, and our Diamond level is for those partners who have over </a:t>
            </a:r>
            <a:r>
              <a:rPr lang="en-US" sz="1400" dirty="0" smtClean="0">
                <a:latin typeface="Arial" pitchFamily="34" charset="0"/>
                <a:ea typeface="ヒラギノ角ゴ Pro W3"/>
                <a:cs typeface="ヒラギノ角ゴ Pro W3"/>
              </a:rPr>
              <a:t>30 </a:t>
            </a:r>
            <a:r>
              <a:rPr lang="en-US" sz="1400" dirty="0">
                <a:latin typeface="Arial" pitchFamily="34" charset="0"/>
                <a:ea typeface="ヒラギノ角ゴ Pro W3"/>
                <a:cs typeface="ヒラギノ角ゴ Pro W3"/>
              </a:rPr>
              <a:t>specializations. </a:t>
            </a:r>
          </a:p>
          <a:p>
            <a:pPr eaLnBrk="1" hangingPunct="1">
              <a:buFont typeface="Arial" pitchFamily="34" charset="0"/>
              <a:buChar char="•"/>
            </a:pPr>
            <a:endParaRPr lang="en-US" sz="1400" dirty="0">
              <a:latin typeface="Arial" pitchFamily="34" charset="0"/>
              <a:ea typeface="ヒラギノ角ゴ Pro W3"/>
              <a:cs typeface="ヒラギノ角ゴ Pro W3"/>
            </a:endParaRPr>
          </a:p>
          <a:p>
            <a:pPr eaLnBrk="1" hangingPunct="1">
              <a:buFont typeface="Arial" pitchFamily="34" charset="0"/>
              <a:buChar char="•"/>
            </a:pPr>
            <a:r>
              <a:rPr lang="en-US" sz="1400" dirty="0">
                <a:latin typeface="Arial" pitchFamily="34" charset="0"/>
                <a:ea typeface="ヒラギノ角ゴ Pro W3"/>
                <a:cs typeface="ヒラギノ角ゴ Pro W3"/>
              </a:rPr>
              <a:t>Specialized partners are differentiated; Oracle recognizes these partners and specialization offers a system of preference for our customers. </a:t>
            </a:r>
          </a:p>
          <a:p>
            <a:pPr eaLnBrk="1" hangingPunct="1">
              <a:buFont typeface="Arial" pitchFamily="34" charset="0"/>
              <a:buNone/>
            </a:pPr>
            <a:endParaRPr lang="en-US" sz="1400" dirty="0">
              <a:latin typeface="Arial" pitchFamily="34" charset="0"/>
              <a:ea typeface="ヒラギノ角ゴ Pro W3"/>
              <a:cs typeface="ヒラギノ角ゴ Pro W3"/>
            </a:endParaRPr>
          </a:p>
          <a:p>
            <a:pPr eaLnBrk="1" hangingPunct="1">
              <a:buFont typeface="Arial" pitchFamily="34" charset="0"/>
              <a:buChar char="•"/>
            </a:pPr>
            <a:r>
              <a:rPr lang="en-US" sz="1400" dirty="0">
                <a:latin typeface="Arial" pitchFamily="34" charset="0"/>
                <a:ea typeface="ヒラギノ角ゴ Pro W3"/>
                <a:cs typeface="ヒラギノ角ゴ Pro W3"/>
              </a:rPr>
              <a:t>These partners are directly promoted to oracle’s customers through our showcase site oracle.com/specialized.  </a:t>
            </a:r>
          </a:p>
          <a:p>
            <a:pPr eaLnBrk="1" hangingPunct="1">
              <a:buFont typeface="Arial" pitchFamily="34" charset="0"/>
              <a:buChar char="•"/>
            </a:pPr>
            <a:r>
              <a:rPr lang="en-US" sz="1400" dirty="0">
                <a:latin typeface="Arial" pitchFamily="34" charset="0"/>
                <a:ea typeface="ヒラギノ角ゴ Pro W3"/>
                <a:cs typeface="ヒラギノ角ゴ Pro W3"/>
              </a:rPr>
              <a:t>We make videos, we create case studies, we blog about you.  No other vendor does this.  </a:t>
            </a:r>
          </a:p>
          <a:p>
            <a:pPr eaLnBrk="1" hangingPunct="1">
              <a:buFont typeface="Arial" pitchFamily="34" charset="0"/>
              <a:buChar char="•"/>
            </a:pPr>
            <a:r>
              <a:rPr lang="en-US" sz="1400" dirty="0">
                <a:latin typeface="Arial" pitchFamily="34" charset="0"/>
                <a:ea typeface="ヒラギノ角ゴ Pro W3"/>
                <a:cs typeface="ヒラギノ角ゴ Pro W3"/>
              </a:rPr>
              <a:t>Ultimately, this recognition helps partners drive demand and it impacts their sales efforts. </a:t>
            </a:r>
          </a:p>
          <a:p>
            <a:pPr eaLnBrk="1" hangingPunct="1">
              <a:buFont typeface="Arial" pitchFamily="34" charset="0"/>
              <a:buChar char="•"/>
            </a:pPr>
            <a:endParaRPr lang="en-US" b="0" baseline="0" dirty="0" smtClean="0">
              <a:latin typeface="Arial" pitchFamily="34" charset="0"/>
              <a:ea typeface="ヒラギノ角ゴ Pro W3"/>
              <a:cs typeface="ヒラギノ角ゴ Pro W3"/>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smtClean="0"/>
              <a:t>OPN offers a vast array of benefits for partners.  These span Sales, Marketing, Enablement, Support and Development.  </a:t>
            </a:r>
          </a:p>
          <a:p>
            <a:endParaRPr lang="en-US" dirty="0" smtClean="0"/>
          </a:p>
          <a:p>
            <a:r>
              <a:rPr lang="en-US" u="sng" dirty="0" smtClean="0"/>
              <a:t>Sales</a:t>
            </a:r>
            <a:r>
              <a:rPr lang="en-US" dirty="0" smtClean="0"/>
              <a:t> – Oracle has distribution agreements that fit our partners’ various business models.  A key Sales benefit is the Oracle Open Market Model (or OMM).  Partners can resell products or refer opportunities to Oracle and receive benefits from registering those opportunities in OMM.  Oracle also provides partners with sales tools and kits.</a:t>
            </a:r>
          </a:p>
          <a:p>
            <a:endParaRPr lang="en-US" dirty="0" smtClean="0"/>
          </a:p>
          <a:p>
            <a:r>
              <a:rPr lang="en-US" u="sng" dirty="0" smtClean="0"/>
              <a:t>Marketing</a:t>
            </a:r>
            <a:r>
              <a:rPr lang="en-US" dirty="0" smtClean="0"/>
              <a:t> – We also offer many Marketing benefits. Partners can develop customer success stories with Oracle, as well as submit articles to and advertise in Oracle Profit and Oracle Magazine.  Exhibit and speaking opportunities at Oracle events, including Oracle OpenWorld, are also available to OPN members.   Various Oracle branding options are available for a partner’s level in the program, for any specializations they achieve, as well as for achievement of other specific partner designations and awards.  We provide marketing kits with templates, tools and guidance on marketing campaigns for partners to use as well. </a:t>
            </a:r>
          </a:p>
          <a:p>
            <a:endParaRPr lang="en-US" dirty="0" smtClean="0"/>
          </a:p>
          <a:p>
            <a:r>
              <a:rPr lang="en-US" u="sng" dirty="0" smtClean="0"/>
              <a:t>Development</a:t>
            </a:r>
            <a:r>
              <a:rPr lang="en-US" dirty="0" smtClean="0"/>
              <a:t> – Partners receive a license to download Oracle products for development and demonstration purposes.  We also have a number of offerings for technology partners who develop solutions to run on or integrate with Oracle technology and applications.    </a:t>
            </a:r>
          </a:p>
          <a:p>
            <a:endParaRPr lang="en-US" dirty="0" smtClean="0"/>
          </a:p>
          <a:p>
            <a:r>
              <a:rPr lang="en-US" u="sng" dirty="0" smtClean="0"/>
              <a:t>Support</a:t>
            </a:r>
            <a:r>
              <a:rPr lang="en-US" dirty="0" smtClean="0"/>
              <a:t> – OPN members receive complimentary access to My Oracle Support to search for solutions, download patches and updates, access proactive support tools and collaborate in communities.  Specialized partners receive the right to log a number of Service Requests based on the number of specializations they achieve.  Partners who are not specialized can purchase SR packs at a discounted price. </a:t>
            </a:r>
          </a:p>
          <a:p>
            <a:endParaRPr lang="en-US" dirty="0" smtClean="0"/>
          </a:p>
          <a:p>
            <a:r>
              <a:rPr lang="en-US" u="sng" dirty="0" smtClean="0"/>
              <a:t>Enablement</a:t>
            </a:r>
            <a:r>
              <a:rPr lang="en-US" dirty="0" smtClean="0"/>
              <a:t> – And, finally, Oracle has a vast array of education and enablement benefits available to all OPN members.  We provide free online training via thousands of online courses available through the Oracle University Knowledge Center and the OPN Competency Center.  To make it easier for partners to select appropriate courses, we’ve developed the Guided Learning Paths that are available through the OPN Competency Center.  In addition, partners receive a discount on other Oracle University training as well as vouchers to take certification exams.  Partners may also attend Boot Camps designed exclusively for partners, providing "jump start", in-depth, role-based training.</a:t>
            </a:r>
          </a:p>
          <a:p>
            <a:endParaRPr lang="en-US" dirty="0" smtClean="0"/>
          </a:p>
          <a:p>
            <a:r>
              <a:rPr lang="en-US" dirty="0" smtClean="0"/>
              <a:t>The detailed listing of benefits is available on the OPN Website at </a:t>
            </a:r>
            <a:r>
              <a:rPr lang="en-US" u="sng" dirty="0" smtClean="0">
                <a:hlinkClick r:id="rId3"/>
              </a:rPr>
              <a:t>www.oracle.com/partners</a:t>
            </a:r>
            <a:r>
              <a:rPr lang="en-US" dirty="0" smtClean="0"/>
              <a:t>. </a:t>
            </a: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17</a:t>
            </a:fld>
            <a:endParaRPr lang="en-US" dirty="0">
              <a:solidFill>
                <a:prstClr val="black"/>
              </a:solidFill>
              <a:latin typeface="Calibri"/>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7"/>
          <p:cNvSpPr>
            <a:spLocks noGrp="1" noChangeArrowheads="1"/>
          </p:cNvSpPr>
          <p:nvPr>
            <p:ph type="sldNum" sz="quarter" idx="5"/>
          </p:nvPr>
        </p:nvSpPr>
        <p:spPr>
          <a:noFill/>
        </p:spPr>
        <p:txBody>
          <a:bodyPr/>
          <a:lstStyle/>
          <a:p>
            <a:fld id="{E57D7A31-67E9-484E-A28D-0D85E8F8B678}" type="slidenum">
              <a:rPr lang="en-US" smtClean="0">
                <a:solidFill>
                  <a:srgbClr val="000000"/>
                </a:solidFill>
                <a:latin typeface="Times" pitchFamily="18" charset="0"/>
              </a:rPr>
              <a:pPr/>
              <a:t>18</a:t>
            </a:fld>
            <a:endParaRPr lang="en-US" dirty="0" smtClean="0">
              <a:solidFill>
                <a:srgbClr val="000000"/>
              </a:solidFill>
              <a:latin typeface="Times" pitchFamily="18" charset="0"/>
            </a:endParaRPr>
          </a:p>
        </p:txBody>
      </p:sp>
      <p:sp>
        <p:nvSpPr>
          <p:cNvPr id="307203" name="Rectangle 2"/>
          <p:cNvSpPr>
            <a:spLocks noGrp="1" noRot="1" noChangeAspect="1" noChangeArrowheads="1" noTextEdit="1"/>
          </p:cNvSpPr>
          <p:nvPr>
            <p:ph type="sldImg"/>
          </p:nvPr>
        </p:nvSpPr>
        <p:spPr>
          <a:xfrm>
            <a:off x="2312988" y="525463"/>
            <a:ext cx="4668837" cy="2627312"/>
          </a:xfrm>
          <a:ln w="12700" cap="flat">
            <a:solidFill>
              <a:schemeClr val="tx1"/>
            </a:solidFill>
          </a:ln>
        </p:spPr>
      </p:sp>
      <p:sp>
        <p:nvSpPr>
          <p:cNvPr id="307204" name="Rectangle 3"/>
          <p:cNvSpPr>
            <a:spLocks noGrp="1" noChangeArrowheads="1"/>
          </p:cNvSpPr>
          <p:nvPr>
            <p:ph type="body" idx="1"/>
          </p:nvPr>
        </p:nvSpPr>
        <p:spPr>
          <a:xfrm>
            <a:off x="1239520" y="3329940"/>
            <a:ext cx="6817360" cy="3156303"/>
          </a:xfrm>
          <a:noFill/>
          <a:ln/>
        </p:spPr>
        <p:txBody>
          <a:bodyPr lIns="93793" tIns="46897" rIns="93793" bIns="46897"/>
          <a:lstStyle/>
          <a:p>
            <a:r>
              <a:rPr lang="en-US" b="1" dirty="0" smtClean="0">
                <a:latin typeface="Arial" pitchFamily="34" charset="0"/>
                <a:cs typeface="Arial" pitchFamily="34" charset="0"/>
              </a:rPr>
              <a:t>ORACLE AND PUBLIC SECTOR</a:t>
            </a:r>
          </a:p>
          <a:p>
            <a:endParaRPr lang="en-US" b="1" dirty="0" smtClean="0">
              <a:latin typeface="Arial" pitchFamily="34" charset="0"/>
              <a:cs typeface="Arial" pitchFamily="34" charset="0"/>
            </a:endParaRPr>
          </a:p>
          <a:p>
            <a:r>
              <a:rPr lang="en-US" b="1" dirty="0" smtClean="0">
                <a:latin typeface="Arial" pitchFamily="34" charset="0"/>
                <a:cs typeface="Arial" pitchFamily="34" charset="0"/>
              </a:rPr>
              <a:t>Expanding your business into the Public Sector market opens the doors to a  $79B  US Federal IT market and a $92B US State and Local Government Market.  </a:t>
            </a:r>
          </a:p>
          <a:p>
            <a:endParaRPr lang="en-US" sz="800" b="1" dirty="0" smtClean="0">
              <a:latin typeface="Arial" pitchFamily="34" charset="0"/>
              <a:cs typeface="Arial" pitchFamily="34" charset="0"/>
            </a:endParaRPr>
          </a:p>
          <a:p>
            <a:r>
              <a:rPr lang="en-US" b="1" dirty="0" smtClean="0">
                <a:latin typeface="Arial" pitchFamily="34" charset="0"/>
                <a:cs typeface="Arial" pitchFamily="34" charset="0"/>
              </a:rPr>
              <a:t>The Federal  government is required to conduct 30% of its business through minority, women-owned, 8A and small businesses.  Become one of the select few Oracle resellers who can sell into this enormous market! </a:t>
            </a:r>
          </a:p>
          <a:p>
            <a:endParaRPr lang="en-US" sz="800" u="sng" dirty="0" smtClean="0">
              <a:latin typeface="Arial" pitchFamily="34" charset="0"/>
              <a:cs typeface="Arial" pitchFamily="34" charset="0"/>
            </a:endParaRPr>
          </a:p>
          <a:p>
            <a:pPr marL="169855" indent="-169855">
              <a:buAutoNum type="arabicPeriod"/>
            </a:pPr>
            <a:r>
              <a:rPr lang="en-US" dirty="0" smtClean="0">
                <a:latin typeface="Arial" pitchFamily="34" charset="0"/>
                <a:cs typeface="Arial" pitchFamily="34" charset="0"/>
              </a:rPr>
              <a:t>TREMENDOUS MARKET OPPORTUNITY</a:t>
            </a:r>
          </a:p>
          <a:p>
            <a:pPr marL="232943" indent="-232943">
              <a:buAutoNum type="arabicPeriod"/>
            </a:pPr>
            <a:endParaRPr lang="en-US" sz="700" dirty="0" smtClean="0">
              <a:latin typeface="Arial" pitchFamily="34" charset="0"/>
              <a:cs typeface="Arial" pitchFamily="34" charset="0"/>
            </a:endParaRPr>
          </a:p>
          <a:p>
            <a:pPr marL="121325" indent="-121325">
              <a:buFont typeface="Arial" pitchFamily="34" charset="0"/>
              <a:buChar char="•"/>
            </a:pPr>
            <a:r>
              <a:rPr lang="en-US" dirty="0" smtClean="0">
                <a:latin typeface="Arial" pitchFamily="34" charset="0"/>
                <a:cs typeface="Arial" pitchFamily="34" charset="0"/>
              </a:rPr>
              <a:t>S&amp;LG budgets are growing while others shrink</a:t>
            </a:r>
          </a:p>
          <a:p>
            <a:pPr marL="121325" indent="-121325">
              <a:buFont typeface="Arial" pitchFamily="34" charset="0"/>
              <a:buChar char="•"/>
            </a:pPr>
            <a:r>
              <a:rPr lang="en-US" dirty="0" smtClean="0">
                <a:latin typeface="Arial" pitchFamily="34" charset="0"/>
                <a:cs typeface="Arial" pitchFamily="34" charset="0"/>
              </a:rPr>
              <a:t>Industry solutions – like Health and Human Services – are here to stay in government         (HHS is 30% of state budgets; predicted IT spend is $30B in 2012 for state HHS solutions)</a:t>
            </a:r>
          </a:p>
          <a:p>
            <a:pPr marL="121325" indent="-121325">
              <a:buFont typeface="Arial" pitchFamily="34" charset="0"/>
              <a:buChar char="•"/>
            </a:pPr>
            <a:r>
              <a:rPr lang="en-US" dirty="0" smtClean="0">
                <a:latin typeface="Arial" pitchFamily="34" charset="0"/>
                <a:cs typeface="Arial" pitchFamily="34" charset="0"/>
              </a:rPr>
              <a:t>Massive need for upgrades</a:t>
            </a:r>
          </a:p>
          <a:p>
            <a:pPr marL="121325" indent="-121325">
              <a:buFont typeface="Arial" pitchFamily="34" charset="0"/>
              <a:buChar char="•"/>
            </a:pPr>
            <a:r>
              <a:rPr lang="en-US" dirty="0" smtClean="0">
                <a:latin typeface="Arial" pitchFamily="34" charset="0"/>
                <a:cs typeface="Arial" pitchFamily="34" charset="0"/>
              </a:rPr>
              <a:t>Cloud, Consolidation, Mobility are key solutions MANDATES</a:t>
            </a:r>
          </a:p>
          <a:p>
            <a:pPr marL="232943" indent="-232943">
              <a:buFont typeface="Arial" pitchFamily="34" charset="0"/>
              <a:buChar char="•"/>
            </a:pPr>
            <a:endParaRPr lang="en-US" sz="700" dirty="0" smtClean="0">
              <a:latin typeface="Arial" pitchFamily="34" charset="0"/>
              <a:cs typeface="Arial" pitchFamily="34" charset="0"/>
            </a:endParaRPr>
          </a:p>
          <a:p>
            <a:pPr marL="121325" indent="-121325"/>
            <a:r>
              <a:rPr lang="en-US" dirty="0" smtClean="0">
                <a:latin typeface="Arial" pitchFamily="34" charset="0"/>
                <a:cs typeface="Arial" pitchFamily="34" charset="0"/>
              </a:rPr>
              <a:t>2.  MASSIVE INSTALL BASE</a:t>
            </a:r>
          </a:p>
          <a:p>
            <a:pPr marL="232943" indent="-232943">
              <a:buFont typeface="+mj-lt"/>
              <a:buAutoNum type="arabicPeriod" startAt="2"/>
            </a:pPr>
            <a:endParaRPr lang="en-US" sz="700" dirty="0" smtClean="0">
              <a:latin typeface="Arial" pitchFamily="34" charset="0"/>
              <a:cs typeface="Arial" pitchFamily="34" charset="0"/>
            </a:endParaRPr>
          </a:p>
          <a:p>
            <a:pPr marL="121325" indent="-121325">
              <a:buFont typeface="Arial" pitchFamily="34" charset="0"/>
              <a:buChar char="•"/>
            </a:pPr>
            <a:r>
              <a:rPr lang="en-US" dirty="0" smtClean="0">
                <a:latin typeface="Arial" pitchFamily="34" charset="0"/>
                <a:cs typeface="Arial" pitchFamily="34" charset="0"/>
              </a:rPr>
              <a:t>Hundreds of states, cities and municipalities run Oracle products - cross &amp; up-sell</a:t>
            </a:r>
          </a:p>
          <a:p>
            <a:pPr marL="93177" indent="-93177"/>
            <a:endParaRPr lang="en-US" sz="700" dirty="0" smtClean="0">
              <a:latin typeface="Arial" pitchFamily="34" charset="0"/>
              <a:cs typeface="Arial" pitchFamily="34" charset="0"/>
            </a:endParaRPr>
          </a:p>
          <a:p>
            <a:pPr marL="169855" indent="-169855">
              <a:buFont typeface="+mj-lt"/>
              <a:buAutoNum type="arabicPeriod" startAt="3"/>
            </a:pPr>
            <a:r>
              <a:rPr lang="en-US" dirty="0" smtClean="0">
                <a:latin typeface="Arial" pitchFamily="34" charset="0"/>
                <a:cs typeface="Arial" pitchFamily="34" charset="0"/>
              </a:rPr>
              <a:t>EASY TO EXPAND INTO PUBLIC SECTOR</a:t>
            </a:r>
          </a:p>
          <a:p>
            <a:pPr marL="232943" indent="-232943"/>
            <a:endParaRPr lang="en-US" sz="700" dirty="0" smtClean="0">
              <a:latin typeface="Arial" pitchFamily="34" charset="0"/>
              <a:cs typeface="Arial" pitchFamily="34" charset="0"/>
            </a:endParaRPr>
          </a:p>
          <a:p>
            <a:pPr marL="93177" indent="-93177">
              <a:buFont typeface="Arial" pitchFamily="34" charset="0"/>
              <a:buChar char="•"/>
            </a:pPr>
            <a:r>
              <a:rPr lang="en-US" dirty="0" smtClean="0">
                <a:latin typeface="Arial" pitchFamily="34" charset="0"/>
                <a:cs typeface="Arial" pitchFamily="34" charset="0"/>
              </a:rPr>
              <a:t>Simple addendum to existing FUDA</a:t>
            </a:r>
          </a:p>
          <a:p>
            <a:pPr marL="93177" indent="-93177">
              <a:buFont typeface="Arial" pitchFamily="34" charset="0"/>
              <a:buChar char="•"/>
            </a:pPr>
            <a:r>
              <a:rPr lang="en-US" dirty="0" smtClean="0">
                <a:latin typeface="Arial" pitchFamily="34" charset="0"/>
                <a:cs typeface="Arial" pitchFamily="34" charset="0"/>
              </a:rPr>
              <a:t>Team with other SIs if you are a small partner</a:t>
            </a:r>
          </a:p>
          <a:p>
            <a:pPr marL="93177" indent="-93177">
              <a:buFont typeface="Arial" pitchFamily="34" charset="0"/>
              <a:buChar char="•"/>
            </a:pPr>
            <a:r>
              <a:rPr lang="en-US" dirty="0" smtClean="0">
                <a:latin typeface="Arial" pitchFamily="34" charset="0"/>
                <a:cs typeface="Arial" pitchFamily="34" charset="0"/>
              </a:rPr>
              <a:t>Specific events and communities for Oracle Public Sector partners</a:t>
            </a:r>
          </a:p>
          <a:p>
            <a:pPr marL="93177" indent="-93177">
              <a:buFont typeface="Arial" pitchFamily="34" charset="0"/>
              <a:buChar char="•"/>
            </a:pPr>
            <a:endParaRPr lang="en-US" dirty="0" smtClean="0">
              <a:latin typeface="Arial" pitchFamily="34" charset="0"/>
              <a:cs typeface="Arial" pitchFamily="34" charset="0"/>
            </a:endParaRPr>
          </a:p>
          <a:p>
            <a:pPr>
              <a:defRPr/>
            </a:pPr>
            <a:r>
              <a:rPr lang="en-US" b="1" dirty="0" smtClean="0"/>
              <a:t>50 of the  50 US States, and 20 of the top 20 counties are Oracle customers -  we seek resellers to grow and maintain that business through lucrative government contracts.  </a:t>
            </a:r>
          </a:p>
          <a:p>
            <a:pPr>
              <a:defRPr/>
            </a:pPr>
            <a:endParaRPr lang="en-US" b="1" dirty="0" smtClean="0"/>
          </a:p>
          <a:p>
            <a:pPr>
              <a:defRPr/>
            </a:pPr>
            <a:r>
              <a:rPr lang="en-US" b="1" dirty="0" smtClean="0"/>
              <a:t>The complete line of Oracle products – the full red stack – offers an end-to-end solution sale no other manufacturer can, and which government datacenters crave. Once established, government contract business  can offer years of reliable, repeat business and loyal customers.  </a:t>
            </a:r>
          </a:p>
          <a:p>
            <a:pPr>
              <a:defRPr/>
            </a:pPr>
            <a:endParaRPr lang="en-US" dirty="0" smtClean="0"/>
          </a:p>
          <a:p>
            <a:pPr marL="111619" indent="-111619">
              <a:buFont typeface="Arial" pitchFamily="34" charset="0"/>
              <a:buChar char="•"/>
              <a:defRPr/>
            </a:pPr>
            <a:r>
              <a:rPr lang="en-US" dirty="0" smtClean="0"/>
              <a:t>The top ten states will spend over $21B on IT in 2013</a:t>
            </a:r>
          </a:p>
          <a:p>
            <a:pPr indent="95443">
              <a:buFont typeface="Arial" pitchFamily="34" charset="0"/>
              <a:buChar char="•"/>
              <a:defRPr/>
            </a:pPr>
            <a:endParaRPr lang="en-US" dirty="0" smtClean="0"/>
          </a:p>
          <a:p>
            <a:pPr marL="111619" indent="-111619">
              <a:buFont typeface="Arial" pitchFamily="34" charset="0"/>
              <a:buChar char="•"/>
              <a:defRPr/>
            </a:pPr>
            <a:r>
              <a:rPr lang="en-US" dirty="0" smtClean="0"/>
              <a:t>The top 10 cities will spend over $1.5B on IT in 2013</a:t>
            </a:r>
          </a:p>
          <a:p>
            <a:pPr indent="95443">
              <a:buFont typeface="Arial" pitchFamily="34" charset="0"/>
              <a:buChar char="•"/>
              <a:defRPr/>
            </a:pPr>
            <a:endParaRPr lang="en-US" dirty="0" smtClean="0"/>
          </a:p>
          <a:p>
            <a:pPr marL="111619" indent="-111619">
              <a:buFont typeface="Arial" pitchFamily="34" charset="0"/>
              <a:buChar char="•"/>
              <a:defRPr/>
            </a:pPr>
            <a:r>
              <a:rPr lang="en-US" dirty="0" smtClean="0"/>
              <a:t>Data Center consolidation and Cloud Computing are mandates government customers are facing – Oracle has  the turnkey solution they seek</a:t>
            </a:r>
          </a:p>
          <a:p>
            <a:pPr indent="95443">
              <a:buFont typeface="Arial" pitchFamily="34" charset="0"/>
              <a:buChar char="•"/>
              <a:defRPr/>
            </a:pPr>
            <a:endParaRPr lang="en-US" dirty="0" smtClean="0"/>
          </a:p>
          <a:p>
            <a:pPr marL="111619" indent="-111619">
              <a:buFont typeface="Arial" pitchFamily="34" charset="0"/>
              <a:buChar char="•"/>
              <a:defRPr/>
            </a:pPr>
            <a:r>
              <a:rPr lang="en-US" dirty="0" smtClean="0"/>
              <a:t>Cost reduction through improvement in efficiency, power savings and processing speed  make Oracle the obvious choice for  governments</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46842B-62D4-4F92-BF30-9B4F906C29A5}" type="slidenum">
              <a:rPr lang="en-US" smtClean="0"/>
              <a:pPr fontAlgn="base">
                <a:spcBef>
                  <a:spcPct val="0"/>
                </a:spcBef>
                <a:spcAft>
                  <a:spcPct val="0"/>
                </a:spcAft>
                <a:defRPr/>
              </a:pPr>
              <a:t>21</a:t>
            </a:fld>
            <a:endParaRPr lang="en-US" dirty="0" smtClean="0"/>
          </a:p>
        </p:txBody>
      </p:sp>
      <p:sp>
        <p:nvSpPr>
          <p:cNvPr id="409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1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baseline="0" dirty="0" smtClean="0">
                <a:latin typeface="Arial" pitchFamily="34" charset="0"/>
              </a:rPr>
              <a:t>Some quick facts about Oracle…</a:t>
            </a:r>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p:spPr>
        <p:txBody>
          <a:bodyPr/>
          <a:lstStyle/>
          <a:p>
            <a:fld id="{E43F2BEE-8BE3-4222-BB3B-71BAE62FD6DB}" type="slidenum">
              <a:rPr lang="en-US" smtClean="0">
                <a:solidFill>
                  <a:srgbClr val="000000"/>
                </a:solidFill>
              </a:rPr>
              <a:pPr/>
              <a:t>22</a:t>
            </a:fld>
            <a:endParaRPr lang="en-US" dirty="0" smtClean="0">
              <a:solidFill>
                <a:srgbClr val="000000"/>
              </a:solidFill>
            </a:endParaRPr>
          </a:p>
        </p:txBody>
      </p:sp>
      <p:sp>
        <p:nvSpPr>
          <p:cNvPr id="13315" name="Rectangle 2"/>
          <p:cNvSpPr>
            <a:spLocks noGrp="1" noRot="1" noChangeAspect="1" noChangeArrowheads="1" noTextEdit="1"/>
          </p:cNvSpPr>
          <p:nvPr>
            <p:ph type="sldImg"/>
          </p:nvPr>
        </p:nvSpPr>
        <p:spPr>
          <a:xfrm>
            <a:off x="518621" y="525780"/>
            <a:ext cx="8259163" cy="2628900"/>
          </a:xfrm>
          <a:ln/>
        </p:spPr>
      </p:sp>
      <p:sp>
        <p:nvSpPr>
          <p:cNvPr id="13316"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C401CFC2-0501-4EB7-9CB6-30E30E0DFE16}" type="slidenum">
              <a:rPr lang="en-US" smtClean="0">
                <a:solidFill>
                  <a:srgbClr val="000000"/>
                </a:solidFill>
              </a:rPr>
              <a:pPr/>
              <a:t>23</a:t>
            </a:fld>
            <a:endParaRPr lang="en-US" dirty="0" smtClean="0">
              <a:solidFill>
                <a:srgbClr val="000000"/>
              </a:solidFill>
            </a:endParaRPr>
          </a:p>
        </p:txBody>
      </p:sp>
      <p:sp>
        <p:nvSpPr>
          <p:cNvPr id="10243" name="Rectangle 2"/>
          <p:cNvSpPr>
            <a:spLocks noGrp="1" noRot="1" noChangeAspect="1" noChangeArrowheads="1" noTextEdit="1"/>
          </p:cNvSpPr>
          <p:nvPr>
            <p:ph type="sldImg"/>
          </p:nvPr>
        </p:nvSpPr>
        <p:spPr>
          <a:xfrm>
            <a:off x="518621" y="525780"/>
            <a:ext cx="8259163" cy="2628900"/>
          </a:xfrm>
          <a:ln/>
        </p:spPr>
      </p:sp>
      <p:sp>
        <p:nvSpPr>
          <p:cNvPr id="1024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656765" y="525541"/>
            <a:ext cx="5982873" cy="26289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24</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GB" b="1" dirty="0" smtClean="0">
                <a:latin typeface="+mn-lt"/>
              </a:rPr>
              <a:t>Since 2004,</a:t>
            </a:r>
            <a:r>
              <a:rPr lang="en-GB" b="1" baseline="0" dirty="0" smtClean="0">
                <a:latin typeface="+mn-lt"/>
              </a:rPr>
              <a:t> Oracle had invested more than US$29 billion in continued innovation of our products, so we can ensure that each of our product is best-of-breed in the industry and in integration, so we can deliver products that work together.</a:t>
            </a:r>
          </a:p>
          <a:p>
            <a:pPr eaLnBrk="1" hangingPunct="1"/>
            <a:endParaRPr lang="en-GB" b="1" baseline="0" dirty="0" smtClean="0">
              <a:latin typeface="+mn-lt"/>
            </a:endParaRPr>
          </a:p>
          <a:p>
            <a:pPr>
              <a:buFontTx/>
              <a:buChar char="-"/>
            </a:pPr>
            <a:r>
              <a:rPr lang="en-US" i="1" dirty="0" smtClean="0"/>
              <a:t>Sought</a:t>
            </a:r>
            <a:r>
              <a:rPr lang="en-US" i="1" baseline="0" dirty="0" smtClean="0"/>
              <a:t> acquisitions to round out footprints in our industries, healthcare, communications, retail, utilities, etc.</a:t>
            </a:r>
          </a:p>
          <a:p>
            <a:pPr>
              <a:buFontTx/>
              <a:buChar char="-"/>
            </a:pPr>
            <a:r>
              <a:rPr lang="en-US" i="1" baseline="0" dirty="0" smtClean="0"/>
              <a:t>Ultimate benefit to customers with end to end integration</a:t>
            </a:r>
          </a:p>
          <a:p>
            <a:pPr>
              <a:buFontTx/>
              <a:buChar char="-"/>
            </a:pPr>
            <a:r>
              <a:rPr lang="en-US" i="1" baseline="0" dirty="0" smtClean="0"/>
              <a:t>Done this so our partners can create value added services and wrap that around our products to offer compelling customer solutions.</a:t>
            </a:r>
          </a:p>
          <a:p>
            <a:pPr>
              <a:buFontTx/>
              <a:buChar char="-"/>
            </a:pPr>
            <a:r>
              <a:rPr lang="en-US" i="1" baseline="0" dirty="0" smtClean="0"/>
              <a:t>- analytics to improve sales productivity</a:t>
            </a:r>
          </a:p>
          <a:p>
            <a:pPr>
              <a:buFontTx/>
              <a:buChar char="-"/>
            </a:pPr>
            <a:r>
              <a:rPr lang="en-US" i="1" baseline="0" dirty="0" smtClean="0"/>
              <a:t>-- private cloud to offer capacity on demand</a:t>
            </a:r>
          </a:p>
          <a:p>
            <a:pPr eaLnBrk="1" hangingPunct="1"/>
            <a:endParaRPr lang="en-GB" b="1" baseline="0" dirty="0" smtClean="0">
              <a:latin typeface="+mn-lt"/>
            </a:endParaRPr>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3</a:t>
            </a:fld>
            <a:endParaRPr lang="en-US" dirty="0">
              <a:solidFill>
                <a:prstClr val="black"/>
              </a:solidFill>
              <a:latin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baseline="0" dirty="0" smtClean="0">
                <a:latin typeface="Arial" pitchFamily="34" charset="0"/>
              </a:rPr>
              <a:t>Part of that spend goes into integrating the many companies that Oracle has acquired over recent years.  Each acquisition has helped to grow the portfolio that we can offer to customers.  This provides tremendous opportunity to our partners to also grow their footprint within their customer base.</a:t>
            </a:r>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solidFill>
                  <a:prstClr val="black"/>
                </a:solidFill>
              </a:rPr>
              <a:pPr>
                <a:defRPr/>
              </a:pPr>
              <a:t>4</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800" b="1" dirty="0" smtClean="0">
                <a:latin typeface="Arial" pitchFamily="-106" charset="0"/>
                <a:ea typeface="ＭＳ Ｐゴシック" charset="-128"/>
                <a:cs typeface="ＭＳ Ｐゴシック" charset="-128"/>
              </a:rPr>
              <a:t>Everything from Apps to Disk</a:t>
            </a:r>
          </a:p>
          <a:p>
            <a:pPr lvl="0"/>
            <a:endParaRPr lang="en-US" sz="800" b="1" dirty="0" smtClean="0">
              <a:latin typeface="Arial" pitchFamily="-106" charset="0"/>
              <a:ea typeface="ＭＳ Ｐゴシック" charset="-128"/>
              <a:cs typeface="ＭＳ Ｐゴシック" charset="-128"/>
            </a:endParaRPr>
          </a:p>
          <a:p>
            <a:pPr lvl="0"/>
            <a:r>
              <a:rPr lang="en-US" sz="800" b="1" dirty="0" smtClean="0">
                <a:latin typeface="Arial" pitchFamily="-106" charset="0"/>
                <a:ea typeface="ＭＳ Ｐゴシック" charset="-128"/>
                <a:cs typeface="ＭＳ Ｐゴシック" charset="-128"/>
              </a:rPr>
              <a:t>One red stack vs. Piecemeal solution from multiple vendors</a:t>
            </a:r>
          </a:p>
          <a:p>
            <a:pPr lvl="0"/>
            <a:endParaRPr lang="en-US" sz="800" b="1" dirty="0" smtClean="0">
              <a:latin typeface="Arial" pitchFamily="-106" charset="0"/>
              <a:ea typeface="ＭＳ Ｐゴシック" charset="-128"/>
              <a:cs typeface="ＭＳ Ｐゴシック" charset="-128"/>
            </a:endParaRPr>
          </a:p>
          <a:p>
            <a:pPr lvl="0"/>
            <a:r>
              <a:rPr lang="en-US" sz="800" b="1" dirty="0" smtClean="0">
                <a:latin typeface="Arial" pitchFamily="-106" charset="0"/>
                <a:ea typeface="ＭＳ Ｐゴシック" charset="-128"/>
                <a:cs typeface="ＭＳ Ｐゴシック" charset="-128"/>
              </a:rPr>
              <a:t>Engineered to work together</a:t>
            </a:r>
          </a:p>
          <a:p>
            <a:pPr lvl="1"/>
            <a:r>
              <a:rPr lang="en-US" sz="800" dirty="0" smtClean="0">
                <a:latin typeface="Arial" pitchFamily="-106" charset="0"/>
                <a:ea typeface="ＭＳ Ｐゴシック" pitchFamily="-106" charset="-128"/>
              </a:rPr>
              <a:t>Huge competitive advantage</a:t>
            </a:r>
          </a:p>
          <a:p>
            <a:pPr lvl="1"/>
            <a:r>
              <a:rPr lang="en-US" sz="800" dirty="0" smtClean="0">
                <a:latin typeface="Arial" pitchFamily="-106" charset="0"/>
                <a:ea typeface="ＭＳ Ｐゴシック" pitchFamily="-106" charset="-128"/>
              </a:rPr>
              <a:t>Terrific value-add story for end users and partners</a:t>
            </a:r>
          </a:p>
          <a:p>
            <a:pPr lvl="0"/>
            <a:endParaRPr lang="en-US" sz="800" b="1" dirty="0" smtClean="0">
              <a:latin typeface="Arial" pitchFamily="-106" charset="0"/>
              <a:ea typeface="ＭＳ Ｐゴシック" charset="-128"/>
              <a:cs typeface="ＭＳ Ｐゴシック" charset="-128"/>
            </a:endParaRPr>
          </a:p>
          <a:p>
            <a:pPr lvl="0"/>
            <a:r>
              <a:rPr lang="en-US" sz="800" b="1" dirty="0" smtClean="0">
                <a:latin typeface="Arial" pitchFamily="-106" charset="0"/>
                <a:ea typeface="ＭＳ Ｐゴシック" charset="-128"/>
                <a:cs typeface="ＭＳ Ｐゴシック" charset="-128"/>
              </a:rPr>
              <a:t>Oracle on Oracle solves the CIO constraints we just discussed</a:t>
            </a:r>
          </a:p>
          <a:p>
            <a:pPr lvl="1"/>
            <a:r>
              <a:rPr lang="en-US" sz="800" dirty="0" smtClean="0">
                <a:latin typeface="Arial" pitchFamily="-106" charset="0"/>
                <a:ea typeface="ＭＳ Ｐゴシック" pitchFamily="-106" charset="-128"/>
              </a:rPr>
              <a:t>Faster uptimes</a:t>
            </a:r>
          </a:p>
          <a:p>
            <a:pPr lvl="1"/>
            <a:r>
              <a:rPr lang="en-US" sz="800" dirty="0" smtClean="0">
                <a:latin typeface="Arial" pitchFamily="-106" charset="0"/>
                <a:ea typeface="ＭＳ Ｐゴシック" pitchFamily="-106" charset="-128"/>
              </a:rPr>
              <a:t>Better, faster access to data</a:t>
            </a:r>
          </a:p>
          <a:p>
            <a:pPr lvl="0"/>
            <a:endParaRPr lang="en-US" sz="800" b="1" dirty="0" smtClean="0">
              <a:latin typeface="Arial" pitchFamily="-106" charset="0"/>
              <a:ea typeface="ＭＳ Ｐゴシック" charset="-128"/>
              <a:cs typeface="ＭＳ Ｐゴシック" charset="-128"/>
            </a:endParaRPr>
          </a:p>
          <a:p>
            <a:pPr lvl="0"/>
            <a:r>
              <a:rPr lang="en-US" sz="800" b="1" dirty="0" smtClean="0">
                <a:latin typeface="Arial" pitchFamily="-106" charset="0"/>
                <a:ea typeface="ＭＳ Ｐゴシック" charset="-128"/>
                <a:cs typeface="ＭＳ Ｐゴシック" charset="-128"/>
              </a:rPr>
              <a:t>Only Oracle can offer this level of value</a:t>
            </a:r>
          </a:p>
          <a:p>
            <a:r>
              <a:rPr lang="en-US" sz="800" b="1" dirty="0" smtClean="0">
                <a:latin typeface="Arial" pitchFamily="-106" charset="0"/>
                <a:ea typeface="ＭＳ Ｐゴシック" charset="-128"/>
                <a:cs typeface="ＭＳ Ｐゴシック" charset="-128"/>
              </a:rPr>
              <a:t> </a:t>
            </a:r>
          </a:p>
          <a:p>
            <a:r>
              <a:rPr lang="en-US" sz="800" b="1" i="1" dirty="0" smtClean="0">
                <a:latin typeface="Arial" pitchFamily="-106" charset="0"/>
                <a:ea typeface="ＭＳ Ｐゴシック" charset="-128"/>
                <a:cs typeface="ＭＳ Ｐゴシック" charset="-128"/>
              </a:rPr>
              <a:t>Transition: </a:t>
            </a:r>
            <a:r>
              <a:rPr lang="en-US" sz="800" b="1" dirty="0" smtClean="0">
                <a:latin typeface="Arial" pitchFamily="-106" charset="0"/>
                <a:ea typeface="ＭＳ Ｐゴシック" charset="-128"/>
                <a:cs typeface="ＭＳ Ｐゴシック" charset="-128"/>
              </a:rPr>
              <a:t>To highlight a few specific high-value areas…</a:t>
            </a:r>
            <a:endParaRPr lang="en-US" sz="800" b="1" dirty="0">
              <a:latin typeface="Arial" pitchFamily="-106" charset="0"/>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5</a:t>
            </a:fld>
            <a:endParaRPr lang="en-US" dirty="0">
              <a:solidFill>
                <a:prstClr val="black"/>
              </a:solidFill>
              <a:latin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p:spPr>
      </p:sp>
      <p:sp>
        <p:nvSpPr>
          <p:cNvPr id="4" name="Notes Placeholder 3"/>
          <p:cNvSpPr>
            <a:spLocks noGrp="1"/>
          </p:cNvSpPr>
          <p:nvPr>
            <p:ph type="body" sz="quarter" idx="10"/>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noFill/>
          <a:ln>
            <a:solidFill>
              <a:srgbClr val="000000"/>
            </a:solidFill>
            <a:miter lim="800000"/>
            <a:headEnd/>
            <a:tailEnd/>
          </a:ln>
        </p:spPr>
      </p:sp>
      <p:sp>
        <p:nvSpPr>
          <p:cNvPr id="12595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0DC0F7DD-D8FA-4D21-A447-81137DF2A6BB}" type="slidenum">
              <a:rPr lang="en-US" smtClean="0">
                <a:solidFill>
                  <a:prstClr val="black"/>
                </a:solidFill>
              </a:rPr>
              <a:pPr>
                <a:defRPr/>
              </a:pPr>
              <a:t>7</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487" y="524158"/>
            <a:ext cx="4651428" cy="2630522"/>
          </a:xfrm>
        </p:spPr>
      </p:sp>
      <p:sp>
        <p:nvSpPr>
          <p:cNvPr id="3" name="Notes Placeholder 2"/>
          <p:cNvSpPr>
            <a:spLocks noGrp="1"/>
          </p:cNvSpPr>
          <p:nvPr>
            <p:ph type="body" idx="1"/>
          </p:nvPr>
        </p:nvSpPr>
        <p:spPr/>
        <p:txBody>
          <a:bodyPr>
            <a:normAutofit/>
          </a:bodyPr>
          <a:lstStyle/>
          <a:p>
            <a:r>
              <a:rPr lang="en-US" dirty="0" smtClean="0"/>
              <a:t>This is Oracle’s line up of Application Engineered Storage, all with unique characteristics</a:t>
            </a:r>
            <a:r>
              <a:rPr lang="en-US" baseline="0" dirty="0" smtClean="0"/>
              <a:t> only available on Oracle storage.</a:t>
            </a:r>
            <a:endParaRPr lang="en-US" dirty="0" smtClean="0"/>
          </a:p>
          <a:p>
            <a:endParaRPr lang="en-US" dirty="0" smtClean="0"/>
          </a:p>
          <a:p>
            <a:pPr marL="174708" indent="-174708">
              <a:buFont typeface="Arial" pitchFamily="34" charset="0"/>
              <a:buChar char="•"/>
            </a:pPr>
            <a:r>
              <a:rPr lang="en-US" dirty="0" smtClean="0"/>
              <a:t>The Sun ZFS Storage Appliance,</a:t>
            </a:r>
            <a:r>
              <a:rPr lang="en-US" baseline="0" dirty="0" smtClean="0"/>
              <a:t> a high performance NAS system </a:t>
            </a:r>
          </a:p>
          <a:p>
            <a:pPr marL="174708" indent="-174708">
              <a:buFont typeface="Arial" pitchFamily="34" charset="0"/>
              <a:buChar char="•"/>
            </a:pPr>
            <a:r>
              <a:rPr lang="en-US" baseline="0" dirty="0" smtClean="0"/>
              <a:t>The Pillar Axiom for SAN-based application consolidation, and </a:t>
            </a:r>
          </a:p>
          <a:p>
            <a:pPr marL="174708" indent="-174708">
              <a:buFont typeface="Arial" pitchFamily="34" charset="0"/>
              <a:buChar char="•"/>
            </a:pPr>
            <a:r>
              <a:rPr lang="en-US" baseline="0" dirty="0" smtClean="0"/>
              <a:t>The StorageTek family of tape library systems, drives, media for long-term data archive.</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NULL"/><Relationship Id="rId1" Type="http://schemas.openxmlformats.org/officeDocument/2006/relationships/slideMaster" Target="../slideMasters/slideMaster10.xml"/><Relationship Id="rId5" Type="http://schemas.openxmlformats.org/officeDocument/2006/relationships/image" Target="../media/image19.png"/><Relationship Id="rId4" Type="http://schemas.openxmlformats.org/officeDocument/2006/relationships/image" Target="../media/image18.jpe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1.xml"/><Relationship Id="rId6" Type="http://schemas.openxmlformats.org/officeDocument/2006/relationships/image" Target="../media/image25.png"/><Relationship Id="rId5" Type="http://schemas.openxmlformats.org/officeDocument/2006/relationships/image" Target="../media/image19.png"/><Relationship Id="rId4" Type="http://schemas.openxmlformats.org/officeDocument/2006/relationships/image" Target="../media/image24.jpe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nchor="t" anchorCtr="0"/>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90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1" y="1716438"/>
            <a:ext cx="4284133" cy="242047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bwMode="auto">
          <a:xfrm>
            <a:off x="1524" y="1156648"/>
            <a:ext cx="4291076" cy="551323"/>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4318000" y="1156648"/>
            <a:ext cx="4825998" cy="29718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hasCustomPrompt="1"/>
          </p:nvPr>
        </p:nvSpPr>
        <p:spPr>
          <a:xfrm>
            <a:off x="804346" y="1163620"/>
            <a:ext cx="3412068" cy="544351"/>
          </a:xfrm>
          <a:noFill/>
        </p:spPr>
        <p:txBody>
          <a:bodyPr lIns="0" tIns="0" rIns="0" bIns="0" anchor="ctr" anchorCtr="0">
            <a:noAutofit/>
          </a:bodyPr>
          <a:lstStyle>
            <a:lvl1pPr marL="0" indent="0">
              <a:buNone/>
              <a:defRPr sz="20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804346" y="245538"/>
            <a:ext cx="8221121" cy="770462"/>
          </a:xfrm>
        </p:spPr>
        <p:txBody>
          <a:bodyPr anchor="t" anchorCtr="0"/>
          <a:lstStyle>
            <a:lvl1pPr>
              <a:defRPr/>
            </a:lvl1pPr>
          </a:lstStyle>
          <a:p>
            <a:r>
              <a:rPr lang="en-US" smtClean="0"/>
              <a:t>Click to edit Master title style</a:t>
            </a:r>
            <a:endParaRPr lang="en-US" dirty="0"/>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2271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159938"/>
            <a:ext cx="9143998" cy="2980266"/>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Title 1"/>
          <p:cNvSpPr>
            <a:spLocks noGrp="1"/>
          </p:cNvSpPr>
          <p:nvPr userDrawn="1">
            <p:ph type="title"/>
          </p:nvPr>
        </p:nvSpPr>
        <p:spPr>
          <a:xfrm>
            <a:off x="804981" y="245538"/>
            <a:ext cx="7771752" cy="761995"/>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userDrawn="1">
            <p:ph type="body" sz="quarter" idx="13"/>
          </p:nvPr>
        </p:nvSpPr>
        <p:spPr>
          <a:xfrm>
            <a:off x="804981" y="1363132"/>
            <a:ext cx="7771752" cy="2616201"/>
          </a:xfrm>
        </p:spPr>
        <p:txBody>
          <a:bodyPr lIns="0" tIns="0"/>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grpSp>
        <p:nvGrpSpPr>
          <p:cNvPr id="2" name="Group 9"/>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2"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3" name="Rectangle 12"/>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04009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53" cy="1100723"/>
          </a:xfrm>
        </p:spPr>
        <p:txBody>
          <a:bodyPr anchor="t" anchorCtr="0"/>
          <a:lstStyle>
            <a:lvl1pPr>
              <a:defRPr sz="2800" b="1">
                <a:ln w="0">
                  <a:noFill/>
                </a:ln>
                <a:solidFill>
                  <a:schemeClr val="tx1"/>
                </a:solidFill>
                <a:effectLst/>
              </a:defRPr>
            </a:lvl1pPr>
          </a:lstStyle>
          <a:p>
            <a:r>
              <a:rPr lang="en-US" dirty="0" smtClean="0"/>
              <a:t>Click to edit text </a:t>
            </a:r>
            <a:endParaRPr lang="en-US" dirty="0"/>
          </a:p>
        </p:txBody>
      </p:sp>
      <p:sp>
        <p:nvSpPr>
          <p:cNvPr id="12" name="Rectangle 11"/>
          <p:cNvSpPr/>
          <p:nvPr userDrawn="1"/>
        </p:nvSpPr>
        <p:spPr>
          <a:xfrm>
            <a:off x="5715000" y="0"/>
            <a:ext cx="3429000" cy="4631267"/>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2"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26543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40" cy="1100723"/>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dirty="0" smtClean="0"/>
              <a:t>Click to edit text </a:t>
            </a:r>
            <a:endParaRPr lang="en-US" dirty="0"/>
          </a:p>
        </p:txBody>
      </p:sp>
      <p:sp>
        <p:nvSpPr>
          <p:cNvPr id="10" name="Picture Placeholder 11"/>
          <p:cNvSpPr>
            <a:spLocks noGrp="1"/>
          </p:cNvSpPr>
          <p:nvPr>
            <p:ph type="pic" sz="quarter" idx="12" hasCustomPrompt="1"/>
          </p:nvPr>
        </p:nvSpPr>
        <p:spPr>
          <a:xfrm>
            <a:off x="5715000" y="-2117"/>
            <a:ext cx="3429000" cy="4629150"/>
          </a:xfrm>
          <a:ln>
            <a:noFill/>
          </a:ln>
          <a:effectLst/>
        </p:spPr>
        <p:txBody>
          <a:bodyPr anchor="ctr" anchorCtr="0"/>
          <a:lstStyle>
            <a:lvl1pPr marL="0" indent="0" algn="ctr">
              <a:buNone/>
              <a:defRPr>
                <a:ln>
                  <a:noFill/>
                </a:ln>
                <a:solidFill>
                  <a:schemeClr val="tx2"/>
                </a:solidFill>
              </a:defRPr>
            </a:lvl1pPr>
          </a:lstStyle>
          <a:p>
            <a:r>
              <a:rPr lang="en-US" dirty="0" smtClean="0"/>
              <a:t>Insert Picture Here</a:t>
            </a:r>
            <a:endParaRPr lang="en-US" dirty="0"/>
          </a:p>
        </p:txBody>
      </p:sp>
      <p:grpSp>
        <p:nvGrpSpPr>
          <p:cNvPr id="2"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6" name="Rectangle 15"/>
          <p:cNvSpPr/>
          <p:nvPr userDrawn="1"/>
        </p:nvSpPr>
        <p:spPr>
          <a:xfrm>
            <a:off x="5715000" y="0"/>
            <a:ext cx="3429000" cy="4631267"/>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875044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15" name="Rectangle 14"/>
          <p:cNvSpPr/>
          <p:nvPr userDrawn="1"/>
        </p:nvSpPr>
        <p:spPr>
          <a:xfrm>
            <a:off x="-2" y="1159938"/>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Text Placeholder 9"/>
          <p:cNvSpPr>
            <a:spLocks noGrp="1"/>
          </p:cNvSpPr>
          <p:nvPr>
            <p:ph type="body" sz="quarter" idx="11" hasCustomPrompt="1"/>
          </p:nvPr>
        </p:nvSpPr>
        <p:spPr>
          <a:xfrm>
            <a:off x="804347" y="1459241"/>
            <a:ext cx="5029186" cy="2410019"/>
          </a:xfrm>
        </p:spPr>
        <p:txBody>
          <a:bodyPr anchor="t" anchorCtr="0">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r>
              <a:rPr lang="en-US" dirty="0" smtClean="0"/>
              <a:t>CLICK TO EDIT </a:t>
            </a:r>
            <a:br>
              <a:rPr lang="en-US" dirty="0" smtClean="0"/>
            </a:br>
            <a:r>
              <a:rPr lang="en-US" dirty="0" smtClean="0"/>
              <a:t>MASTER TEXT</a:t>
            </a:r>
          </a:p>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endParaRPr lang="en-US" dirty="0" smtClean="0"/>
          </a:p>
        </p:txBody>
      </p:sp>
      <p:sp>
        <p:nvSpPr>
          <p:cNvPr id="12" name="Picture Placeholder 11"/>
          <p:cNvSpPr>
            <a:spLocks noGrp="1"/>
          </p:cNvSpPr>
          <p:nvPr>
            <p:ph type="pic" sz="quarter" idx="12" hasCustomPrompt="1"/>
          </p:nvPr>
        </p:nvSpPr>
        <p:spPr>
          <a:xfrm>
            <a:off x="5941222" y="0"/>
            <a:ext cx="3064933" cy="4629150"/>
          </a:xfrm>
          <a:ln>
            <a:noFill/>
          </a:ln>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grpSp>
        <p:nvGrpSpPr>
          <p:cNvPr id="2" name="Group 8"/>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3"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4" name="Rectangle 13"/>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65735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9" name="Rectangle 8"/>
          <p:cNvSpPr/>
          <p:nvPr userDrawn="1"/>
        </p:nvSpPr>
        <p:spPr>
          <a:xfrm>
            <a:off x="2990088" y="1159938"/>
            <a:ext cx="6153912"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Text Placeholder 9"/>
          <p:cNvSpPr>
            <a:spLocks noGrp="1"/>
          </p:cNvSpPr>
          <p:nvPr>
            <p:ph type="body" sz="quarter" idx="11"/>
          </p:nvPr>
        </p:nvSpPr>
        <p:spPr>
          <a:xfrm>
            <a:off x="3443821" y="1430281"/>
            <a:ext cx="5369979" cy="2523657"/>
          </a:xfrm>
        </p:spPr>
        <p:txBody>
          <a:bodyPr anchor="t" anchorCtr="0"/>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6" name="Picture Placeholder 11"/>
          <p:cNvSpPr>
            <a:spLocks noGrp="1"/>
          </p:cNvSpPr>
          <p:nvPr>
            <p:ph type="pic" sz="quarter" idx="13" hasCustomPrompt="1"/>
          </p:nvPr>
        </p:nvSpPr>
        <p:spPr>
          <a:xfrm>
            <a:off x="6351" y="1159936"/>
            <a:ext cx="2944368" cy="29718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
        <p:nvSpPr>
          <p:cNvPr id="7" name="Rectangle 6"/>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05672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1" y="1716438"/>
            <a:ext cx="4284133" cy="242047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userDrawn="1"/>
        </p:nvSpPr>
        <p:spPr bwMode="auto">
          <a:xfrm>
            <a:off x="1524" y="1156648"/>
            <a:ext cx="4291076" cy="551323"/>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ea typeface="ＭＳ Ｐゴシック" pitchFamily="34" charset="-128"/>
              <a:cs typeface="Arial" pitchFamily="34" charset="0"/>
            </a:endParaRPr>
          </a:p>
        </p:txBody>
      </p:sp>
      <p:sp>
        <p:nvSpPr>
          <p:cNvPr id="26" name="Picture Placeholder 25"/>
          <p:cNvSpPr>
            <a:spLocks noGrp="1"/>
          </p:cNvSpPr>
          <p:nvPr>
            <p:ph type="pic" sz="quarter" idx="15" hasCustomPrompt="1"/>
          </p:nvPr>
        </p:nvSpPr>
        <p:spPr>
          <a:xfrm>
            <a:off x="4318000" y="1156648"/>
            <a:ext cx="4825998" cy="29718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hasCustomPrompt="1"/>
          </p:nvPr>
        </p:nvSpPr>
        <p:spPr>
          <a:xfrm>
            <a:off x="804346" y="1163620"/>
            <a:ext cx="3412068" cy="544351"/>
          </a:xfrm>
          <a:noFill/>
        </p:spPr>
        <p:txBody>
          <a:bodyPr lIns="0" tIns="0" rIns="0" bIns="0" anchor="ctr" anchorCtr="0">
            <a:noAutofit/>
          </a:bodyPr>
          <a:lstStyle>
            <a:lvl1pPr marL="0" indent="0">
              <a:buNone/>
              <a:defRPr sz="20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804346" y="245538"/>
            <a:ext cx="8221121" cy="770462"/>
          </a:xfrm>
        </p:spPr>
        <p:txBody>
          <a:bodyPr anchor="t" anchorCtr="0"/>
          <a:lstStyle>
            <a:lvl1pPr>
              <a:defRPr/>
            </a:lvl1pPr>
          </a:lstStyle>
          <a:p>
            <a:r>
              <a:rPr lang="en-US" smtClean="0"/>
              <a:t>Click to edit Master title style</a:t>
            </a:r>
            <a:endParaRPr lang="en-US" dirty="0"/>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64224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19" name="Rectangle 18"/>
          <p:cNvSpPr/>
          <p:nvPr userDrawn="1"/>
        </p:nvSpPr>
        <p:spPr>
          <a:xfrm>
            <a:off x="0" y="1159938"/>
            <a:ext cx="9144000" cy="2971799"/>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Text Placeholder 9"/>
          <p:cNvSpPr>
            <a:spLocks noGrp="1"/>
          </p:cNvSpPr>
          <p:nvPr>
            <p:ph type="body" sz="quarter" idx="11"/>
          </p:nvPr>
        </p:nvSpPr>
        <p:spPr>
          <a:xfrm>
            <a:off x="797999" y="1422404"/>
            <a:ext cx="7617881" cy="1354667"/>
          </a:xfrm>
        </p:spPr>
        <p:txBody>
          <a:bodyPr lIns="0" tIns="0" rIns="0" bIns="0" anchor="t" anchorCtr="0">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hasCustomPrompt="1"/>
          </p:nvPr>
        </p:nvSpPr>
        <p:spPr>
          <a:xfrm>
            <a:off x="899602" y="2844803"/>
            <a:ext cx="3994149" cy="443953"/>
          </a:xfrm>
          <a:noFill/>
        </p:spPr>
        <p:txBody>
          <a:bodyPr lIns="0" tIns="0" rIns="0" bIns="0" anchor="b" anchorCtr="0">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name</a:t>
            </a:r>
          </a:p>
        </p:txBody>
      </p:sp>
      <p:sp>
        <p:nvSpPr>
          <p:cNvPr id="8" name="Text Placeholder 22"/>
          <p:cNvSpPr>
            <a:spLocks noGrp="1"/>
          </p:cNvSpPr>
          <p:nvPr>
            <p:ph type="body" sz="quarter" idx="17" hasCustomPrompt="1"/>
          </p:nvPr>
        </p:nvSpPr>
        <p:spPr>
          <a:xfrm>
            <a:off x="899602" y="3343623"/>
            <a:ext cx="3994149" cy="703448"/>
          </a:xfrm>
          <a:noFill/>
        </p:spPr>
        <p:txBody>
          <a:bodyPr lIns="0" tIns="0" rIns="0" bIns="0" anchor="t" anchorCtr="0">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title</a:t>
            </a: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4655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12" name="Text Placeholder 22"/>
          <p:cNvSpPr>
            <a:spLocks noGrp="1"/>
          </p:cNvSpPr>
          <p:nvPr>
            <p:ph type="body" sz="quarter" idx="16" hasCustomPrompt="1"/>
          </p:nvPr>
        </p:nvSpPr>
        <p:spPr>
          <a:xfrm>
            <a:off x="457201" y="1517907"/>
            <a:ext cx="2607406" cy="2488686"/>
          </a:xfrm>
          <a:noFill/>
        </p:spPr>
        <p:txBody>
          <a:bodyPr lIns="0" tIns="0" rIns="0" bIns="0" anchor="ctr" anchorCtr="0">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dirty="0" smtClean="0"/>
              <a:t>Click to edit master text</a:t>
            </a:r>
          </a:p>
        </p:txBody>
      </p:sp>
      <p:sp>
        <p:nvSpPr>
          <p:cNvPr id="3" name="Chart Placeholder 2"/>
          <p:cNvSpPr>
            <a:spLocks noGrp="1"/>
          </p:cNvSpPr>
          <p:nvPr>
            <p:ph type="chart" sz="quarter" idx="17" hasCustomPrompt="1"/>
          </p:nvPr>
        </p:nvSpPr>
        <p:spPr>
          <a:xfrm>
            <a:off x="3482976" y="1123950"/>
            <a:ext cx="5236560" cy="3284538"/>
          </a:xfrm>
        </p:spPr>
        <p:txBody>
          <a:bodyPr anchor="ctr" anchorCtr="1"/>
          <a:lstStyle>
            <a:lvl1pPr marL="60325" indent="0" algn="ctr">
              <a:buNone/>
              <a:defRPr/>
            </a:lvl1pPr>
          </a:lstStyle>
          <a:p>
            <a:r>
              <a:rPr lang="en-US" dirty="0" smtClean="0"/>
              <a:t>Insert Chart Here</a:t>
            </a:r>
            <a:endParaRPr lang="en-US" dirty="0"/>
          </a:p>
        </p:txBody>
      </p:sp>
      <p:sp>
        <p:nvSpPr>
          <p:cNvPr id="9"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8" name="Rectangle 26"/>
          <p:cNvSpPr>
            <a:spLocks noChangeArrowheads="1"/>
          </p:cNvSpPr>
          <p:nvPr userDrawn="1"/>
        </p:nvSpPr>
        <p:spPr bwMode="auto">
          <a:xfrm flipH="1">
            <a:off x="3171825" y="1118350"/>
            <a:ext cx="27432" cy="3155157"/>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endParaRPr lang="en-US" dirty="0">
              <a:solidFill>
                <a:srgbClr val="000000"/>
              </a:solidFill>
              <a:ea typeface="ＭＳ Ｐゴシック" pitchFamily="34" charset="-128"/>
              <a:cs typeface="Arial" pitchFamily="34" charset="0"/>
            </a:endParaRP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3503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
          <p:cNvGrpSpPr/>
          <p:nvPr userDrawn="1"/>
        </p:nvGrpSpPr>
        <p:grpSpPr>
          <a:xfrm>
            <a:off x="2103807" y="1774228"/>
            <a:ext cx="4936386" cy="1595045"/>
            <a:chOff x="2113332" y="1464413"/>
            <a:chExt cx="4936386" cy="1595045"/>
          </a:xfrm>
        </p:grpSpPr>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13332" y="1464413"/>
              <a:ext cx="4936386" cy="15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34" descr="HSET_clr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1263" y="1700213"/>
              <a:ext cx="4179887"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927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1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O_signature_clr_rgb.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5133" y="1329097"/>
            <a:ext cx="7315200" cy="2249424"/>
          </a:xfrm>
          <a:prstGeom prst="rect">
            <a:avLst/>
          </a:prstGeom>
        </p:spPr>
      </p:pic>
    </p:spTree>
    <p:extLst>
      <p:ext uri="{BB962C8B-B14F-4D97-AF65-F5344CB8AC3E}">
        <p14:creationId xmlns:p14="http://schemas.microsoft.com/office/powerpoint/2010/main" val="22969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19" name="Rectangle 18"/>
          <p:cNvSpPr/>
          <p:nvPr userDrawn="1"/>
        </p:nvSpPr>
        <p:spPr>
          <a:xfrm>
            <a:off x="0" y="1159938"/>
            <a:ext cx="9144000" cy="2971799"/>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9"/>
          <p:cNvSpPr>
            <a:spLocks noGrp="1"/>
          </p:cNvSpPr>
          <p:nvPr>
            <p:ph type="body" sz="quarter" idx="11"/>
          </p:nvPr>
        </p:nvSpPr>
        <p:spPr>
          <a:xfrm>
            <a:off x="797999" y="1422404"/>
            <a:ext cx="7617881" cy="1354667"/>
          </a:xfrm>
        </p:spPr>
        <p:txBody>
          <a:bodyPr lIns="0" tIns="0" rIns="0" bIns="0" anchor="t" anchorCtr="0">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hasCustomPrompt="1"/>
          </p:nvPr>
        </p:nvSpPr>
        <p:spPr>
          <a:xfrm>
            <a:off x="899602" y="2844803"/>
            <a:ext cx="3994149" cy="443953"/>
          </a:xfrm>
          <a:noFill/>
        </p:spPr>
        <p:txBody>
          <a:bodyPr lIns="0" tIns="0" rIns="0" bIns="0" anchor="b" anchorCtr="0">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name</a:t>
            </a:r>
          </a:p>
        </p:txBody>
      </p:sp>
      <p:sp>
        <p:nvSpPr>
          <p:cNvPr id="8" name="Text Placeholder 22"/>
          <p:cNvSpPr>
            <a:spLocks noGrp="1"/>
          </p:cNvSpPr>
          <p:nvPr>
            <p:ph type="body" sz="quarter" idx="17" hasCustomPrompt="1"/>
          </p:nvPr>
        </p:nvSpPr>
        <p:spPr>
          <a:xfrm>
            <a:off x="899602" y="3343623"/>
            <a:ext cx="3994149" cy="703448"/>
          </a:xfrm>
          <a:noFill/>
        </p:spPr>
        <p:txBody>
          <a:bodyPr lIns="0" tIns="0" rIns="0" bIns="0" anchor="t" anchorCtr="0">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title</a:t>
            </a: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0829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0" y="1571843"/>
            <a:ext cx="5030787" cy="1100723"/>
          </a:xfrm>
        </p:spPr>
        <p:txBody>
          <a:bodyPr anchor="t" anchorCtr="0"/>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dirty="0" smtClean="0"/>
              <a:t>Click to edit text </a:t>
            </a:r>
            <a:endParaRPr lang="en-US" dirty="0"/>
          </a:p>
        </p:txBody>
      </p:sp>
      <p:sp>
        <p:nvSpPr>
          <p:cNvPr id="13" name="Rectangle 12"/>
          <p:cNvSpPr/>
          <p:nvPr userDrawn="1"/>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93321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5" name="Rectangle 4"/>
          <p:cNvSpPr/>
          <p:nvPr/>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61672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7" name="Rectangle 6"/>
          <p:cNvSpPr/>
          <p:nvPr/>
        </p:nvSpPr>
        <p:spPr>
          <a:xfrm>
            <a:off x="1" y="4488414"/>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nchor="t" anchorCtr="0"/>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02561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7327756"/>
      </p:ext>
    </p:extLst>
  </p:cSld>
  <p:clrMapOvr>
    <a:masterClrMapping/>
  </p:clrMapOvr>
  <p:transition spd="med">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124200" y="4767264"/>
            <a:ext cx="2895600" cy="274637"/>
          </a:xfrm>
          <a:prstGeom prst="rect">
            <a:avLst/>
          </a:prstGeom>
        </p:spPr>
        <p:txBody>
          <a:bodyPr/>
          <a:lstStyle>
            <a:lvl1pPr>
              <a:defRPr/>
            </a:lvl1pPr>
          </a:lstStyle>
          <a:p>
            <a:pPr>
              <a:buClr>
                <a:srgbClr val="FF0000"/>
              </a:buClr>
              <a:defRPr/>
            </a:pPr>
            <a:endParaRPr lang="en-US" dirty="0">
              <a:solidFill>
                <a:srgbClr val="000000">
                  <a:tint val="75000"/>
                </a:srgbClr>
              </a:solidFill>
              <a:ea typeface="ＭＳ Ｐゴシック" pitchFamily="34" charset="-128"/>
              <a:cs typeface="Arial" pitchFamily="34" charset="0"/>
            </a:endParaRPr>
          </a:p>
        </p:txBody>
      </p:sp>
    </p:spTree>
    <p:extLst>
      <p:ext uri="{BB962C8B-B14F-4D97-AF65-F5344CB8AC3E}">
        <p14:creationId xmlns:p14="http://schemas.microsoft.com/office/powerpoint/2010/main" val="30274199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 name="Title 1"/>
          <p:cNvSpPr>
            <a:spLocks noGrp="1"/>
          </p:cNvSpPr>
          <p:nvPr>
            <p:ph type="title"/>
          </p:nvPr>
        </p:nvSpPr>
        <p:spPr>
          <a:xfrm>
            <a:off x="804347" y="245538"/>
            <a:ext cx="8229586" cy="768803"/>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 name="Title 1"/>
          <p:cNvSpPr>
            <a:spLocks noGrp="1"/>
          </p:cNvSpPr>
          <p:nvPr>
            <p:ph type="title"/>
          </p:nvPr>
        </p:nvSpPr>
        <p:spPr>
          <a:xfrm>
            <a:off x="804347" y="245538"/>
            <a:ext cx="8229586" cy="406395"/>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5943600" y="0"/>
            <a:ext cx="32004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20" descr="O_signature_wht_rgb.png"/>
          <p:cNvPicPr>
            <a:picLocks noChangeAspect="1"/>
          </p:cNvPicPr>
          <p:nvPr userDrawn="1"/>
        </p:nvPicPr>
        <p:blipFill>
          <a:blip r:embed="rId2" cstate="print"/>
          <a:srcRect/>
          <a:stretch>
            <a:fillRect/>
          </a:stretch>
        </p:blipFill>
        <p:spPr bwMode="auto">
          <a:xfrm>
            <a:off x="261938" y="254000"/>
            <a:ext cx="2147887" cy="661988"/>
          </a:xfrm>
          <a:prstGeom prst="rect">
            <a:avLst/>
          </a:prstGeom>
          <a:noFill/>
          <a:ln w="9525">
            <a:noFill/>
            <a:miter lim="800000"/>
            <a:headEnd/>
            <a:tailEnd/>
          </a:ln>
        </p:spPr>
      </p:pic>
      <p:sp>
        <p:nvSpPr>
          <p:cNvPr id="17" name="Title 1"/>
          <p:cNvSpPr>
            <a:spLocks noGrp="1"/>
          </p:cNvSpPr>
          <p:nvPr>
            <p:ph type="title"/>
          </p:nvPr>
        </p:nvSpPr>
        <p:spPr bwMode="white">
          <a:xfrm>
            <a:off x="45148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bwMode="white">
          <a:xfrm>
            <a:off x="450849"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5400"/>
            <a:ext cx="9144000" cy="51689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25400"/>
            <a:ext cx="9144000" cy="4157663"/>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20" descr="O_signature_wht_rgb.png"/>
          <p:cNvPicPr>
            <a:picLocks noChangeAspect="1"/>
          </p:cNvPicPr>
          <p:nvPr userDrawn="1"/>
        </p:nvPicPr>
        <p:blipFill>
          <a:blip r:embed="rId2" cstate="print"/>
          <a:srcRect/>
          <a:stretch>
            <a:fillRect/>
          </a:stretch>
        </p:blipFill>
        <p:spPr bwMode="auto">
          <a:xfrm>
            <a:off x="261938" y="254000"/>
            <a:ext cx="2147887" cy="661988"/>
          </a:xfrm>
          <a:prstGeom prst="rect">
            <a:avLst/>
          </a:prstGeom>
          <a:noFill/>
          <a:ln w="9525">
            <a:noFill/>
            <a:miter lim="800000"/>
            <a:headEnd/>
            <a:tailEnd/>
          </a:ln>
        </p:spPr>
      </p:pic>
      <p:sp>
        <p:nvSpPr>
          <p:cNvPr id="9" name="Rectangle 8"/>
          <p:cNvSpPr/>
          <p:nvPr userDrawn="1"/>
        </p:nvSpPr>
        <p:spPr>
          <a:xfrm>
            <a:off x="5943600" y="-25400"/>
            <a:ext cx="3200400" cy="4157663"/>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bwMode="white">
          <a:xfrm>
            <a:off x="451485" y="1583267"/>
            <a:ext cx="5026448"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bwMode="white">
          <a:xfrm>
            <a:off x="450849" y="2914276"/>
            <a:ext cx="5027083" cy="1048124"/>
          </a:xfrm>
        </p:spPr>
        <p:txBody>
          <a:bodyPr/>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25400"/>
            <a:ext cx="3200400" cy="4157663"/>
          </a:xfrm>
          <a:effectLst>
            <a:innerShdw blurRad="63500" dist="50800" dir="10800000">
              <a:prstClr val="black">
                <a:alpha val="50000"/>
              </a:prstClr>
            </a:innerShdw>
          </a:effectLst>
        </p:spPr>
        <p:txBody>
          <a:bodyPr rtlCol="0" anchor="ctr" anchorCtr="1">
            <a:noAutofit/>
          </a:bodyPr>
          <a:lstStyle>
            <a:lvl1pPr>
              <a:buFontTx/>
              <a:buNone/>
              <a:defRPr lang="en-US"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3"/>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9"/>
          <p:cNvGrpSpPr>
            <a:grpSpLocks/>
          </p:cNvGrpSpPr>
          <p:nvPr userDrawn="1"/>
        </p:nvGrpSpPr>
        <p:grpSpPr bwMode="auto">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a:xfrm>
            <a:off x="804981" y="245538"/>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2"/>
            <a:ext cx="7771752"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12" name="Text Placeholder 22"/>
          <p:cNvSpPr>
            <a:spLocks noGrp="1"/>
          </p:cNvSpPr>
          <p:nvPr>
            <p:ph type="body" sz="quarter" idx="16" hasCustomPrompt="1"/>
          </p:nvPr>
        </p:nvSpPr>
        <p:spPr>
          <a:xfrm>
            <a:off x="457201" y="1517907"/>
            <a:ext cx="2607406" cy="2488686"/>
          </a:xfrm>
          <a:noFill/>
        </p:spPr>
        <p:txBody>
          <a:bodyPr lIns="0" tIns="0" rIns="0" bIns="0" anchor="ctr" anchorCtr="0">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dirty="0" smtClean="0"/>
              <a:t>Click to edit master text</a:t>
            </a:r>
          </a:p>
        </p:txBody>
      </p:sp>
      <p:sp>
        <p:nvSpPr>
          <p:cNvPr id="3" name="Chart Placeholder 2"/>
          <p:cNvSpPr>
            <a:spLocks noGrp="1"/>
          </p:cNvSpPr>
          <p:nvPr>
            <p:ph type="chart" sz="quarter" idx="17" hasCustomPrompt="1"/>
          </p:nvPr>
        </p:nvSpPr>
        <p:spPr>
          <a:xfrm>
            <a:off x="3482976" y="1123950"/>
            <a:ext cx="5236560" cy="3284538"/>
          </a:xfrm>
        </p:spPr>
        <p:txBody>
          <a:bodyPr anchor="ctr" anchorCtr="1"/>
          <a:lstStyle>
            <a:lvl1pPr marL="60325" indent="0" algn="ctr">
              <a:buNone/>
              <a:defRPr/>
            </a:lvl1pPr>
          </a:lstStyle>
          <a:p>
            <a:r>
              <a:rPr lang="en-US" dirty="0" smtClean="0"/>
              <a:t>Insert Chart Here</a:t>
            </a:r>
            <a:endParaRPr lang="en-US" dirty="0"/>
          </a:p>
        </p:txBody>
      </p:sp>
      <p:sp>
        <p:nvSpPr>
          <p:cNvPr id="9"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8" name="Rectangle 26"/>
          <p:cNvSpPr>
            <a:spLocks noChangeArrowheads="1"/>
          </p:cNvSpPr>
          <p:nvPr userDrawn="1"/>
        </p:nvSpPr>
        <p:spPr bwMode="auto">
          <a:xfrm flipH="1">
            <a:off x="3171825" y="1118350"/>
            <a:ext cx="27432" cy="3155157"/>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lvl="0"/>
            <a:endParaRPr lang="en-US" dirty="0"/>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455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3" name="Rectangle 2"/>
          <p:cNvSpPr/>
          <p:nvPr userDrawn="1"/>
        </p:nvSpPr>
        <p:spPr>
          <a:xfrm>
            <a:off x="5715000" y="0"/>
            <a:ext cx="3429000" cy="4630738"/>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5"/>
          <p:cNvGrpSpPr>
            <a:grpSpLocks/>
          </p:cNvGrpSpPr>
          <p:nvPr userDrawn="1"/>
        </p:nvGrpSpPr>
        <p:grpSpPr bwMode="auto">
          <a:xfrm>
            <a:off x="0" y="4629150"/>
            <a:ext cx="9144000" cy="168275"/>
            <a:chOff x="0" y="4629150"/>
            <a:chExt cx="9144000" cy="168275"/>
          </a:xfrm>
        </p:grpSpPr>
        <p:pic>
          <p:nvPicPr>
            <p:cNvPr id="5"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1" y="1571843"/>
            <a:ext cx="4709053" cy="1100723"/>
          </a:xfrm>
        </p:spPr>
        <p:txBody>
          <a:bodyPr/>
          <a:lstStyle>
            <a:lvl1pPr>
              <a:defRPr sz="2800" b="1">
                <a:ln w="0">
                  <a:noFill/>
                </a:ln>
                <a:solidFill>
                  <a:schemeClr val="tx1"/>
                </a:solidFill>
                <a:effectLst/>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4" name="Rectangle 3"/>
          <p:cNvSpPr/>
          <p:nvPr userDrawn="1"/>
        </p:nvSpPr>
        <p:spPr>
          <a:xfrm>
            <a:off x="5715000" y="0"/>
            <a:ext cx="3429000"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5"/>
          <p:cNvGrpSpPr>
            <a:grpSpLocks/>
          </p:cNvGrpSpPr>
          <p:nvPr userDrawn="1"/>
        </p:nvGrpSpPr>
        <p:grpSpPr bwMode="auto">
          <a:xfrm>
            <a:off x="0" y="4629150"/>
            <a:ext cx="9144000" cy="168275"/>
            <a:chOff x="0" y="4629150"/>
            <a:chExt cx="9144000" cy="168275"/>
          </a:xfrm>
        </p:grpSpPr>
        <p:pic>
          <p:nvPicPr>
            <p:cNvPr id="6"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1" y="1571843"/>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4" name="Rectangle 3"/>
          <p:cNvSpPr/>
          <p:nvPr userDrawn="1"/>
        </p:nvSpPr>
        <p:spPr>
          <a:xfrm>
            <a:off x="0" y="1160463"/>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8"/>
          <p:cNvGrpSpPr>
            <a:grpSpLocks/>
          </p:cNvGrpSpPr>
          <p:nvPr userDrawn="1"/>
        </p:nvGrpSpPr>
        <p:grpSpPr bwMode="auto">
          <a:xfrm>
            <a:off x="0" y="4629150"/>
            <a:ext cx="9144000" cy="168275"/>
            <a:chOff x="0" y="4629150"/>
            <a:chExt cx="9144000" cy="168275"/>
          </a:xfrm>
        </p:grpSpPr>
        <p:pic>
          <p:nvPicPr>
            <p:cNvPr id="6"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804347" y="1459241"/>
            <a:ext cx="5029186" cy="2410019"/>
          </a:xfrm>
        </p:spPr>
        <p:txBody>
          <a:bodyPr>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lvl="0"/>
            <a:r>
              <a:rPr lang="en-US" smtClean="0"/>
              <a:t>Click to edit Master text styles</a:t>
            </a:r>
          </a:p>
          <a:p>
            <a:pPr lvl="1"/>
            <a:r>
              <a:rPr lang="en-US" smtClean="0"/>
              <a:t>Second level</a:t>
            </a:r>
          </a:p>
        </p:txBody>
      </p:sp>
      <p:sp>
        <p:nvSpPr>
          <p:cNvPr id="12" name="Picture Placeholder 11"/>
          <p:cNvSpPr>
            <a:spLocks noGrp="1"/>
          </p:cNvSpPr>
          <p:nvPr>
            <p:ph type="pic" sz="quarter" idx="12"/>
          </p:nvPr>
        </p:nvSpPr>
        <p:spPr>
          <a:xfrm>
            <a:off x="5941222" y="0"/>
            <a:ext cx="3064933" cy="4629150"/>
          </a:xfrm>
          <a:ln>
            <a:noFill/>
          </a:ln>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5" name="Rectangle 4"/>
          <p:cNvSpPr/>
          <p:nvPr userDrawn="1"/>
        </p:nvSpPr>
        <p:spPr>
          <a:xfrm>
            <a:off x="2990850" y="1160463"/>
            <a:ext cx="615315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3443821" y="1430281"/>
            <a:ext cx="5369979" cy="2523657"/>
          </a:xfrm>
        </p:spPr>
        <p:txBody>
          <a:bodyPr/>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
        <p:nvSpPr>
          <p:cNvPr id="6" name="Picture Placeholder 11"/>
          <p:cNvSpPr>
            <a:spLocks noGrp="1"/>
          </p:cNvSpPr>
          <p:nvPr>
            <p:ph type="pic" sz="quarter" idx="13"/>
          </p:nvPr>
        </p:nvSpPr>
        <p:spPr>
          <a:xfrm>
            <a:off x="6351" y="1159936"/>
            <a:ext cx="2944368" cy="2971800"/>
          </a:xfrm>
          <a:ln>
            <a:noFill/>
          </a:ln>
          <a:effectLst>
            <a:reflection stA="30000" endPos="4000" dir="5400000" sy="-100000" algn="bl" rotWithShape="0"/>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6" name="Rectangle 5"/>
          <p:cNvSpPr/>
          <p:nvPr userDrawn="1"/>
        </p:nvSpPr>
        <p:spPr>
          <a:xfrm>
            <a:off x="0" y="1716088"/>
            <a:ext cx="4284663" cy="24209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bwMode="auto">
          <a:xfrm>
            <a:off x="1588" y="1157288"/>
            <a:ext cx="4291012" cy="550862"/>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ea typeface="ＭＳ Ｐゴシック" pitchFamily="34" charset="-128"/>
              <a:cs typeface="Arial" pitchFamily="34" charset="0"/>
            </a:endParaRPr>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6" name="Picture Placeholder 25"/>
          <p:cNvSpPr>
            <a:spLocks noGrp="1"/>
          </p:cNvSpPr>
          <p:nvPr>
            <p:ph type="pic" sz="quarter" idx="15"/>
          </p:nvPr>
        </p:nvSpPr>
        <p:spPr>
          <a:xfrm>
            <a:off x="4318000" y="1156648"/>
            <a:ext cx="4825998" cy="2971800"/>
          </a:xfrm>
          <a:effectLst>
            <a:reflection blurRad="63500" stA="50000" endPos="7000" dir="5400000" sy="-100000" algn="bl" rotWithShape="0"/>
          </a:effectLst>
        </p:spPr>
        <p:txBody>
          <a:bodyPr rtlCol="0" anchor="ctr" anchorCtr="1">
            <a:noAutofit/>
          </a:bodyPr>
          <a:lstStyle>
            <a:lvl1pPr marL="0" indent="0" algn="ctr">
              <a:buNone/>
              <a:defRPr/>
            </a:lvl1pPr>
          </a:lstStyle>
          <a:p>
            <a:pPr lvl="0"/>
            <a:r>
              <a:rPr lang="en-US" noProof="0" dirty="0" smtClean="0"/>
              <a:t>Click icon to add picture</a:t>
            </a:r>
            <a:endParaRPr lang="en-US" noProof="0"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p:nvPr>
        </p:nvSpPr>
        <p:spPr bwMode="white">
          <a:xfrm>
            <a:off x="804346" y="1163620"/>
            <a:ext cx="3412068" cy="544351"/>
          </a:xfrm>
          <a:noFill/>
        </p:spPr>
        <p:txBody>
          <a:bodyPr anchor="ctr">
            <a:noAutofit/>
          </a:bodyPr>
          <a:lstStyle>
            <a:lvl1pPr marL="0" indent="0">
              <a:buNone/>
              <a:defRPr sz="2000" b="1" cap="none" baseline="0">
                <a:solidFill>
                  <a:schemeClr val="bg1"/>
                </a:solidFill>
              </a:defRPr>
            </a:lvl1pPr>
          </a:lstStyle>
          <a:p>
            <a:pPr lvl="0"/>
            <a:r>
              <a:rPr lang="en-US" smtClean="0"/>
              <a:t>Click to edit Master text styles</a:t>
            </a:r>
          </a:p>
        </p:txBody>
      </p:sp>
      <p:sp>
        <p:nvSpPr>
          <p:cNvPr id="11" name="Title 1"/>
          <p:cNvSpPr>
            <a:spLocks noGrp="1"/>
          </p:cNvSpPr>
          <p:nvPr>
            <p:ph type="title"/>
          </p:nvPr>
        </p:nvSpPr>
        <p:spPr>
          <a:xfrm>
            <a:off x="804346" y="245538"/>
            <a:ext cx="8221121"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5" name="Rectangle 4"/>
          <p:cNvSpPr/>
          <p:nvPr userDrawn="1"/>
        </p:nvSpPr>
        <p:spPr>
          <a:xfrm>
            <a:off x="0" y="1160463"/>
            <a:ext cx="9144000" cy="2971800"/>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6" name="Rectangle 5"/>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ext Placeholder 9"/>
          <p:cNvSpPr>
            <a:spLocks noGrp="1"/>
          </p:cNvSpPr>
          <p:nvPr>
            <p:ph type="body" sz="quarter" idx="11"/>
          </p:nvPr>
        </p:nvSpPr>
        <p:spPr bwMode="white">
          <a:xfrm>
            <a:off x="797999" y="1422404"/>
            <a:ext cx="7617881" cy="1354667"/>
          </a:xfrm>
        </p:spPr>
        <p:txBody>
          <a:bodyPr>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p:nvPr>
        </p:nvSpPr>
        <p:spPr bwMode="white">
          <a:xfrm>
            <a:off x="899602" y="2844803"/>
            <a:ext cx="3994149" cy="443953"/>
          </a:xfrm>
          <a:noFill/>
        </p:spPr>
        <p:txBody>
          <a:bodyPr anchor="b">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8" name="Text Placeholder 22"/>
          <p:cNvSpPr>
            <a:spLocks noGrp="1"/>
          </p:cNvSpPr>
          <p:nvPr>
            <p:ph type="body" sz="quarter" idx="17"/>
          </p:nvPr>
        </p:nvSpPr>
        <p:spPr bwMode="white">
          <a:xfrm>
            <a:off x="899602" y="3343623"/>
            <a:ext cx="3994149" cy="703448"/>
          </a:xfrm>
          <a:noFill/>
        </p:spPr>
        <p:txBody>
          <a:bodyPr>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5" name="Rectangle 26"/>
          <p:cNvSpPr>
            <a:spLocks noChangeArrowheads="1"/>
          </p:cNvSpPr>
          <p:nvPr userDrawn="1"/>
        </p:nvSpPr>
        <p:spPr bwMode="auto">
          <a:xfrm flipH="1">
            <a:off x="3171825" y="1117600"/>
            <a:ext cx="26988" cy="3155950"/>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a:defRPr/>
            </a:pPr>
            <a:endParaRPr lang="en-US" dirty="0">
              <a:solidFill>
                <a:srgbClr val="000000"/>
              </a:solidFill>
              <a:ea typeface="ＭＳ Ｐゴシック" pitchFamily="34" charset="-128"/>
              <a:cs typeface="Arial" pitchFamily="34" charset="0"/>
            </a:endParaRPr>
          </a:p>
        </p:txBody>
      </p:sp>
      <p:sp>
        <p:nvSpPr>
          <p:cNvPr id="6" name="Rectangle 5"/>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2" name="Text Placeholder 22"/>
          <p:cNvSpPr>
            <a:spLocks noGrp="1"/>
          </p:cNvSpPr>
          <p:nvPr>
            <p:ph type="body" sz="quarter" idx="16"/>
          </p:nvPr>
        </p:nvSpPr>
        <p:spPr>
          <a:xfrm>
            <a:off x="457201" y="1517907"/>
            <a:ext cx="2607406" cy="2488686"/>
          </a:xfrm>
          <a:noFill/>
        </p:spPr>
        <p:txBody>
          <a:bodyPr anchor="ctr">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smtClean="0"/>
              <a:t>Click to edit Master text styles</a:t>
            </a:r>
          </a:p>
        </p:txBody>
      </p:sp>
      <p:sp>
        <p:nvSpPr>
          <p:cNvPr id="3" name="Chart Placeholder 2"/>
          <p:cNvSpPr>
            <a:spLocks noGrp="1"/>
          </p:cNvSpPr>
          <p:nvPr>
            <p:ph type="chart" sz="quarter" idx="17"/>
          </p:nvPr>
        </p:nvSpPr>
        <p:spPr>
          <a:xfrm>
            <a:off x="3482976" y="1123950"/>
            <a:ext cx="5236560" cy="3284538"/>
          </a:xfrm>
        </p:spPr>
        <p:txBody>
          <a:bodyPr rtlCol="0" anchor="ctr" anchorCtr="1">
            <a:noAutofit/>
          </a:bodyPr>
          <a:lstStyle>
            <a:lvl1pPr marL="60325" indent="0" algn="ctr">
              <a:buNone/>
              <a:defRPr/>
            </a:lvl1pPr>
          </a:lstStyle>
          <a:p>
            <a:pPr lvl="0"/>
            <a:r>
              <a:rPr lang="en-US" noProof="0" dirty="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grpSp>
        <p:nvGrpSpPr>
          <p:cNvPr id="3" name="Group 4"/>
          <p:cNvGrpSpPr>
            <a:grpSpLocks/>
          </p:cNvGrpSpPr>
          <p:nvPr userDrawn="1"/>
        </p:nvGrpSpPr>
        <p:grpSpPr bwMode="auto">
          <a:xfrm>
            <a:off x="2103438" y="1774825"/>
            <a:ext cx="4937125" cy="1593850"/>
            <a:chOff x="2113332" y="1464413"/>
            <a:chExt cx="4936386" cy="1595045"/>
          </a:xfrm>
        </p:grpSpPr>
        <p:pic>
          <p:nvPicPr>
            <p:cNvPr id="4" name="Picture 10"/>
            <p:cNvPicPr>
              <a:picLocks noChangeAspect="1"/>
            </p:cNvPicPr>
            <p:nvPr/>
          </p:nvPicPr>
          <p:blipFill>
            <a:blip r:embed="rId2" cstate="print"/>
            <a:srcRect/>
            <a:stretch>
              <a:fillRect/>
            </a:stretch>
          </p:blipFill>
          <p:spPr bwMode="auto">
            <a:xfrm>
              <a:off x="2113332" y="1464413"/>
              <a:ext cx="4936386" cy="1595045"/>
            </a:xfrm>
            <a:prstGeom prst="rect">
              <a:avLst/>
            </a:prstGeom>
            <a:noFill/>
            <a:ln w="9525">
              <a:noFill/>
              <a:miter lim="800000"/>
              <a:headEnd/>
              <a:tailEnd/>
            </a:ln>
          </p:spPr>
        </p:pic>
        <p:pic>
          <p:nvPicPr>
            <p:cNvPr id="5" name="Picture 1034" descr="HSET_clr_rgb"/>
            <p:cNvPicPr>
              <a:picLocks noChangeAspect="1" noChangeArrowheads="1"/>
            </p:cNvPicPr>
            <p:nvPr/>
          </p:nvPicPr>
          <p:blipFill>
            <a:blip r:embed="rId3" cstate="print"/>
            <a:srcRect/>
            <a:stretch>
              <a:fillRect/>
            </a:stretch>
          </p:blipFill>
          <p:spPr bwMode="auto">
            <a:xfrm>
              <a:off x="2481263" y="1700213"/>
              <a:ext cx="4179887" cy="1198562"/>
            </a:xfrm>
            <a:prstGeom prst="rect">
              <a:avLst/>
            </a:prstGeom>
            <a:noFill/>
            <a:ln w="9525">
              <a:noFill/>
              <a:miter lim="800000"/>
              <a:headEnd/>
              <a:tailEnd/>
            </a:ln>
          </p:spPr>
        </p:pic>
      </p:grpSp>
    </p:spTree>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3" name="Picture 16" descr="O_signature_clr_rgb.jpg"/>
          <p:cNvPicPr>
            <a:picLocks noChangeAspect="1"/>
          </p:cNvPicPr>
          <p:nvPr/>
        </p:nvPicPr>
        <p:blipFill>
          <a:blip r:embed="rId3" cstate="print"/>
          <a:srcRect/>
          <a:stretch>
            <a:fillRect/>
          </a:stretch>
        </p:blipFill>
        <p:spPr bwMode="auto">
          <a:xfrm>
            <a:off x="855663" y="1328738"/>
            <a:ext cx="7315200" cy="2249487"/>
          </a:xfrm>
          <a:prstGeom prst="rect">
            <a:avLst/>
          </a:prstGeom>
          <a:noFill/>
          <a:ln w="9525">
            <a:noFill/>
            <a:miter lim="800000"/>
            <a:headEnd/>
            <a:tailEnd/>
          </a:ln>
        </p:spPr>
      </p:pic>
    </p:spTree>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pic>
        <p:nvPicPr>
          <p:cNvPr id="3" name="Picture 11"/>
          <p:cNvPicPr>
            <a:picLocks noChangeAspect="1"/>
          </p:cNvPicPr>
          <p:nvPr userDrawn="1"/>
        </p:nvPicPr>
        <p:blipFill>
          <a:blip r:embed="rId2" cstate="print"/>
          <a:srcRect/>
          <a:stretch>
            <a:fillRect/>
          </a:stretch>
        </p:blipFill>
        <p:spPr bwMode="auto">
          <a:xfrm>
            <a:off x="0" y="0"/>
            <a:ext cx="9144000" cy="4813300"/>
          </a:xfrm>
          <a:prstGeom prst="rect">
            <a:avLst/>
          </a:prstGeom>
          <a:noFill/>
          <a:ln w="9525">
            <a:noFill/>
            <a:miter lim="800000"/>
            <a:headEnd/>
            <a:tailEnd/>
          </a:ln>
        </p:spPr>
      </p:pic>
      <p:sp>
        <p:nvSpPr>
          <p:cNvPr id="11" name="Title 1"/>
          <p:cNvSpPr>
            <a:spLocks noGrp="1"/>
          </p:cNvSpPr>
          <p:nvPr>
            <p:ph type="title"/>
          </p:nvPr>
        </p:nvSpPr>
        <p:spPr>
          <a:xfrm>
            <a:off x="802760" y="1571843"/>
            <a:ext cx="5030787" cy="1100723"/>
          </a:xfrm>
        </p:spPr>
        <p:txBody>
          <a:bodyPr/>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userDrawn="1"/>
        </p:nvGrpSpPr>
        <p:grpSpPr>
          <a:xfrm>
            <a:off x="2103807" y="1774228"/>
            <a:ext cx="4936386" cy="1595045"/>
            <a:chOff x="2113332" y="1464413"/>
            <a:chExt cx="4936386" cy="1595045"/>
          </a:xfrm>
        </p:grpSpPr>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13332" y="1464413"/>
              <a:ext cx="4936386" cy="15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34" descr="HSET_clr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1263" y="1700213"/>
              <a:ext cx="4179887"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456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srcRect/>
          <a:stretch>
            <a:fillRect/>
          </a:stretch>
        </p:blipFill>
        <p:spPr bwMode="auto">
          <a:xfrm>
            <a:off x="0" y="0"/>
            <a:ext cx="9144000" cy="4813300"/>
          </a:xfrm>
          <a:prstGeom prst="rect">
            <a:avLst/>
          </a:prstGeom>
          <a:noFill/>
          <a:ln w="9525">
            <a:noFill/>
            <a:miter lim="800000"/>
            <a:headEnd/>
            <a:tailEnd/>
          </a:ln>
        </p:spPr>
      </p:pic>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srcRect/>
          <a:stretch>
            <a:fillRect/>
          </a:stretch>
        </p:blipFill>
        <p:spPr bwMode="auto">
          <a:xfrm>
            <a:off x="0" y="0"/>
            <a:ext cx="9144000" cy="4813300"/>
          </a:xfrm>
          <a:prstGeom prst="rect">
            <a:avLst/>
          </a:prstGeom>
          <a:noFill/>
          <a:ln w="9525">
            <a:noFill/>
            <a:miter lim="800000"/>
            <a:headEnd/>
            <a:tailEnd/>
          </a:ln>
        </p:spPr>
      </p:pic>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4" name="Picture 9"/>
            <p:cNvPicPr>
              <a:picLocks noChangeAspect="1" noChangeArrowheads="1"/>
            </p:cNvPicPr>
            <p:nvPr/>
          </p:nvPicPr>
          <p:blipFill>
            <a:blip r:embed="rId3" cstate="print"/>
            <a:srcRect/>
            <a:stretch>
              <a:fillRect/>
            </a:stretch>
          </p:blipFill>
          <p:spPr bwMode="auto">
            <a:xfrm>
              <a:off x="1628180" y="2094112"/>
              <a:ext cx="5998766" cy="750094"/>
            </a:xfrm>
            <a:prstGeom prst="rect">
              <a:avLst/>
            </a:prstGeom>
            <a:noFill/>
            <a:ln w="9525">
              <a:noFill/>
              <a:miter lim="800000"/>
              <a:headEnd/>
              <a:tailEnd/>
            </a:ln>
          </p:spPr>
        </p:pic>
      </p:gr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62215" name="Rectangle 71"/>
          <p:cNvSpPr>
            <a:spLocks noChangeArrowheads="1"/>
          </p:cNvSpPr>
          <p:nvPr userDrawn="1"/>
        </p:nvSpPr>
        <p:spPr bwMode="auto">
          <a:xfrm>
            <a:off x="914400" y="685801"/>
            <a:ext cx="2824163" cy="2115741"/>
          </a:xfrm>
          <a:prstGeom prst="rect">
            <a:avLst/>
          </a:prstGeom>
          <a:solidFill>
            <a:srgbClr val="ADADAD"/>
          </a:solidFill>
          <a:ln w="12700">
            <a:noFill/>
            <a:miter lim="800000"/>
            <a:headEnd/>
            <a:tailEnd/>
          </a:ln>
          <a:effectLst/>
        </p:spPr>
        <p:txBody>
          <a:bodyPr wrap="none" lIns="68579" tIns="34289" rIns="68579" bIns="34289" anchor="ctr" anchorCtr="1"/>
          <a:lstStyle/>
          <a:p>
            <a:pPr algn="ctr" eaLnBrk="0" fontAlgn="base" hangingPunct="0">
              <a:spcBef>
                <a:spcPct val="0"/>
              </a:spcBef>
              <a:spcAft>
                <a:spcPct val="0"/>
              </a:spcAft>
            </a:pPr>
            <a:r>
              <a:rPr lang="en-US" sz="1100" b="1" dirty="0">
                <a:solidFill>
                  <a:srgbClr val="000000"/>
                </a:solidFill>
                <a:cs typeface="Arial" charset="0"/>
              </a:rPr>
              <a:t>&lt;Insert Picture Here&gt;</a:t>
            </a:r>
          </a:p>
        </p:txBody>
      </p:sp>
      <p:pic>
        <p:nvPicPr>
          <p:cNvPr id="262218" name="Picture 74" descr="Tall Red"/>
          <p:cNvPicPr>
            <a:picLocks noChangeAspect="1" noChangeArrowheads="1"/>
          </p:cNvPicPr>
          <p:nvPr userDrawn="1"/>
        </p:nvPicPr>
        <p:blipFill>
          <a:blip r:embed="rId2" cstate="print"/>
          <a:srcRect/>
          <a:stretch>
            <a:fillRect/>
          </a:stretch>
        </p:blipFill>
        <p:spPr bwMode="auto">
          <a:xfrm>
            <a:off x="2" y="685803"/>
            <a:ext cx="914400" cy="2116931"/>
          </a:xfrm>
          <a:prstGeom prst="rect">
            <a:avLst/>
          </a:prstGeom>
          <a:noFill/>
        </p:spPr>
      </p:pic>
      <p:pic>
        <p:nvPicPr>
          <p:cNvPr id="262219" name="Picture 75" descr="Wide Red"/>
          <p:cNvPicPr>
            <a:picLocks noChangeAspect="1" noChangeArrowheads="1"/>
          </p:cNvPicPr>
          <p:nvPr userDrawn="1"/>
        </p:nvPicPr>
        <p:blipFill>
          <a:blip r:embed="rId3" cstate="print"/>
          <a:srcRect/>
          <a:stretch>
            <a:fillRect/>
          </a:stretch>
        </p:blipFill>
        <p:spPr bwMode="auto">
          <a:xfrm>
            <a:off x="3736980" y="685803"/>
            <a:ext cx="5407025" cy="2116931"/>
          </a:xfrm>
          <a:prstGeom prst="rect">
            <a:avLst/>
          </a:prstGeom>
          <a:noFill/>
        </p:spPr>
      </p:pic>
      <p:sp>
        <p:nvSpPr>
          <p:cNvPr id="262220" name="Rectangle 76"/>
          <p:cNvSpPr>
            <a:spLocks noGrp="1" noChangeArrowheads="1"/>
          </p:cNvSpPr>
          <p:nvPr>
            <p:ph type="ctrTitle" sz="quarter"/>
          </p:nvPr>
        </p:nvSpPr>
        <p:spPr>
          <a:xfrm>
            <a:off x="838200" y="3600460"/>
            <a:ext cx="7772400" cy="645319"/>
          </a:xfrm>
        </p:spPr>
        <p:txBody>
          <a:bodyPr lIns="68579" tIns="34289" rIns="68579" bIns="34289" anchor="b"/>
          <a:lstStyle>
            <a:lvl1pPr>
              <a:defRPr sz="1400"/>
            </a:lvl1pPr>
          </a:lstStyle>
          <a:p>
            <a:r>
              <a:rPr lang="en-US"/>
              <a:t>Click to edit Master title style</a:t>
            </a:r>
          </a:p>
        </p:txBody>
      </p:sp>
      <p:sp>
        <p:nvSpPr>
          <p:cNvPr id="262221" name="Rectangle 77"/>
          <p:cNvSpPr>
            <a:spLocks noGrp="1" noChangeArrowheads="1"/>
          </p:cNvSpPr>
          <p:nvPr>
            <p:ph type="subTitle" sz="quarter" idx="1"/>
          </p:nvPr>
        </p:nvSpPr>
        <p:spPr>
          <a:xfrm>
            <a:off x="838200" y="4286250"/>
            <a:ext cx="6400800" cy="571500"/>
          </a:xfrm>
        </p:spPr>
        <p:txBody>
          <a:bodyPr lIns="68579" tIns="34289" rIns="68579" bIns="34289"/>
          <a:lstStyle>
            <a:lvl1pPr marL="0" indent="0">
              <a:spcBef>
                <a:spcPct val="0"/>
              </a:spcBef>
              <a:buFont typeface="Times"/>
              <a:buNone/>
              <a:defRPr sz="1200"/>
            </a:lvl1pPr>
          </a:lstStyle>
          <a:p>
            <a:r>
              <a:rPr lang="en-US"/>
              <a:t>Click to edit Master subtitle style</a:t>
            </a:r>
          </a:p>
        </p:txBody>
      </p:sp>
      <p:pic>
        <p:nvPicPr>
          <p:cNvPr id="262224" name="Picture 80" descr="Oracle_Logo_485C.jpg                                           00104BF0Macintosh HD                   BE05FFEF:"/>
          <p:cNvPicPr>
            <a:picLocks noChangeAspect="1" noChangeArrowheads="1"/>
          </p:cNvPicPr>
          <p:nvPr userDrawn="1"/>
        </p:nvPicPr>
        <p:blipFill>
          <a:blip r:embed="rId4" cstate="print"/>
          <a:srcRect/>
          <a:stretch>
            <a:fillRect/>
          </a:stretch>
        </p:blipFill>
        <p:spPr bwMode="auto">
          <a:xfrm>
            <a:off x="901703" y="3253979"/>
            <a:ext cx="2925763" cy="275034"/>
          </a:xfrm>
          <a:prstGeom prst="rect">
            <a:avLst/>
          </a:prstGeom>
          <a:noFill/>
        </p:spPr>
      </p:pic>
      <p:pic>
        <p:nvPicPr>
          <p:cNvPr id="8" name="Picture 3" descr="C:\Users\rwarnick\AppData\Local\Temp\VMwareDnD\3e6b7153\Dividers BKGD.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71727" y="0"/>
            <a:ext cx="9915727" cy="51536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898422" y="1200150"/>
            <a:ext cx="7537450" cy="3257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91703"/>
            <a:ext cx="5500225" cy="642938"/>
          </a:xfrm>
        </p:spPr>
        <p:txBody>
          <a:bodyPr/>
          <a:lstStyle/>
          <a:p>
            <a:r>
              <a:rPr lang="en-US" smtClean="0"/>
              <a:t>Click to edit Master title style</a:t>
            </a:r>
            <a:endParaRPr lang="en-US"/>
          </a:p>
        </p:txBody>
      </p:sp>
      <p:sp>
        <p:nvSpPr>
          <p:cNvPr id="3" name="Content Placeholder 2"/>
          <p:cNvSpPr>
            <a:spLocks noGrp="1"/>
          </p:cNvSpPr>
          <p:nvPr>
            <p:ph idx="1"/>
          </p:nvPr>
        </p:nvSpPr>
        <p:spPr>
          <a:xfrm>
            <a:off x="898421" y="1200150"/>
            <a:ext cx="5444505" cy="3257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20546" name="Picture 2" descr="Right Red"/>
          <p:cNvPicPr>
            <a:picLocks noChangeAspect="1" noChangeArrowheads="1"/>
          </p:cNvPicPr>
          <p:nvPr userDrawn="1"/>
        </p:nvPicPr>
        <p:blipFill>
          <a:blip r:embed="rId2" cstate="print"/>
          <a:srcRect/>
          <a:stretch>
            <a:fillRect/>
          </a:stretch>
        </p:blipFill>
        <p:spPr bwMode="auto">
          <a:xfrm>
            <a:off x="7536367" y="3"/>
            <a:ext cx="1612050" cy="515764"/>
          </a:xfrm>
          <a:prstGeom prst="rect">
            <a:avLst/>
          </a:prstGeom>
          <a:noFill/>
        </p:spPr>
      </p:pic>
      <p:sp>
        <p:nvSpPr>
          <p:cNvPr id="8" name="Rectangle 7"/>
          <p:cNvSpPr/>
          <p:nvPr userDrawn="1"/>
        </p:nvSpPr>
        <p:spPr bwMode="auto">
          <a:xfrm>
            <a:off x="7536367" y="516731"/>
            <a:ext cx="1612050" cy="1601436"/>
          </a:xfrm>
          <a:prstGeom prst="rect">
            <a:avLst/>
          </a:prstGeom>
          <a:solidFill>
            <a:schemeClr val="accent6"/>
          </a:solidFill>
          <a:ln w="9525" cap="flat" cmpd="sng" algn="ctr">
            <a:noFill/>
            <a:prstDash val="solid"/>
            <a:round/>
            <a:headEnd type="none" w="med" len="med"/>
            <a:tailEnd type="none" w="med" len="med"/>
          </a:ln>
          <a:effectLst/>
        </p:spPr>
        <p:txBody>
          <a:bodyPr vert="horz" wrap="square" lIns="69055" tIns="34528" rIns="69055" bIns="34528" numCol="1" rtlCol="0" anchor="ctr" anchorCtr="0" compatLnSpc="1">
            <a:prstTxWarp prst="textNoShape">
              <a:avLst/>
            </a:prstTxWarp>
            <a:noAutofit/>
          </a:bodyPr>
          <a:lstStyle/>
          <a:p>
            <a:pPr marL="89296" indent="-89296" algn="ctr" defTabSz="685789" fontAlgn="base">
              <a:lnSpc>
                <a:spcPct val="90000"/>
              </a:lnSpc>
              <a:spcBef>
                <a:spcPct val="50000"/>
              </a:spcBef>
              <a:spcAft>
                <a:spcPct val="0"/>
              </a:spcAft>
              <a:buClr>
                <a:srgbClr val="667263"/>
              </a:buClr>
            </a:pPr>
            <a:r>
              <a:rPr lang="en-US" sz="1100" b="1" dirty="0" smtClean="0">
                <a:solidFill>
                  <a:srgbClr val="000000"/>
                </a:solidFill>
                <a:cs typeface="Arial" charset="0"/>
              </a:rPr>
              <a:t>&lt;Insert Picture Here&gt;</a:t>
            </a:r>
          </a:p>
        </p:txBody>
      </p:sp>
      <p:sp>
        <p:nvSpPr>
          <p:cNvPr id="7" name="Text Box 14"/>
          <p:cNvSpPr txBox="1">
            <a:spLocks noChangeArrowheads="1"/>
          </p:cNvSpPr>
          <p:nvPr userDrawn="1"/>
        </p:nvSpPr>
        <p:spPr bwMode="auto">
          <a:xfrm>
            <a:off x="631825" y="4913315"/>
            <a:ext cx="4507442" cy="219075"/>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667263"/>
              </a:buClr>
              <a:buFont typeface="Arial"/>
              <a:buNone/>
              <a:defRPr/>
            </a:pPr>
            <a:r>
              <a:rPr lang="en-US" sz="600" dirty="0" smtClean="0">
                <a:solidFill>
                  <a:srgbClr val="000000"/>
                </a:solidFill>
                <a:cs typeface="Arial" pitchFamily="34" charset="0"/>
              </a:rPr>
              <a:t>Copyright © 2013, Oracle and/or its affiliates. All rights reserved.   Oracle Confidential—Internal Use Only</a:t>
            </a:r>
          </a:p>
        </p:txBody>
      </p:sp>
    </p:spTree>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1" y="1600144"/>
            <a:ext cx="4978400" cy="642938"/>
          </a:xfrm>
        </p:spPr>
        <p:txBody>
          <a:bodyPr/>
          <a:lstStyle>
            <a:lvl1pPr>
              <a:defRPr sz="2400"/>
            </a:lvl1pPr>
          </a:lstStyle>
          <a:p>
            <a:r>
              <a:rPr lang="en-US" dirty="0" smtClean="0"/>
              <a:t>Click to edit Master title style</a:t>
            </a:r>
            <a:endParaRPr lang="en-US" dirty="0"/>
          </a:p>
        </p:txBody>
      </p:sp>
      <p:sp>
        <p:nvSpPr>
          <p:cNvPr id="4" name="Footer Placeholder 3"/>
          <p:cNvSpPr>
            <a:spLocks noGrp="1"/>
          </p:cNvSpPr>
          <p:nvPr>
            <p:ph type="ftr" sz="quarter" idx="10"/>
          </p:nvPr>
        </p:nvSpPr>
        <p:spPr>
          <a:xfrm>
            <a:off x="152401" y="4914907"/>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pic>
        <p:nvPicPr>
          <p:cNvPr id="6" name="Picture 2" descr="Right Red"/>
          <p:cNvPicPr>
            <a:picLocks noChangeAspect="1" noChangeArrowheads="1"/>
          </p:cNvPicPr>
          <p:nvPr userDrawn="1"/>
        </p:nvPicPr>
        <p:blipFill>
          <a:blip r:embed="rId2" cstate="print"/>
          <a:srcRect/>
          <a:stretch>
            <a:fillRect/>
          </a:stretch>
        </p:blipFill>
        <p:spPr bwMode="auto">
          <a:xfrm>
            <a:off x="7536367" y="3"/>
            <a:ext cx="1612050" cy="515764"/>
          </a:xfrm>
          <a:prstGeom prst="rect">
            <a:avLst/>
          </a:prstGeom>
          <a:noFill/>
        </p:spPr>
      </p:pic>
      <p:sp>
        <p:nvSpPr>
          <p:cNvPr id="8" name="Rectangle 7"/>
          <p:cNvSpPr/>
          <p:nvPr userDrawn="1"/>
        </p:nvSpPr>
        <p:spPr bwMode="auto">
          <a:xfrm>
            <a:off x="7536367" y="516731"/>
            <a:ext cx="1612050" cy="1601436"/>
          </a:xfrm>
          <a:prstGeom prst="rect">
            <a:avLst/>
          </a:prstGeom>
          <a:solidFill>
            <a:schemeClr val="accent6"/>
          </a:solidFill>
          <a:ln w="9525" cap="flat" cmpd="sng" algn="ctr">
            <a:noFill/>
            <a:prstDash val="solid"/>
            <a:round/>
            <a:headEnd type="none" w="med" len="med"/>
            <a:tailEnd type="none" w="med" len="med"/>
          </a:ln>
          <a:effectLst/>
        </p:spPr>
        <p:txBody>
          <a:bodyPr vert="horz" wrap="square" lIns="69055" tIns="34528" rIns="69055" bIns="34528" numCol="1" rtlCol="0" anchor="ctr" anchorCtr="0" compatLnSpc="1">
            <a:prstTxWarp prst="textNoShape">
              <a:avLst/>
            </a:prstTxWarp>
            <a:noAutofit/>
          </a:bodyPr>
          <a:lstStyle/>
          <a:p>
            <a:pPr marL="89296" indent="-89296" algn="ctr" defTabSz="685789" fontAlgn="base">
              <a:lnSpc>
                <a:spcPct val="90000"/>
              </a:lnSpc>
              <a:spcBef>
                <a:spcPct val="50000"/>
              </a:spcBef>
              <a:spcAft>
                <a:spcPct val="0"/>
              </a:spcAft>
              <a:buClr>
                <a:srgbClr val="667263"/>
              </a:buClr>
            </a:pPr>
            <a:r>
              <a:rPr lang="en-US" sz="1100" b="1" dirty="0" smtClean="0">
                <a:solidFill>
                  <a:srgbClr val="000000"/>
                </a:solidFill>
                <a:cs typeface="Arial" charset="0"/>
              </a:rPr>
              <a:t>&lt;Insert Picture Here&gt;</a:t>
            </a:r>
          </a:p>
        </p:txBody>
      </p:sp>
    </p:spTree>
  </p:cSld>
  <p:clrMapOvr>
    <a:masterClrMapping/>
  </p:clrMapOvr>
  <p:transition>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07534" y="2300467"/>
            <a:ext cx="5765391" cy="2013998"/>
          </a:xfrm>
        </p:spPr>
        <p:txBody>
          <a:bodyPr/>
          <a:lstStyle>
            <a:lvl1pPr algn="r">
              <a:buNone/>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4" name="Footer Placeholder 3"/>
          <p:cNvSpPr>
            <a:spLocks noGrp="1"/>
          </p:cNvSpPr>
          <p:nvPr>
            <p:ph type="ftr" sz="quarter" idx="10"/>
          </p:nvPr>
        </p:nvSpPr>
        <p:spPr>
          <a:xfrm>
            <a:off x="152401" y="4914907"/>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pic>
        <p:nvPicPr>
          <p:cNvPr id="621570" name="Picture 2" descr="Tall Red"/>
          <p:cNvPicPr>
            <a:picLocks noChangeAspect="1" noChangeArrowheads="1"/>
          </p:cNvPicPr>
          <p:nvPr userDrawn="1"/>
        </p:nvPicPr>
        <p:blipFill>
          <a:blip r:embed="rId2" cstate="print"/>
          <a:srcRect/>
          <a:stretch>
            <a:fillRect/>
          </a:stretch>
        </p:blipFill>
        <p:spPr bwMode="auto">
          <a:xfrm>
            <a:off x="2" y="6"/>
            <a:ext cx="914400" cy="2116931"/>
          </a:xfrm>
          <a:prstGeom prst="rect">
            <a:avLst/>
          </a:prstGeom>
          <a:noFill/>
        </p:spPr>
      </p:pic>
      <p:pic>
        <p:nvPicPr>
          <p:cNvPr id="621571" name="Picture 3" descr="Wide Red"/>
          <p:cNvPicPr>
            <a:picLocks noChangeAspect="1" noChangeArrowheads="1"/>
          </p:cNvPicPr>
          <p:nvPr userDrawn="1"/>
        </p:nvPicPr>
        <p:blipFill>
          <a:blip r:embed="rId3" cstate="print"/>
          <a:srcRect/>
          <a:stretch>
            <a:fillRect/>
          </a:stretch>
        </p:blipFill>
        <p:spPr bwMode="auto">
          <a:xfrm>
            <a:off x="3736980" y="6"/>
            <a:ext cx="5407025" cy="2116931"/>
          </a:xfrm>
          <a:prstGeom prst="rect">
            <a:avLst/>
          </a:prstGeom>
          <a:noFill/>
        </p:spPr>
      </p:pic>
      <p:sp>
        <p:nvSpPr>
          <p:cNvPr id="2" name="Title 1"/>
          <p:cNvSpPr>
            <a:spLocks noGrp="1"/>
          </p:cNvSpPr>
          <p:nvPr>
            <p:ph type="title"/>
          </p:nvPr>
        </p:nvSpPr>
        <p:spPr>
          <a:xfrm>
            <a:off x="4363006" y="1452298"/>
            <a:ext cx="3819003" cy="642938"/>
          </a:xfrm>
        </p:spPr>
        <p:txBody>
          <a:bodyPr/>
          <a:lstStyle>
            <a:lvl1pPr algn="r">
              <a:defRPr>
                <a:solidFill>
                  <a:schemeClr val="bg1"/>
                </a:solidFill>
              </a:defRPr>
            </a:lvl1pPr>
          </a:lstStyle>
          <a:p>
            <a:r>
              <a:rPr lang="en-US" dirty="0" smtClean="0"/>
              <a:t>Click to edit Master title style</a:t>
            </a:r>
            <a:endParaRPr lang="en-US" dirty="0"/>
          </a:p>
        </p:txBody>
      </p:sp>
      <p:sp>
        <p:nvSpPr>
          <p:cNvPr id="8" name="Rectangle 7"/>
          <p:cNvSpPr/>
          <p:nvPr userDrawn="1"/>
        </p:nvSpPr>
        <p:spPr bwMode="auto">
          <a:xfrm>
            <a:off x="901702" y="3"/>
            <a:ext cx="2836923" cy="2118167"/>
          </a:xfrm>
          <a:prstGeom prst="rect">
            <a:avLst/>
          </a:prstGeom>
          <a:solidFill>
            <a:schemeClr val="accent6"/>
          </a:solidFill>
          <a:ln w="9525" cap="flat" cmpd="sng" algn="ctr">
            <a:noFill/>
            <a:prstDash val="solid"/>
            <a:round/>
            <a:headEnd type="none" w="med" len="med"/>
            <a:tailEnd type="none" w="med" len="med"/>
          </a:ln>
          <a:effectLst/>
        </p:spPr>
        <p:txBody>
          <a:bodyPr vert="horz" wrap="square" lIns="69055" tIns="34528" rIns="69055" bIns="34528" numCol="1" rtlCol="0" anchor="ctr" anchorCtr="0" compatLnSpc="1">
            <a:prstTxWarp prst="textNoShape">
              <a:avLst/>
            </a:prstTxWarp>
            <a:noAutofit/>
          </a:bodyPr>
          <a:lstStyle/>
          <a:p>
            <a:pPr marL="89296" indent="-89296" algn="ctr" defTabSz="685789" fontAlgn="base">
              <a:lnSpc>
                <a:spcPct val="90000"/>
              </a:lnSpc>
              <a:spcBef>
                <a:spcPct val="50000"/>
              </a:spcBef>
              <a:spcAft>
                <a:spcPct val="0"/>
              </a:spcAft>
              <a:buClr>
                <a:srgbClr val="667263"/>
              </a:buClr>
              <a:defRPr/>
            </a:pPr>
            <a:r>
              <a:rPr lang="en-US" sz="1200" b="1" dirty="0" smtClean="0">
                <a:solidFill>
                  <a:srgbClr val="000000"/>
                </a:solidFill>
                <a:cs typeface="Arial" charset="0"/>
              </a:rPr>
              <a:t>&lt;Insert Picture Here&gt;</a:t>
            </a:r>
          </a:p>
        </p:txBody>
      </p:sp>
    </p:spTree>
  </p:cSld>
  <p:clrMapOvr>
    <a:masterClrMapping/>
  </p:clrMapOvr>
  <p:transition>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95356" y="1200150"/>
            <a:ext cx="3692525" cy="3257550"/>
          </a:xfrm>
        </p:spPr>
        <p:txBody>
          <a:bodyPr/>
          <a:lstStyle>
            <a:lvl1pPr>
              <a:lnSpc>
                <a:spcPct val="100000"/>
              </a:lnSpc>
              <a:spcBef>
                <a:spcPts val="450"/>
              </a:spcBef>
              <a:defRPr sz="1800"/>
            </a:lvl1pPr>
            <a:lvl2pPr>
              <a:lnSpc>
                <a:spcPct val="100000"/>
              </a:lnSpc>
              <a:spcBef>
                <a:spcPts val="450"/>
              </a:spcBef>
              <a:defRPr sz="1500"/>
            </a:lvl2pPr>
            <a:lvl3pPr>
              <a:lnSpc>
                <a:spcPct val="100000"/>
              </a:lnSpc>
              <a:spcBef>
                <a:spcPts val="450"/>
              </a:spcBef>
              <a:defRPr sz="1500"/>
            </a:lvl3pPr>
            <a:lvl4pPr>
              <a:lnSpc>
                <a:spcPct val="100000"/>
              </a:lnSpc>
              <a:spcBef>
                <a:spcPts val="450"/>
              </a:spcBef>
              <a:defRPr sz="1500"/>
            </a:lvl4pPr>
            <a:lvl5pPr>
              <a:lnSpc>
                <a:spcPct val="100000"/>
              </a:lnSpc>
              <a:spcBef>
                <a:spcPts val="450"/>
              </a:spcBef>
              <a:defRPr sz="15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21231" y="1200150"/>
            <a:ext cx="3751443" cy="3257550"/>
          </a:xfrm>
        </p:spPr>
        <p:txBody>
          <a:bodyPr/>
          <a:lstStyle>
            <a:lvl1pPr>
              <a:lnSpc>
                <a:spcPct val="100000"/>
              </a:lnSpc>
              <a:spcBef>
                <a:spcPts val="450"/>
              </a:spcBef>
              <a:defRPr sz="1800"/>
            </a:lvl1pPr>
            <a:lvl2pPr>
              <a:lnSpc>
                <a:spcPct val="100000"/>
              </a:lnSpc>
              <a:spcBef>
                <a:spcPts val="450"/>
              </a:spcBef>
              <a:defRPr sz="1500"/>
            </a:lvl2pPr>
            <a:lvl3pPr>
              <a:lnSpc>
                <a:spcPct val="100000"/>
              </a:lnSpc>
              <a:spcBef>
                <a:spcPts val="450"/>
              </a:spcBef>
              <a:defRPr sz="1500"/>
            </a:lvl3pPr>
            <a:lvl4pPr>
              <a:lnSpc>
                <a:spcPct val="100000"/>
              </a:lnSpc>
              <a:spcBef>
                <a:spcPts val="450"/>
              </a:spcBef>
              <a:defRPr sz="1500"/>
            </a:lvl4pPr>
            <a:lvl5pPr>
              <a:lnSpc>
                <a:spcPct val="100000"/>
              </a:lnSpc>
              <a:spcBef>
                <a:spcPts val="450"/>
              </a:spcBef>
              <a:defRPr sz="15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0"/>
          </p:nvPr>
        </p:nvSpPr>
        <p:spPr>
          <a:xfrm>
            <a:off x="152401" y="4914907"/>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spTree>
  </p:cSld>
  <p:clrMapOvr>
    <a:masterClrMapping/>
  </p:clrMapOvr>
  <p:transition>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a:xfrm>
            <a:off x="152401" y="4914907"/>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1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O_signature_clr_rgb.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5133" y="1329097"/>
            <a:ext cx="7315200" cy="2249424"/>
          </a:xfrm>
          <a:prstGeom prst="rect">
            <a:avLst/>
          </a:prstGeom>
        </p:spPr>
      </p:pic>
    </p:spTree>
    <p:extLst>
      <p:ext uri="{BB962C8B-B14F-4D97-AF65-F5344CB8AC3E}">
        <p14:creationId xmlns:p14="http://schemas.microsoft.com/office/powerpoint/2010/main" val="7821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52401" y="4914907"/>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spTree>
  </p:cSld>
  <p:clrMapOvr>
    <a:masterClrMapping/>
  </p:clrMapOvr>
  <p:transition>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52401" y="4914907"/>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sp>
        <p:nvSpPr>
          <p:cNvPr id="3" name="Rectangle 2"/>
          <p:cNvSpPr/>
          <p:nvPr userDrawn="1"/>
        </p:nvSpPr>
        <p:spPr bwMode="auto">
          <a:xfrm>
            <a:off x="1" y="0"/>
            <a:ext cx="706056" cy="277480"/>
          </a:xfrm>
          <a:prstGeom prst="rect">
            <a:avLst/>
          </a:prstGeom>
          <a:solidFill>
            <a:schemeClr val="bg1"/>
          </a:solidFill>
          <a:ln w="9525" cap="flat" cmpd="sng" algn="ctr">
            <a:noFill/>
            <a:prstDash val="solid"/>
            <a:round/>
            <a:headEnd type="none" w="med" len="med"/>
            <a:tailEnd type="none" w="med" len="med"/>
          </a:ln>
          <a:effectLst/>
        </p:spPr>
        <p:txBody>
          <a:bodyPr vert="horz" wrap="square" lIns="69055" tIns="34528" rIns="69055" bIns="34528" numCol="1" rtlCol="0" anchor="t" anchorCtr="0" compatLnSpc="1">
            <a:prstTxWarp prst="textNoShape">
              <a:avLst/>
            </a:prstTxWarp>
            <a:spAutoFit/>
          </a:bodyPr>
          <a:lstStyle/>
          <a:p>
            <a:pPr marL="89296" indent="-89296" algn="ctr" defTabSz="685789" fontAlgn="base">
              <a:lnSpc>
                <a:spcPct val="90000"/>
              </a:lnSpc>
              <a:spcBef>
                <a:spcPct val="50000"/>
              </a:spcBef>
              <a:spcAft>
                <a:spcPct val="0"/>
              </a:spcAft>
              <a:buClr>
                <a:srgbClr val="667263"/>
              </a:buClr>
            </a:pPr>
            <a:endParaRPr lang="en-US" sz="1500" b="1" dirty="0" smtClean="0">
              <a:solidFill>
                <a:srgbClr val="000000"/>
              </a:solidFill>
              <a:cs typeface="Arial" charset="0"/>
            </a:endParaRPr>
          </a:p>
        </p:txBody>
      </p:sp>
    </p:spTree>
  </p:cSld>
  <p:clrMapOvr>
    <a:masterClrMapping/>
  </p:clrMapOvr>
  <p:transition>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89001" y="291703"/>
            <a:ext cx="7581900" cy="642938"/>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95350" y="1200150"/>
            <a:ext cx="7537450" cy="3257550"/>
          </a:xfrm>
        </p:spPr>
        <p:txBody>
          <a:bodyPr/>
          <a:lstStyle/>
          <a:p>
            <a:endParaRPr lang="en-US" dirty="0"/>
          </a:p>
        </p:txBody>
      </p:sp>
      <p:sp>
        <p:nvSpPr>
          <p:cNvPr id="4" name="Footer Placeholder 3"/>
          <p:cNvSpPr>
            <a:spLocks noGrp="1"/>
          </p:cNvSpPr>
          <p:nvPr>
            <p:ph type="ftr" sz="quarter" idx="10"/>
          </p:nvPr>
        </p:nvSpPr>
        <p:spPr>
          <a:xfrm>
            <a:off x="152401" y="4914900"/>
            <a:ext cx="8839200" cy="114300"/>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r>
              <a:rPr lang="en-US" sz="1500" b="1" dirty="0" smtClean="0">
                <a:solidFill>
                  <a:srgbClr val="000000"/>
                </a:solidFill>
                <a:cs typeface="Arial" charset="0"/>
              </a:rPr>
              <a:t>Oracle Confidential - Internal Use Only</a:t>
            </a:r>
          </a:p>
        </p:txBody>
      </p:sp>
    </p:spTree>
  </p:cSld>
  <p:clrMapOvr>
    <a:masterClrMapping/>
  </p:clrMapOvr>
  <p:transition>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62215" name="Rectangle 71"/>
          <p:cNvSpPr>
            <a:spLocks noChangeArrowheads="1"/>
          </p:cNvSpPr>
          <p:nvPr userDrawn="1"/>
        </p:nvSpPr>
        <p:spPr bwMode="auto">
          <a:xfrm>
            <a:off x="914407" y="685801"/>
            <a:ext cx="2824163" cy="2115741"/>
          </a:xfrm>
          <a:prstGeom prst="rect">
            <a:avLst/>
          </a:prstGeom>
          <a:solidFill>
            <a:srgbClr val="ADADAD"/>
          </a:solidFill>
          <a:ln w="12700">
            <a:noFill/>
            <a:miter lim="800000"/>
            <a:headEnd/>
            <a:tailEnd/>
          </a:ln>
          <a:effectLst/>
        </p:spPr>
        <p:txBody>
          <a:bodyPr wrap="none" lIns="68579" tIns="34289" rIns="68579" bIns="34289" anchor="ctr" anchorCtr="1"/>
          <a:lstStyle/>
          <a:p>
            <a:pPr algn="ctr" eaLnBrk="0" fontAlgn="base" hangingPunct="0">
              <a:spcBef>
                <a:spcPct val="0"/>
              </a:spcBef>
              <a:spcAft>
                <a:spcPct val="0"/>
              </a:spcAft>
            </a:pPr>
            <a:r>
              <a:rPr lang="en-US" sz="1100" b="1" dirty="0">
                <a:solidFill>
                  <a:srgbClr val="000000"/>
                </a:solidFill>
                <a:cs typeface="Arial" pitchFamily="34" charset="0"/>
              </a:rPr>
              <a:t>&lt;Insert Picture Here&gt;</a:t>
            </a:r>
          </a:p>
        </p:txBody>
      </p:sp>
      <p:pic>
        <p:nvPicPr>
          <p:cNvPr id="262218" name="Picture 74" descr="Tall Red"/>
          <p:cNvPicPr>
            <a:picLocks noChangeAspect="1" noChangeArrowheads="1"/>
          </p:cNvPicPr>
          <p:nvPr userDrawn="1"/>
        </p:nvPicPr>
        <p:blipFill>
          <a:blip r:embed="rId2" cstate="screen"/>
          <a:srcRect/>
          <a:stretch>
            <a:fillRect/>
          </a:stretch>
        </p:blipFill>
        <p:spPr bwMode="auto">
          <a:xfrm>
            <a:off x="2" y="685817"/>
            <a:ext cx="914400" cy="2116931"/>
          </a:xfrm>
          <a:prstGeom prst="rect">
            <a:avLst/>
          </a:prstGeom>
          <a:noFill/>
        </p:spPr>
      </p:pic>
      <p:pic>
        <p:nvPicPr>
          <p:cNvPr id="262219" name="Picture 75" descr="Wide Red"/>
          <p:cNvPicPr>
            <a:picLocks noChangeAspect="1" noChangeArrowheads="1"/>
          </p:cNvPicPr>
          <p:nvPr userDrawn="1"/>
        </p:nvPicPr>
        <p:blipFill>
          <a:blip r:embed="rId3" cstate="screen"/>
          <a:srcRect/>
          <a:stretch>
            <a:fillRect/>
          </a:stretch>
        </p:blipFill>
        <p:spPr bwMode="auto">
          <a:xfrm>
            <a:off x="3736987" y="685817"/>
            <a:ext cx="5407025" cy="2116931"/>
          </a:xfrm>
          <a:prstGeom prst="rect">
            <a:avLst/>
          </a:prstGeom>
          <a:noFill/>
        </p:spPr>
      </p:pic>
      <p:sp>
        <p:nvSpPr>
          <p:cNvPr id="262221" name="Rectangle 77"/>
          <p:cNvSpPr>
            <a:spLocks noGrp="1" noChangeArrowheads="1"/>
          </p:cNvSpPr>
          <p:nvPr>
            <p:ph type="subTitle" sz="quarter" idx="1"/>
          </p:nvPr>
        </p:nvSpPr>
        <p:spPr>
          <a:xfrm>
            <a:off x="838200" y="4286250"/>
            <a:ext cx="6400800" cy="571500"/>
          </a:xfrm>
        </p:spPr>
        <p:txBody>
          <a:bodyPr lIns="68579" tIns="34289" rIns="68579" bIns="34289"/>
          <a:lstStyle>
            <a:lvl1pPr marL="0" indent="0">
              <a:spcBef>
                <a:spcPct val="0"/>
              </a:spcBef>
              <a:buFont typeface="Times"/>
              <a:buNone/>
              <a:defRPr sz="1200"/>
            </a:lvl1pPr>
          </a:lstStyle>
          <a:p>
            <a:r>
              <a:rPr lang="en-US"/>
              <a:t>Click to edit Master subtitle style</a:t>
            </a:r>
          </a:p>
        </p:txBody>
      </p:sp>
      <p:pic>
        <p:nvPicPr>
          <p:cNvPr id="262224" name="Picture 80" descr="Oracle_Logo_485C.jpg                                           00104BF0Macintosh HD                   BE05FFEF:"/>
          <p:cNvPicPr>
            <a:picLocks noChangeAspect="1" noChangeArrowheads="1"/>
          </p:cNvPicPr>
          <p:nvPr userDrawn="1"/>
        </p:nvPicPr>
        <p:blipFill>
          <a:blip r:embed="rId4" cstate="screen"/>
          <a:srcRect/>
          <a:stretch>
            <a:fillRect/>
          </a:stretch>
        </p:blipFill>
        <p:spPr bwMode="auto">
          <a:xfrm>
            <a:off x="901712" y="3253979"/>
            <a:ext cx="2925763" cy="275034"/>
          </a:xfrm>
          <a:prstGeom prst="rect">
            <a:avLst/>
          </a:prstGeom>
          <a:noFill/>
        </p:spPr>
      </p:pic>
      <p:pic>
        <p:nvPicPr>
          <p:cNvPr id="8" name="Picture 3" descr="C:\Users\rwarnick\AppData\Local\Temp\VMwareDnD\3e6b7153\Dividers BKGD.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771727" y="9"/>
            <a:ext cx="9915727" cy="51536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153007" y="4214812"/>
            <a:ext cx="4594874" cy="642938"/>
          </a:xfrm>
        </p:spPr>
        <p:txBody>
          <a:bodyPr/>
          <a:lstStyle>
            <a:lvl1pPr>
              <a:defRPr>
                <a:solidFill>
                  <a:srgbClr val="FFFFFF"/>
                </a:solidFill>
                <a:effectLst>
                  <a:outerShdw blurRad="50800" dist="38100" dir="2700000" algn="tl" rotWithShape="0">
                    <a:srgbClr val="000000">
                      <a:alpha val="43000"/>
                    </a:srgbClr>
                  </a:outerShdw>
                </a:effectLst>
              </a:defRPr>
            </a:lvl1pPr>
          </a:lstStyle>
          <a:p>
            <a:r>
              <a:rPr lang="en-US" dirty="0" smtClean="0"/>
              <a:t>Click to edit Master title style</a:t>
            </a:r>
            <a:endParaRPr lang="en-US" dirty="0"/>
          </a:p>
        </p:txBody>
      </p:sp>
      <p:pic>
        <p:nvPicPr>
          <p:cNvPr id="5" name="Picture 4" descr="Oracle.png"/>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295179" y="1065333"/>
            <a:ext cx="4886782" cy="788632"/>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898422" y="1200150"/>
            <a:ext cx="7537450" cy="3257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21" y="291703"/>
            <a:ext cx="5500225" cy="642938"/>
          </a:xfrm>
        </p:spPr>
        <p:txBody>
          <a:bodyPr/>
          <a:lstStyle/>
          <a:p>
            <a:r>
              <a:rPr lang="en-US" smtClean="0"/>
              <a:t>Click to edit Master title style</a:t>
            </a:r>
            <a:endParaRPr lang="en-US"/>
          </a:p>
        </p:txBody>
      </p:sp>
      <p:sp>
        <p:nvSpPr>
          <p:cNvPr id="3" name="Content Placeholder 2"/>
          <p:cNvSpPr>
            <a:spLocks noGrp="1"/>
          </p:cNvSpPr>
          <p:nvPr>
            <p:ph idx="1"/>
          </p:nvPr>
        </p:nvSpPr>
        <p:spPr>
          <a:xfrm>
            <a:off x="898422" y="1200150"/>
            <a:ext cx="5444505" cy="3257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pic>
        <p:nvPicPr>
          <p:cNvPr id="620546" name="Picture 2" descr="Right Red"/>
          <p:cNvPicPr>
            <a:picLocks noChangeAspect="1" noChangeArrowheads="1"/>
          </p:cNvPicPr>
          <p:nvPr userDrawn="1"/>
        </p:nvPicPr>
        <p:blipFill>
          <a:blip r:embed="rId2" cstate="screen"/>
          <a:srcRect/>
          <a:stretch>
            <a:fillRect/>
          </a:stretch>
        </p:blipFill>
        <p:spPr bwMode="auto">
          <a:xfrm>
            <a:off x="7536367" y="3"/>
            <a:ext cx="1612050" cy="515764"/>
          </a:xfrm>
          <a:prstGeom prst="rect">
            <a:avLst/>
          </a:prstGeom>
          <a:noFill/>
        </p:spPr>
      </p:pic>
      <p:sp>
        <p:nvSpPr>
          <p:cNvPr id="8" name="Rectangle 7"/>
          <p:cNvSpPr/>
          <p:nvPr userDrawn="1"/>
        </p:nvSpPr>
        <p:spPr bwMode="auto">
          <a:xfrm>
            <a:off x="7536367" y="516731"/>
            <a:ext cx="1612050" cy="1601436"/>
          </a:xfrm>
          <a:prstGeom prst="rect">
            <a:avLst/>
          </a:prstGeom>
          <a:solidFill>
            <a:schemeClr val="accent6"/>
          </a:solidFill>
          <a:ln w="9525" cap="flat" cmpd="sng" algn="ctr">
            <a:noFill/>
            <a:prstDash val="solid"/>
            <a:round/>
            <a:headEnd type="none" w="med" len="med"/>
            <a:tailEnd type="none" w="med" len="med"/>
          </a:ln>
          <a:effectLst/>
        </p:spPr>
        <p:txBody>
          <a:bodyPr vert="horz" wrap="square" lIns="69055" tIns="34528" rIns="69055" bIns="34528" numCol="1" rtlCol="0" anchor="ctr" anchorCtr="0" compatLnSpc="1">
            <a:prstTxWarp prst="textNoShape">
              <a:avLst/>
            </a:prstTxWarp>
            <a:noAutofit/>
          </a:bodyPr>
          <a:lstStyle/>
          <a:p>
            <a:pPr marL="89296" indent="-89296" algn="ctr" defTabSz="685789" fontAlgn="base">
              <a:lnSpc>
                <a:spcPct val="90000"/>
              </a:lnSpc>
              <a:spcBef>
                <a:spcPct val="50000"/>
              </a:spcBef>
              <a:spcAft>
                <a:spcPct val="0"/>
              </a:spcAft>
              <a:buClr>
                <a:srgbClr val="667263"/>
              </a:buClr>
            </a:pPr>
            <a:r>
              <a:rPr lang="en-US" sz="1100" b="1" dirty="0" smtClean="0">
                <a:solidFill>
                  <a:srgbClr val="000000"/>
                </a:solidFill>
                <a:cs typeface="Arial" pitchFamily="34" charset="0"/>
              </a:rPr>
              <a:t>&lt;Insert Picture Here&gt;</a:t>
            </a:r>
          </a:p>
        </p:txBody>
      </p:sp>
    </p:spTree>
  </p:cSld>
  <p:clrMapOvr>
    <a:masterClrMapping/>
  </p:clrMapOvr>
  <p:transition>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1" y="1600144"/>
            <a:ext cx="4978400" cy="642938"/>
          </a:xfrm>
        </p:spPr>
        <p:txBody>
          <a:bodyPr/>
          <a:lstStyle>
            <a:lvl1pPr>
              <a:defRPr sz="2400"/>
            </a:lvl1pPr>
          </a:lstStyle>
          <a:p>
            <a:r>
              <a:rPr lang="en-US" dirty="0" smtClean="0"/>
              <a:t>Click to edit Master title style</a:t>
            </a:r>
            <a:endParaRPr lang="en-US" dirty="0"/>
          </a:p>
        </p:txBody>
      </p:sp>
      <p:sp>
        <p:nvSpPr>
          <p:cNvPr id="4" name="Footer Placeholder 3"/>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pic>
        <p:nvPicPr>
          <p:cNvPr id="6" name="Picture 2" descr="Right Red"/>
          <p:cNvPicPr>
            <a:picLocks noChangeAspect="1" noChangeArrowheads="1"/>
          </p:cNvPicPr>
          <p:nvPr userDrawn="1"/>
        </p:nvPicPr>
        <p:blipFill>
          <a:blip r:embed="rId2" cstate="screen"/>
          <a:srcRect/>
          <a:stretch>
            <a:fillRect/>
          </a:stretch>
        </p:blipFill>
        <p:spPr bwMode="auto">
          <a:xfrm>
            <a:off x="7536367" y="3"/>
            <a:ext cx="1612050" cy="515764"/>
          </a:xfrm>
          <a:prstGeom prst="rect">
            <a:avLst/>
          </a:prstGeom>
          <a:noFill/>
        </p:spPr>
      </p:pic>
      <p:sp>
        <p:nvSpPr>
          <p:cNvPr id="8" name="Rectangle 7"/>
          <p:cNvSpPr/>
          <p:nvPr userDrawn="1"/>
        </p:nvSpPr>
        <p:spPr bwMode="auto">
          <a:xfrm>
            <a:off x="7536367" y="516731"/>
            <a:ext cx="1612050" cy="1601436"/>
          </a:xfrm>
          <a:prstGeom prst="rect">
            <a:avLst/>
          </a:prstGeom>
          <a:solidFill>
            <a:schemeClr val="accent6"/>
          </a:solidFill>
          <a:ln w="9525" cap="flat" cmpd="sng" algn="ctr">
            <a:noFill/>
            <a:prstDash val="solid"/>
            <a:round/>
            <a:headEnd type="none" w="med" len="med"/>
            <a:tailEnd type="none" w="med" len="med"/>
          </a:ln>
          <a:effectLst/>
        </p:spPr>
        <p:txBody>
          <a:bodyPr vert="horz" wrap="square" lIns="69055" tIns="34528" rIns="69055" bIns="34528" numCol="1" rtlCol="0" anchor="ctr" anchorCtr="0" compatLnSpc="1">
            <a:prstTxWarp prst="textNoShape">
              <a:avLst/>
            </a:prstTxWarp>
            <a:noAutofit/>
          </a:bodyPr>
          <a:lstStyle/>
          <a:p>
            <a:pPr marL="89296" indent="-89296" algn="ctr" defTabSz="685789" fontAlgn="base">
              <a:lnSpc>
                <a:spcPct val="90000"/>
              </a:lnSpc>
              <a:spcBef>
                <a:spcPct val="50000"/>
              </a:spcBef>
              <a:spcAft>
                <a:spcPct val="0"/>
              </a:spcAft>
              <a:buClr>
                <a:srgbClr val="667263"/>
              </a:buClr>
            </a:pPr>
            <a:r>
              <a:rPr lang="en-US" sz="1100" b="1" dirty="0" smtClean="0">
                <a:solidFill>
                  <a:srgbClr val="000000"/>
                </a:solidFill>
                <a:cs typeface="Arial" pitchFamily="34" charset="0"/>
              </a:rPr>
              <a:t>&lt;Insert Picture Here&gt;</a:t>
            </a:r>
          </a:p>
        </p:txBody>
      </p:sp>
    </p:spTree>
  </p:cSld>
  <p:clrMapOvr>
    <a:masterClrMapping/>
  </p:clrMapOvr>
  <p:transition>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07536" y="2300467"/>
            <a:ext cx="5765391" cy="2013998"/>
          </a:xfrm>
        </p:spPr>
        <p:txBody>
          <a:bodyPr/>
          <a:lstStyle>
            <a:lvl1pPr algn="r">
              <a:buNone/>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4" name="Footer Placeholder 3"/>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pic>
        <p:nvPicPr>
          <p:cNvPr id="621570" name="Picture 2" descr="Tall Red"/>
          <p:cNvPicPr>
            <a:picLocks noChangeAspect="1" noChangeArrowheads="1"/>
          </p:cNvPicPr>
          <p:nvPr userDrawn="1"/>
        </p:nvPicPr>
        <p:blipFill>
          <a:blip r:embed="rId2" cstate="screen"/>
          <a:srcRect/>
          <a:stretch>
            <a:fillRect/>
          </a:stretch>
        </p:blipFill>
        <p:spPr bwMode="auto">
          <a:xfrm>
            <a:off x="2" y="18"/>
            <a:ext cx="914400" cy="2116931"/>
          </a:xfrm>
          <a:prstGeom prst="rect">
            <a:avLst/>
          </a:prstGeom>
          <a:noFill/>
        </p:spPr>
      </p:pic>
      <p:pic>
        <p:nvPicPr>
          <p:cNvPr id="621571" name="Picture 3" descr="Wide Red"/>
          <p:cNvPicPr>
            <a:picLocks noChangeAspect="1" noChangeArrowheads="1"/>
          </p:cNvPicPr>
          <p:nvPr userDrawn="1"/>
        </p:nvPicPr>
        <p:blipFill>
          <a:blip r:embed="rId3" cstate="screen"/>
          <a:srcRect/>
          <a:stretch>
            <a:fillRect/>
          </a:stretch>
        </p:blipFill>
        <p:spPr bwMode="auto">
          <a:xfrm>
            <a:off x="3736987" y="18"/>
            <a:ext cx="5407025" cy="2116931"/>
          </a:xfrm>
          <a:prstGeom prst="rect">
            <a:avLst/>
          </a:prstGeom>
          <a:noFill/>
        </p:spPr>
      </p:pic>
      <p:sp>
        <p:nvSpPr>
          <p:cNvPr id="2" name="Title 1"/>
          <p:cNvSpPr>
            <a:spLocks noGrp="1"/>
          </p:cNvSpPr>
          <p:nvPr>
            <p:ph type="title"/>
          </p:nvPr>
        </p:nvSpPr>
        <p:spPr>
          <a:xfrm>
            <a:off x="4363006" y="1452298"/>
            <a:ext cx="3819003" cy="642938"/>
          </a:xfrm>
        </p:spPr>
        <p:txBody>
          <a:bodyPr/>
          <a:lstStyle>
            <a:lvl1pPr algn="r">
              <a:defRPr>
                <a:solidFill>
                  <a:schemeClr val="bg1"/>
                </a:solidFill>
              </a:defRPr>
            </a:lvl1pPr>
          </a:lstStyle>
          <a:p>
            <a:r>
              <a:rPr lang="en-US" dirty="0" smtClean="0"/>
              <a:t>Click to edit Master title style</a:t>
            </a:r>
            <a:endParaRPr lang="en-US" dirty="0"/>
          </a:p>
        </p:txBody>
      </p:sp>
      <p:sp>
        <p:nvSpPr>
          <p:cNvPr id="8" name="Rectangle 7"/>
          <p:cNvSpPr/>
          <p:nvPr userDrawn="1"/>
        </p:nvSpPr>
        <p:spPr bwMode="auto">
          <a:xfrm>
            <a:off x="901730" y="14"/>
            <a:ext cx="2836923" cy="2118167"/>
          </a:xfrm>
          <a:prstGeom prst="rect">
            <a:avLst/>
          </a:prstGeom>
          <a:solidFill>
            <a:schemeClr val="accent6"/>
          </a:solidFill>
          <a:ln w="9525" cap="flat" cmpd="sng" algn="ctr">
            <a:noFill/>
            <a:prstDash val="solid"/>
            <a:round/>
            <a:headEnd type="none" w="med" len="med"/>
            <a:tailEnd type="none" w="med" len="med"/>
          </a:ln>
          <a:effectLst/>
        </p:spPr>
        <p:txBody>
          <a:bodyPr vert="horz" wrap="square" lIns="69055" tIns="34528" rIns="69055" bIns="34528" numCol="1" rtlCol="0" anchor="ctr" anchorCtr="0" compatLnSpc="1">
            <a:prstTxWarp prst="textNoShape">
              <a:avLst/>
            </a:prstTxWarp>
            <a:noAutofit/>
          </a:bodyPr>
          <a:lstStyle/>
          <a:p>
            <a:pPr marL="89296" indent="-89296" algn="ctr" defTabSz="685789" fontAlgn="base">
              <a:lnSpc>
                <a:spcPct val="90000"/>
              </a:lnSpc>
              <a:spcBef>
                <a:spcPct val="50000"/>
              </a:spcBef>
              <a:spcAft>
                <a:spcPct val="0"/>
              </a:spcAft>
              <a:buClr>
                <a:srgbClr val="667263"/>
              </a:buClr>
              <a:defRPr/>
            </a:pPr>
            <a:r>
              <a:rPr lang="en-US" sz="1200" b="1" dirty="0" smtClean="0">
                <a:solidFill>
                  <a:srgbClr val="000000"/>
                </a:solidFill>
                <a:cs typeface="Arial" pitchFamily="34" charset="0"/>
              </a:rPr>
              <a:t>&lt;Insert Picture Here&gt;</a:t>
            </a:r>
          </a:p>
        </p:txBody>
      </p:sp>
    </p:spTree>
  </p:cSld>
  <p:clrMapOvr>
    <a:masterClrMapping/>
  </p:clrMapOvr>
  <p:transition>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95358" y="1200150"/>
            <a:ext cx="3692525" cy="3257550"/>
          </a:xfrm>
        </p:spPr>
        <p:txBody>
          <a:bodyPr/>
          <a:lstStyle>
            <a:lvl1pPr>
              <a:lnSpc>
                <a:spcPct val="100000"/>
              </a:lnSpc>
              <a:spcBef>
                <a:spcPts val="450"/>
              </a:spcBef>
              <a:defRPr sz="1800"/>
            </a:lvl1pPr>
            <a:lvl2pPr>
              <a:lnSpc>
                <a:spcPct val="100000"/>
              </a:lnSpc>
              <a:spcBef>
                <a:spcPts val="450"/>
              </a:spcBef>
              <a:defRPr sz="1500"/>
            </a:lvl2pPr>
            <a:lvl3pPr>
              <a:lnSpc>
                <a:spcPct val="100000"/>
              </a:lnSpc>
              <a:spcBef>
                <a:spcPts val="450"/>
              </a:spcBef>
              <a:defRPr sz="1500"/>
            </a:lvl3pPr>
            <a:lvl4pPr>
              <a:lnSpc>
                <a:spcPct val="100000"/>
              </a:lnSpc>
              <a:spcBef>
                <a:spcPts val="450"/>
              </a:spcBef>
              <a:defRPr sz="1500"/>
            </a:lvl4pPr>
            <a:lvl5pPr>
              <a:lnSpc>
                <a:spcPct val="100000"/>
              </a:lnSpc>
              <a:spcBef>
                <a:spcPts val="450"/>
              </a:spcBef>
              <a:defRPr sz="15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21231" y="1200150"/>
            <a:ext cx="3751443" cy="3257550"/>
          </a:xfrm>
        </p:spPr>
        <p:txBody>
          <a:bodyPr/>
          <a:lstStyle>
            <a:lvl1pPr>
              <a:lnSpc>
                <a:spcPct val="100000"/>
              </a:lnSpc>
              <a:spcBef>
                <a:spcPts val="450"/>
              </a:spcBef>
              <a:defRPr sz="1800"/>
            </a:lvl1pPr>
            <a:lvl2pPr>
              <a:lnSpc>
                <a:spcPct val="100000"/>
              </a:lnSpc>
              <a:spcBef>
                <a:spcPts val="450"/>
              </a:spcBef>
              <a:defRPr sz="1500"/>
            </a:lvl2pPr>
            <a:lvl3pPr>
              <a:lnSpc>
                <a:spcPct val="100000"/>
              </a:lnSpc>
              <a:spcBef>
                <a:spcPts val="450"/>
              </a:spcBef>
              <a:defRPr sz="1500"/>
            </a:lvl3pPr>
            <a:lvl4pPr>
              <a:lnSpc>
                <a:spcPct val="100000"/>
              </a:lnSpc>
              <a:spcBef>
                <a:spcPts val="450"/>
              </a:spcBef>
              <a:defRPr sz="1500"/>
            </a:lvl4pPr>
            <a:lvl5pPr>
              <a:lnSpc>
                <a:spcPct val="100000"/>
              </a:lnSpc>
              <a:spcBef>
                <a:spcPts val="450"/>
              </a:spcBef>
              <a:defRPr sz="15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spTree>
  </p:cSld>
  <p:clrMapOvr>
    <a:masterClrMapping/>
  </p:clrMapOvr>
  <p:transition>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0" y="1571843"/>
            <a:ext cx="5030787" cy="1100723"/>
          </a:xfrm>
        </p:spPr>
        <p:txBody>
          <a:bodyPr anchor="t" anchorCtr="0"/>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dirty="0" smtClean="0"/>
              <a:t>Click to edit text </a:t>
            </a:r>
            <a:endParaRPr lang="en-US" dirty="0"/>
          </a:p>
        </p:txBody>
      </p:sp>
      <p:sp>
        <p:nvSpPr>
          <p:cNvPr id="13" name="Rectangle 12"/>
          <p:cNvSpPr/>
          <p:nvPr userDrawn="1"/>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5138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spTree>
  </p:cSld>
  <p:clrMapOvr>
    <a:masterClrMapping/>
  </p:clrMapOvr>
  <p:transition>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52401" y="4914916"/>
            <a:ext cx="6211580" cy="123353"/>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sp>
        <p:nvSpPr>
          <p:cNvPr id="3" name="Rectangle 2"/>
          <p:cNvSpPr/>
          <p:nvPr userDrawn="1"/>
        </p:nvSpPr>
        <p:spPr bwMode="auto">
          <a:xfrm>
            <a:off x="1" y="0"/>
            <a:ext cx="706056" cy="277480"/>
          </a:xfrm>
          <a:prstGeom prst="rect">
            <a:avLst/>
          </a:prstGeom>
          <a:solidFill>
            <a:schemeClr val="bg1"/>
          </a:solidFill>
          <a:ln w="9525" cap="flat" cmpd="sng" algn="ctr">
            <a:noFill/>
            <a:prstDash val="solid"/>
            <a:round/>
            <a:headEnd type="none" w="med" len="med"/>
            <a:tailEnd type="none" w="med" len="med"/>
          </a:ln>
          <a:effectLst/>
        </p:spPr>
        <p:txBody>
          <a:bodyPr vert="horz" wrap="square" lIns="69055" tIns="34528" rIns="69055" bIns="34528" numCol="1" rtlCol="0" anchor="t" anchorCtr="0" compatLnSpc="1">
            <a:prstTxWarp prst="textNoShape">
              <a:avLst/>
            </a:prstTxWarp>
            <a:spAutoFit/>
          </a:bodyPr>
          <a:lstStyle/>
          <a:p>
            <a:pPr marL="89296" indent="-89296" algn="ctr" defTabSz="685789"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spTree>
  </p:cSld>
  <p:clrMapOvr>
    <a:masterClrMapping/>
  </p:clrMapOvr>
  <p:transition>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89001" y="291703"/>
            <a:ext cx="7581900" cy="642938"/>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95350" y="1200150"/>
            <a:ext cx="7537450" cy="3257550"/>
          </a:xfrm>
        </p:spPr>
        <p:txBody>
          <a:bodyPr/>
          <a:lstStyle/>
          <a:p>
            <a:endParaRPr lang="en-US" dirty="0"/>
          </a:p>
        </p:txBody>
      </p:sp>
      <p:sp>
        <p:nvSpPr>
          <p:cNvPr id="4" name="Footer Placeholder 3"/>
          <p:cNvSpPr>
            <a:spLocks noGrp="1"/>
          </p:cNvSpPr>
          <p:nvPr>
            <p:ph type="ftr" sz="quarter" idx="10"/>
          </p:nvPr>
        </p:nvSpPr>
        <p:spPr>
          <a:xfrm>
            <a:off x="152401" y="4914900"/>
            <a:ext cx="8839200" cy="114300"/>
          </a:xfrm>
          <a:prstGeom prst="rect">
            <a:avLst/>
          </a:prstGeom>
        </p:spPr>
        <p:txBody>
          <a:bodyPr lIns="68589" tIns="34295" rIns="68589" bIns="34295"/>
          <a:lstStyle>
            <a:lvl1pPr>
              <a:tabLst>
                <a:tab pos="8358047" algn="l"/>
              </a:tabLst>
              <a:defRPr/>
            </a:lvl1pPr>
          </a:lstStyle>
          <a:p>
            <a:pPr algn="ctr" fontAlgn="base">
              <a:lnSpc>
                <a:spcPct val="90000"/>
              </a:lnSpc>
              <a:spcBef>
                <a:spcPct val="50000"/>
              </a:spcBef>
              <a:spcAft>
                <a:spcPct val="0"/>
              </a:spcAft>
              <a:buClr>
                <a:srgbClr val="667263"/>
              </a:buClr>
            </a:pPr>
            <a:endParaRPr lang="en-US" sz="1500" b="1" dirty="0" smtClean="0">
              <a:solidFill>
                <a:srgbClr val="000000"/>
              </a:solidFill>
              <a:cs typeface="Arial" pitchFamily="34" charset="0"/>
            </a:endParaRPr>
          </a:p>
        </p:txBody>
      </p:sp>
    </p:spTree>
  </p:cSld>
  <p:clrMapOvr>
    <a:masterClrMapping/>
  </p:clrMapOvr>
  <p:transition>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New Template_Corp Taglin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
          <p:cNvGrpSpPr/>
          <p:nvPr userDrawn="1"/>
        </p:nvGrpSpPr>
        <p:grpSpPr>
          <a:xfrm>
            <a:off x="2103807" y="1774242"/>
            <a:ext cx="4936386" cy="1595045"/>
            <a:chOff x="2113332" y="1464413"/>
            <a:chExt cx="4936386" cy="1595045"/>
          </a:xfrm>
        </p:grpSpPr>
        <p:pic>
          <p:nvPicPr>
            <p:cNvPr id="6" name="Picture 10"/>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2113332" y="1464413"/>
              <a:ext cx="4936386" cy="15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34" descr="HSET_clr_rgb"/>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481263" y="1700213"/>
              <a:ext cx="4179887"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4060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cstate="screen"/>
          <a:srcRect/>
          <a:stretch>
            <a:fillRect/>
          </a:stretch>
        </p:blipFill>
        <p:spPr bwMode="auto">
          <a:xfrm>
            <a:off x="0" y="0"/>
            <a:ext cx="9144000" cy="5143500"/>
          </a:xfrm>
          <a:prstGeom prst="rect">
            <a:avLst/>
          </a:prstGeom>
          <a:noFill/>
          <a:ln w="9525">
            <a:noFill/>
            <a:miter lim="800000"/>
            <a:headEnd/>
            <a:tailEnd/>
          </a:ln>
        </p:spPr>
      </p:pic>
      <p:pic>
        <p:nvPicPr>
          <p:cNvPr id="3" name="Picture 20" descr="O_signature_clr_rgb.jpg"/>
          <p:cNvPicPr>
            <a:picLocks noChangeAspect="1"/>
          </p:cNvPicPr>
          <p:nvPr/>
        </p:nvPicPr>
        <p:blipFill>
          <a:blip r:embed="rId3" cstate="screen"/>
          <a:srcRect/>
          <a:stretch>
            <a:fillRect/>
          </a:stretch>
        </p:blipFill>
        <p:spPr bwMode="auto">
          <a:xfrm>
            <a:off x="855663" y="1328738"/>
            <a:ext cx="7315200" cy="2249487"/>
          </a:xfrm>
          <a:prstGeom prst="rect">
            <a:avLst/>
          </a:prstGeom>
          <a:noFill/>
          <a:ln w="9525">
            <a:noFill/>
            <a:miter lim="800000"/>
            <a:headEnd/>
            <a:tailEnd/>
          </a:ln>
        </p:spPr>
      </p:pic>
    </p:spTree>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 name="Title 1"/>
          <p:cNvSpPr>
            <a:spLocks noGrp="1"/>
          </p:cNvSpPr>
          <p:nvPr>
            <p:ph type="title"/>
          </p:nvPr>
        </p:nvSpPr>
        <p:spPr>
          <a:xfrm>
            <a:off x="804347" y="245538"/>
            <a:ext cx="8229586" cy="768803"/>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 name="Title 1"/>
          <p:cNvSpPr>
            <a:spLocks noGrp="1"/>
          </p:cNvSpPr>
          <p:nvPr>
            <p:ph type="title"/>
          </p:nvPr>
        </p:nvSpPr>
        <p:spPr>
          <a:xfrm>
            <a:off x="804347" y="245538"/>
            <a:ext cx="8229586" cy="406395"/>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5943600" y="0"/>
            <a:ext cx="32004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21" descr="O_signature_wht_rgb.png"/>
          <p:cNvPicPr>
            <a:picLocks noChangeAspect="1"/>
          </p:cNvPicPr>
          <p:nvPr userDrawn="1"/>
        </p:nvPicPr>
        <p:blipFill>
          <a:blip r:embed="rId2" cstate="screen"/>
          <a:srcRect/>
          <a:stretch>
            <a:fillRect/>
          </a:stretch>
        </p:blipFill>
        <p:spPr bwMode="auto">
          <a:xfrm>
            <a:off x="261938" y="254000"/>
            <a:ext cx="2147887" cy="661988"/>
          </a:xfrm>
          <a:prstGeom prst="rect">
            <a:avLst/>
          </a:prstGeom>
          <a:noFill/>
          <a:ln w="9525">
            <a:noFill/>
            <a:miter lim="800000"/>
            <a:headEnd/>
            <a:tailEnd/>
          </a:ln>
        </p:spPr>
      </p:pic>
      <p:sp>
        <p:nvSpPr>
          <p:cNvPr id="17" name="Title 1"/>
          <p:cNvSpPr>
            <a:spLocks noGrp="1"/>
          </p:cNvSpPr>
          <p:nvPr>
            <p:ph type="title"/>
          </p:nvPr>
        </p:nvSpPr>
        <p:spPr>
          <a:xfrm>
            <a:off x="45148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49"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5400"/>
            <a:ext cx="9144000" cy="51689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25400"/>
            <a:ext cx="9144000" cy="4157663"/>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21" descr="O_signature_wht_rgb.png"/>
          <p:cNvPicPr>
            <a:picLocks noChangeAspect="1"/>
          </p:cNvPicPr>
          <p:nvPr userDrawn="1"/>
        </p:nvPicPr>
        <p:blipFill>
          <a:blip r:embed="rId2" cstate="screen"/>
          <a:srcRect/>
          <a:stretch>
            <a:fillRect/>
          </a:stretch>
        </p:blipFill>
        <p:spPr bwMode="auto">
          <a:xfrm>
            <a:off x="261938" y="254000"/>
            <a:ext cx="2147887" cy="661988"/>
          </a:xfrm>
          <a:prstGeom prst="rect">
            <a:avLst/>
          </a:prstGeom>
          <a:noFill/>
          <a:ln w="9525">
            <a:noFill/>
            <a:miter lim="800000"/>
            <a:headEnd/>
            <a:tailEnd/>
          </a:ln>
        </p:spPr>
      </p:pic>
      <p:sp>
        <p:nvSpPr>
          <p:cNvPr id="9" name="Rectangle 8"/>
          <p:cNvSpPr/>
          <p:nvPr userDrawn="1"/>
        </p:nvSpPr>
        <p:spPr>
          <a:xfrm>
            <a:off x="5943600" y="-25400"/>
            <a:ext cx="3200400" cy="4157663"/>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a:xfrm>
            <a:off x="451485" y="1583267"/>
            <a:ext cx="5026448"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49" y="2914276"/>
            <a:ext cx="5027083" cy="1048124"/>
          </a:xfrm>
        </p:spPr>
        <p:txBody>
          <a:bodyPr/>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25400"/>
            <a:ext cx="3200400" cy="4157663"/>
          </a:xfrm>
          <a:effectLst>
            <a:innerShdw blurRad="63500" dist="50800" dir="10800000">
              <a:prstClr val="black">
                <a:alpha val="50000"/>
              </a:prstClr>
            </a:innerShdw>
          </a:effectLst>
        </p:spPr>
        <p:txBody>
          <a:bodyPr rtlCol="0" anchor="ctr" anchorCtr="1">
            <a:noAutofit/>
          </a:bodyPr>
          <a:lstStyle>
            <a:lvl1pPr>
              <a:buFontTx/>
              <a:buNone/>
              <a:defRPr lang="en-US"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3"/>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9"/>
          <p:cNvGrpSpPr>
            <a:grpSpLocks/>
          </p:cNvGrpSpPr>
          <p:nvPr userDrawn="1"/>
        </p:nvGrpSpPr>
        <p:grpSpPr bwMode="auto">
          <a:xfrm>
            <a:off x="0" y="4629150"/>
            <a:ext cx="9144000" cy="168275"/>
            <a:chOff x="0" y="4629150"/>
            <a:chExt cx="9144000" cy="168275"/>
          </a:xfrm>
        </p:grpSpPr>
        <p:pic>
          <p:nvPicPr>
            <p:cNvPr id="7"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8"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a:xfrm>
            <a:off x="804981" y="245538"/>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2"/>
            <a:ext cx="7771752"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5" name="Rectangle 4"/>
          <p:cNvSpPr/>
          <p:nvPr/>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52065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8" name="Rectangle 7"/>
          <p:cNvSpPr/>
          <p:nvPr userDrawn="1"/>
        </p:nvSpPr>
        <p:spPr>
          <a:xfrm>
            <a:off x="0" y="0"/>
            <a:ext cx="9144000" cy="514349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pic>
        <p:nvPicPr>
          <p:cNvPr id="9" name="Picture 8" descr="O_signature_wht_rgb.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1" name="Title 1"/>
          <p:cNvSpPr>
            <a:spLocks noGrp="1"/>
          </p:cNvSpPr>
          <p:nvPr>
            <p:ph type="title"/>
          </p:nvPr>
        </p:nvSpPr>
        <p:spPr>
          <a:xfrm>
            <a:off x="802761" y="1571843"/>
            <a:ext cx="4709053" cy="1100723"/>
          </a:xfrm>
        </p:spPr>
        <p:txBody>
          <a:bodyPr/>
          <a:lstStyle>
            <a:lvl1pPr>
              <a:defRPr sz="2800" b="1">
                <a:ln w="0">
                  <a:noFill/>
                </a:ln>
                <a:solidFill>
                  <a:schemeClr val="tx1"/>
                </a:solidFill>
                <a:effectLst/>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0" y="4629150"/>
            <a:ext cx="9144000" cy="168275"/>
            <a:chOff x="0" y="4629150"/>
            <a:chExt cx="9144000" cy="168275"/>
          </a:xfrm>
        </p:grpSpPr>
        <p:pic>
          <p:nvPicPr>
            <p:cNvPr id="5"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5715000" y="0"/>
            <a:ext cx="3429000"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1" y="1571843"/>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4" name="Rectangle 3"/>
          <p:cNvSpPr/>
          <p:nvPr userDrawn="1"/>
        </p:nvSpPr>
        <p:spPr>
          <a:xfrm>
            <a:off x="0" y="1160463"/>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8"/>
          <p:cNvGrpSpPr>
            <a:grpSpLocks/>
          </p:cNvGrpSpPr>
          <p:nvPr userDrawn="1"/>
        </p:nvGrpSpPr>
        <p:grpSpPr bwMode="auto">
          <a:xfrm>
            <a:off x="0" y="4629150"/>
            <a:ext cx="9144000" cy="168275"/>
            <a:chOff x="0" y="4629150"/>
            <a:chExt cx="9144000" cy="168275"/>
          </a:xfrm>
        </p:grpSpPr>
        <p:pic>
          <p:nvPicPr>
            <p:cNvPr id="6"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804347" y="1459241"/>
            <a:ext cx="5029186" cy="2410019"/>
          </a:xfrm>
        </p:spPr>
        <p:txBody>
          <a:bodyPr>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lvl="0"/>
            <a:r>
              <a:rPr lang="en-US" smtClean="0"/>
              <a:t>Click to edit Master text styles</a:t>
            </a:r>
          </a:p>
          <a:p>
            <a:pPr lvl="1"/>
            <a:r>
              <a:rPr lang="en-US" smtClean="0"/>
              <a:t>Second level</a:t>
            </a:r>
          </a:p>
        </p:txBody>
      </p:sp>
      <p:sp>
        <p:nvSpPr>
          <p:cNvPr id="12" name="Picture Placeholder 11"/>
          <p:cNvSpPr>
            <a:spLocks noGrp="1"/>
          </p:cNvSpPr>
          <p:nvPr>
            <p:ph type="pic" sz="quarter" idx="12"/>
          </p:nvPr>
        </p:nvSpPr>
        <p:spPr>
          <a:xfrm>
            <a:off x="5941222" y="0"/>
            <a:ext cx="3064933" cy="4629150"/>
          </a:xfrm>
          <a:ln>
            <a:noFill/>
          </a:ln>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5" name="Rectangle 4"/>
          <p:cNvSpPr/>
          <p:nvPr userDrawn="1"/>
        </p:nvSpPr>
        <p:spPr>
          <a:xfrm>
            <a:off x="2990850" y="1160463"/>
            <a:ext cx="615315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3443821" y="1430281"/>
            <a:ext cx="5369979" cy="2523657"/>
          </a:xfrm>
        </p:spPr>
        <p:txBody>
          <a:bodyPr/>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
        <p:nvSpPr>
          <p:cNvPr id="6" name="Picture Placeholder 11"/>
          <p:cNvSpPr>
            <a:spLocks noGrp="1"/>
          </p:cNvSpPr>
          <p:nvPr>
            <p:ph type="pic" sz="quarter" idx="13"/>
          </p:nvPr>
        </p:nvSpPr>
        <p:spPr>
          <a:xfrm>
            <a:off x="6351" y="1159936"/>
            <a:ext cx="2944368" cy="2971800"/>
          </a:xfrm>
          <a:ln>
            <a:noFill/>
          </a:ln>
          <a:effectLst>
            <a:reflection stA="30000" endPos="4000" dir="5400000" sy="-100000" algn="bl" rotWithShape="0"/>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6" name="Rectangle 5"/>
          <p:cNvSpPr/>
          <p:nvPr userDrawn="1"/>
        </p:nvSpPr>
        <p:spPr>
          <a:xfrm>
            <a:off x="0" y="1716088"/>
            <a:ext cx="4284663" cy="24209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bwMode="auto">
          <a:xfrm>
            <a:off x="1588" y="1157288"/>
            <a:ext cx="4291012" cy="550862"/>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ea typeface="ＭＳ Ｐゴシック" pitchFamily="34" charset="-128"/>
              <a:cs typeface="Arial" charset="0"/>
            </a:endParaRPr>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6" name="Picture Placeholder 25"/>
          <p:cNvSpPr>
            <a:spLocks noGrp="1"/>
          </p:cNvSpPr>
          <p:nvPr>
            <p:ph type="pic" sz="quarter" idx="15"/>
          </p:nvPr>
        </p:nvSpPr>
        <p:spPr>
          <a:xfrm>
            <a:off x="4318000" y="1156648"/>
            <a:ext cx="4825998" cy="2971800"/>
          </a:xfrm>
          <a:effectLst>
            <a:reflection blurRad="63500" stA="50000" endPos="7000" dir="5400000" sy="-100000" algn="bl" rotWithShape="0"/>
          </a:effectLst>
        </p:spPr>
        <p:txBody>
          <a:bodyPr rtlCol="0" anchor="ctr" anchorCtr="1">
            <a:noAutofit/>
          </a:bodyPr>
          <a:lstStyle>
            <a:lvl1pPr marL="0" indent="0" algn="ctr">
              <a:buNone/>
              <a:defRPr/>
            </a:lvl1pPr>
          </a:lstStyle>
          <a:p>
            <a:pPr lvl="0"/>
            <a:r>
              <a:rPr lang="en-US" noProof="0" dirty="0" smtClean="0"/>
              <a:t>Click icon to add picture</a:t>
            </a:r>
            <a:endParaRPr lang="en-US" noProof="0"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p:nvPr>
        </p:nvSpPr>
        <p:spPr>
          <a:xfrm>
            <a:off x="804346" y="1163620"/>
            <a:ext cx="3412068" cy="544351"/>
          </a:xfrm>
          <a:noFill/>
        </p:spPr>
        <p:txBody>
          <a:bodyPr anchor="ctr">
            <a:noAutofit/>
          </a:bodyPr>
          <a:lstStyle>
            <a:lvl1pPr marL="0" indent="0">
              <a:buNone/>
              <a:defRPr sz="2000" b="1" cap="none" baseline="0">
                <a:solidFill>
                  <a:schemeClr val="bg1"/>
                </a:solidFill>
              </a:defRPr>
            </a:lvl1pPr>
          </a:lstStyle>
          <a:p>
            <a:pPr lvl="0"/>
            <a:r>
              <a:rPr lang="en-US" smtClean="0"/>
              <a:t>Click to edit Master text styles</a:t>
            </a:r>
          </a:p>
        </p:txBody>
      </p:sp>
      <p:sp>
        <p:nvSpPr>
          <p:cNvPr id="11" name="Title 1"/>
          <p:cNvSpPr>
            <a:spLocks noGrp="1"/>
          </p:cNvSpPr>
          <p:nvPr>
            <p:ph type="title"/>
          </p:nvPr>
        </p:nvSpPr>
        <p:spPr>
          <a:xfrm>
            <a:off x="804346" y="245538"/>
            <a:ext cx="8221121"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5" name="Rectangle 4"/>
          <p:cNvSpPr/>
          <p:nvPr userDrawn="1"/>
        </p:nvSpPr>
        <p:spPr>
          <a:xfrm>
            <a:off x="0" y="1160463"/>
            <a:ext cx="9144000" cy="2971800"/>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6" name="Rectangle 5"/>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ext Placeholder 9"/>
          <p:cNvSpPr>
            <a:spLocks noGrp="1"/>
          </p:cNvSpPr>
          <p:nvPr>
            <p:ph type="body" sz="quarter" idx="11"/>
          </p:nvPr>
        </p:nvSpPr>
        <p:spPr>
          <a:xfrm>
            <a:off x="797999" y="1422404"/>
            <a:ext cx="7617881" cy="1354667"/>
          </a:xfrm>
        </p:spPr>
        <p:txBody>
          <a:bodyPr>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p:nvPr>
        </p:nvSpPr>
        <p:spPr>
          <a:xfrm>
            <a:off x="899602" y="2844803"/>
            <a:ext cx="3994149" cy="443953"/>
          </a:xfrm>
          <a:noFill/>
        </p:spPr>
        <p:txBody>
          <a:bodyPr anchor="b">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8" name="Text Placeholder 22"/>
          <p:cNvSpPr>
            <a:spLocks noGrp="1"/>
          </p:cNvSpPr>
          <p:nvPr>
            <p:ph type="body" sz="quarter" idx="17"/>
          </p:nvPr>
        </p:nvSpPr>
        <p:spPr>
          <a:xfrm>
            <a:off x="899602" y="3343623"/>
            <a:ext cx="3994149" cy="703448"/>
          </a:xfrm>
          <a:noFill/>
        </p:spPr>
        <p:txBody>
          <a:bodyPr>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5" name="Rectangle 26"/>
          <p:cNvSpPr>
            <a:spLocks noChangeArrowheads="1"/>
          </p:cNvSpPr>
          <p:nvPr userDrawn="1"/>
        </p:nvSpPr>
        <p:spPr bwMode="auto">
          <a:xfrm flipH="1">
            <a:off x="3171825" y="1117600"/>
            <a:ext cx="26988" cy="3155950"/>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a:defRPr/>
            </a:pPr>
            <a:endParaRPr lang="en-US" dirty="0">
              <a:solidFill>
                <a:srgbClr val="000000"/>
              </a:solidFill>
              <a:cs typeface="Arial" charset="0"/>
            </a:endParaRPr>
          </a:p>
        </p:txBody>
      </p:sp>
      <p:sp>
        <p:nvSpPr>
          <p:cNvPr id="6" name="Rectangle 5"/>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2" name="Text Placeholder 22"/>
          <p:cNvSpPr>
            <a:spLocks noGrp="1"/>
          </p:cNvSpPr>
          <p:nvPr>
            <p:ph type="body" sz="quarter" idx="16"/>
          </p:nvPr>
        </p:nvSpPr>
        <p:spPr>
          <a:xfrm>
            <a:off x="457201" y="1517907"/>
            <a:ext cx="2607406" cy="2488686"/>
          </a:xfrm>
          <a:noFill/>
        </p:spPr>
        <p:txBody>
          <a:bodyPr anchor="ctr">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smtClean="0"/>
              <a:t>Click to edit Master text styles</a:t>
            </a:r>
          </a:p>
        </p:txBody>
      </p:sp>
      <p:sp>
        <p:nvSpPr>
          <p:cNvPr id="3" name="Chart Placeholder 2"/>
          <p:cNvSpPr>
            <a:spLocks noGrp="1"/>
          </p:cNvSpPr>
          <p:nvPr>
            <p:ph type="chart" sz="quarter" idx="17"/>
          </p:nvPr>
        </p:nvSpPr>
        <p:spPr>
          <a:xfrm>
            <a:off x="3482976" y="1123950"/>
            <a:ext cx="5236560" cy="3284538"/>
          </a:xfrm>
        </p:spPr>
        <p:txBody>
          <a:bodyPr rtlCol="0" anchor="ctr" anchorCtr="1">
            <a:noAutofit/>
          </a:bodyPr>
          <a:lstStyle>
            <a:lvl1pPr marL="60325" indent="0" algn="ctr">
              <a:buNone/>
              <a:defRPr/>
            </a:lvl1pPr>
          </a:lstStyle>
          <a:p>
            <a:pPr lvl="0"/>
            <a:r>
              <a:rPr lang="en-US" noProof="0" dirty="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cstate="screen"/>
          <a:srcRect/>
          <a:stretch>
            <a:fillRect/>
          </a:stretch>
        </p:blipFill>
        <p:spPr bwMode="auto">
          <a:xfrm>
            <a:off x="0" y="0"/>
            <a:ext cx="9144000" cy="5143500"/>
          </a:xfrm>
          <a:prstGeom prst="rect">
            <a:avLst/>
          </a:prstGeom>
          <a:noFill/>
          <a:ln w="9525">
            <a:noFill/>
            <a:miter lim="800000"/>
            <a:headEnd/>
            <a:tailEnd/>
          </a:ln>
        </p:spPr>
      </p:pic>
      <p:grpSp>
        <p:nvGrpSpPr>
          <p:cNvPr id="3" name="Group 4"/>
          <p:cNvGrpSpPr>
            <a:grpSpLocks/>
          </p:cNvGrpSpPr>
          <p:nvPr userDrawn="1"/>
        </p:nvGrpSpPr>
        <p:grpSpPr bwMode="auto">
          <a:xfrm>
            <a:off x="2103438" y="1774825"/>
            <a:ext cx="4937125" cy="1593850"/>
            <a:chOff x="2113332" y="1464413"/>
            <a:chExt cx="4936386" cy="1595045"/>
          </a:xfrm>
        </p:grpSpPr>
        <p:pic>
          <p:nvPicPr>
            <p:cNvPr id="4" name="Picture 10"/>
            <p:cNvPicPr>
              <a:picLocks noChangeAspect="1"/>
            </p:cNvPicPr>
            <p:nvPr/>
          </p:nvPicPr>
          <p:blipFill>
            <a:blip r:embed="rId2" cstate="screen"/>
            <a:srcRect/>
            <a:stretch>
              <a:fillRect/>
            </a:stretch>
          </p:blipFill>
          <p:spPr bwMode="auto">
            <a:xfrm>
              <a:off x="2113332" y="1464413"/>
              <a:ext cx="4936386" cy="1595045"/>
            </a:xfrm>
            <a:prstGeom prst="rect">
              <a:avLst/>
            </a:prstGeom>
            <a:noFill/>
            <a:ln w="9525">
              <a:noFill/>
              <a:miter lim="800000"/>
              <a:headEnd/>
              <a:tailEnd/>
            </a:ln>
          </p:spPr>
        </p:pic>
        <p:pic>
          <p:nvPicPr>
            <p:cNvPr id="5" name="Picture 1034" descr="HSET_clr_rgb"/>
            <p:cNvPicPr>
              <a:picLocks noChangeAspect="1" noChangeArrowheads="1"/>
            </p:cNvPicPr>
            <p:nvPr/>
          </p:nvPicPr>
          <p:blipFill>
            <a:blip r:embed="rId3" cstate="screen"/>
            <a:srcRect/>
            <a:stretch>
              <a:fillRect/>
            </a:stretch>
          </p:blipFill>
          <p:spPr bwMode="auto">
            <a:xfrm>
              <a:off x="2481263" y="1700213"/>
              <a:ext cx="4179887" cy="1198562"/>
            </a:xfrm>
            <a:prstGeom prst="rect">
              <a:avLst/>
            </a:prstGeom>
            <a:noFill/>
            <a:ln w="9525">
              <a:noFill/>
              <a:miter lim="800000"/>
              <a:headEnd/>
              <a:tailEnd/>
            </a:ln>
          </p:spPr>
        </p:pic>
      </p:grpSp>
    </p:spTree>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cstate="screen"/>
          <a:srcRect/>
          <a:stretch>
            <a:fillRect/>
          </a:stretch>
        </p:blipFill>
        <p:spPr bwMode="auto">
          <a:xfrm>
            <a:off x="0" y="0"/>
            <a:ext cx="9144000" cy="5143500"/>
          </a:xfrm>
          <a:prstGeom prst="rect">
            <a:avLst/>
          </a:prstGeom>
          <a:noFill/>
          <a:ln w="9525">
            <a:noFill/>
            <a:miter lim="800000"/>
            <a:headEnd/>
            <a:tailEnd/>
          </a:ln>
        </p:spPr>
      </p:pic>
      <p:pic>
        <p:nvPicPr>
          <p:cNvPr id="3" name="Picture 20" descr="O_signature_clr_rgb.jpg"/>
          <p:cNvPicPr>
            <a:picLocks noChangeAspect="1"/>
          </p:cNvPicPr>
          <p:nvPr/>
        </p:nvPicPr>
        <p:blipFill>
          <a:blip r:embed="rId3" cstate="screen"/>
          <a:srcRect/>
          <a:stretch>
            <a:fillRect/>
          </a:stretch>
        </p:blipFill>
        <p:spPr bwMode="auto">
          <a:xfrm>
            <a:off x="855663" y="1328738"/>
            <a:ext cx="7315200" cy="2249487"/>
          </a:xfrm>
          <a:prstGeom prst="rect">
            <a:avLst/>
          </a:prstGeom>
          <a:noFill/>
          <a:ln w="9525">
            <a:noFill/>
            <a:miter lim="800000"/>
            <a:headEnd/>
            <a:tailEnd/>
          </a:ln>
        </p:spPr>
      </p:pic>
    </p:spTree>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3" name="Rectangle 2"/>
          <p:cNvSpPr/>
          <p:nvPr userDrawn="1"/>
        </p:nvSpPr>
        <p:spPr>
          <a:xfrm>
            <a:off x="0" y="4530725"/>
            <a:ext cx="9144000" cy="35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0" y="1571843"/>
            <a:ext cx="5030787" cy="1100723"/>
          </a:xfrm>
        </p:spPr>
        <p:txBody>
          <a:bodyPr/>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7" name="Rectangle 6"/>
          <p:cNvSpPr/>
          <p:nvPr/>
        </p:nvSpPr>
        <p:spPr>
          <a:xfrm>
            <a:off x="1" y="4488414"/>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nchor="t" anchorCtr="0"/>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116149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4" name="Rectangle 3"/>
          <p:cNvSpPr/>
          <p:nvPr/>
        </p:nvSpPr>
        <p:spPr>
          <a:xfrm>
            <a:off x="0" y="4530725"/>
            <a:ext cx="9144000" cy="35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5" name="Rectangle 4"/>
          <p:cNvSpPr/>
          <p:nvPr/>
        </p:nvSpPr>
        <p:spPr>
          <a:xfrm>
            <a:off x="0" y="4487863"/>
            <a:ext cx="9144000" cy="35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70882423"/>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572"/>
            <a:ext cx="8139112" cy="318691"/>
          </a:xfrm>
        </p:spPr>
        <p:txBody>
          <a:bodyPr/>
          <a:lstStyle>
            <a:lvl1pPr marL="0" indent="0">
              <a:buNone/>
              <a:defRPr sz="2400">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a:xfrm>
            <a:off x="6037593" y="4791845"/>
            <a:ext cx="2895600" cy="274637"/>
          </a:xfrm>
          <a:prstGeom prst="rect">
            <a:avLst/>
          </a:prstGeom>
        </p:spPr>
        <p:txBody>
          <a:bodyPr/>
          <a:lstStyle>
            <a:lvl1pPr>
              <a:defRPr/>
            </a:lvl1pPr>
          </a:lstStyle>
          <a:p>
            <a:pPr fontAlgn="base">
              <a:spcBef>
                <a:spcPct val="0"/>
              </a:spcBef>
              <a:spcAft>
                <a:spcPct val="0"/>
              </a:spcAft>
              <a:buClr>
                <a:srgbClr val="829E7E"/>
              </a:buClr>
              <a:defRPr/>
            </a:pPr>
            <a:endParaRPr lang="en-US" dirty="0">
              <a:solidFill>
                <a:srgbClr val="000000">
                  <a:tint val="75000"/>
                </a:srgbClr>
              </a:solidFill>
              <a:cs typeface="Arial" charset="0"/>
            </a:endParaRPr>
          </a:p>
        </p:txBody>
      </p:sp>
    </p:spTree>
    <p:extLst>
      <p:ext uri="{BB962C8B-B14F-4D97-AF65-F5344CB8AC3E}">
        <p14:creationId xmlns:p14="http://schemas.microsoft.com/office/powerpoint/2010/main" val="1422689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898422" y="1200150"/>
            <a:ext cx="7537450" cy="3257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167596"/>
            <a:ext cx="7772400" cy="433871"/>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1653648"/>
            <a:ext cx="6400800" cy="1314450"/>
          </a:xfrm>
        </p:spPr>
        <p:txBody>
          <a:bodyPr/>
          <a:lstStyle>
            <a:lvl1pPr marL="0" indent="0" algn="l">
              <a:buNone/>
              <a:defRPr>
                <a:solidFill>
                  <a:schemeClr val="bg1">
                    <a:lumMod val="75000"/>
                  </a:schemeClr>
                </a:solidFill>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2" indent="0" algn="ctr">
              <a:buNone/>
              <a:defRPr>
                <a:solidFill>
                  <a:schemeClr val="tx1">
                    <a:tint val="75000"/>
                  </a:schemeClr>
                </a:solidFill>
              </a:defRPr>
            </a:lvl5pPr>
            <a:lvl6pPr marL="2285766" indent="0" algn="ctr">
              <a:buNone/>
              <a:defRPr>
                <a:solidFill>
                  <a:schemeClr val="tx1">
                    <a:tint val="75000"/>
                  </a:schemeClr>
                </a:solidFill>
              </a:defRPr>
            </a:lvl6pPr>
            <a:lvl7pPr marL="2742919"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4847780"/>
            <a:ext cx="4067880" cy="216024"/>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306"/>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306"/>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4350878" y="4857635"/>
            <a:ext cx="4499928" cy="216024"/>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91431" tIns="91431" rIns="91431" bIns="91431" rtlCol="0" anchor="ctr"/>
          <a:lstStyle/>
          <a:p>
            <a:pPr algn="ctr" defTabSz="914306"/>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4771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365248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54" indent="0">
              <a:buNone/>
              <a:defRPr sz="1800">
                <a:solidFill>
                  <a:schemeClr val="tx1">
                    <a:tint val="75000"/>
                  </a:schemeClr>
                </a:solidFill>
              </a:defRPr>
            </a:lvl2pPr>
            <a:lvl3pPr marL="914306" indent="0">
              <a:buNone/>
              <a:defRPr sz="1600">
                <a:solidFill>
                  <a:schemeClr val="tx1">
                    <a:tint val="75000"/>
                  </a:schemeClr>
                </a:solidFill>
              </a:defRPr>
            </a:lvl3pPr>
            <a:lvl4pPr marL="1371460" indent="0">
              <a:buNone/>
              <a:defRPr sz="1400">
                <a:solidFill>
                  <a:schemeClr val="tx1">
                    <a:tint val="75000"/>
                  </a:schemeClr>
                </a:solidFill>
              </a:defRPr>
            </a:lvl4pPr>
            <a:lvl5pPr marL="1828612" indent="0">
              <a:buNone/>
              <a:defRPr sz="1400">
                <a:solidFill>
                  <a:schemeClr val="tx1">
                    <a:tint val="75000"/>
                  </a:schemeClr>
                </a:solidFill>
              </a:defRPr>
            </a:lvl5pPr>
            <a:lvl6pPr marL="2285766" indent="0">
              <a:buNone/>
              <a:defRPr sz="1400">
                <a:solidFill>
                  <a:schemeClr val="tx1">
                    <a:tint val="75000"/>
                  </a:schemeClr>
                </a:solidFill>
              </a:defRPr>
            </a:lvl6pPr>
            <a:lvl7pPr marL="2742919" indent="0">
              <a:buNone/>
              <a:defRPr sz="1400">
                <a:solidFill>
                  <a:schemeClr val="tx1">
                    <a:tint val="75000"/>
                  </a:schemeClr>
                </a:solidFill>
              </a:defRPr>
            </a:lvl7pPr>
            <a:lvl8pPr marL="3200072" indent="0">
              <a:buNone/>
              <a:defRPr sz="1400">
                <a:solidFill>
                  <a:schemeClr val="tx1">
                    <a:tint val="75000"/>
                  </a:schemeClr>
                </a:solidFill>
              </a:defRPr>
            </a:lvl8pPr>
            <a:lvl9pPr marL="3657226"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78311346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113588"/>
            <a:ext cx="7772400" cy="1021556"/>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202694"/>
            <a:ext cx="7772400" cy="1125140"/>
          </a:xfrm>
        </p:spPr>
        <p:txBody>
          <a:bodyPr anchor="t"/>
          <a:lstStyle>
            <a:lvl1pPr marL="0" indent="0">
              <a:buNone/>
              <a:defRPr sz="2000">
                <a:solidFill>
                  <a:schemeClr val="bg1"/>
                </a:solidFill>
              </a:defRPr>
            </a:lvl1pPr>
            <a:lvl2pPr marL="457154" indent="0">
              <a:buNone/>
              <a:defRPr sz="1800">
                <a:solidFill>
                  <a:schemeClr val="tx1">
                    <a:tint val="75000"/>
                  </a:schemeClr>
                </a:solidFill>
              </a:defRPr>
            </a:lvl2pPr>
            <a:lvl3pPr marL="914306" indent="0">
              <a:buNone/>
              <a:defRPr sz="1600">
                <a:solidFill>
                  <a:schemeClr val="tx1">
                    <a:tint val="75000"/>
                  </a:schemeClr>
                </a:solidFill>
              </a:defRPr>
            </a:lvl3pPr>
            <a:lvl4pPr marL="1371460" indent="0">
              <a:buNone/>
              <a:defRPr sz="1400">
                <a:solidFill>
                  <a:schemeClr val="tx1">
                    <a:tint val="75000"/>
                  </a:schemeClr>
                </a:solidFill>
              </a:defRPr>
            </a:lvl4pPr>
            <a:lvl5pPr marL="1828612" indent="0">
              <a:buNone/>
              <a:defRPr sz="1400">
                <a:solidFill>
                  <a:schemeClr val="tx1">
                    <a:tint val="75000"/>
                  </a:schemeClr>
                </a:solidFill>
              </a:defRPr>
            </a:lvl5pPr>
            <a:lvl6pPr marL="2285766" indent="0">
              <a:buNone/>
              <a:defRPr sz="1400">
                <a:solidFill>
                  <a:schemeClr val="tx1">
                    <a:tint val="75000"/>
                  </a:schemeClr>
                </a:solidFill>
              </a:defRPr>
            </a:lvl6pPr>
            <a:lvl7pPr marL="2742919" indent="0">
              <a:buNone/>
              <a:defRPr sz="1400">
                <a:solidFill>
                  <a:schemeClr val="tx1">
                    <a:tint val="75000"/>
                  </a:schemeClr>
                </a:solidFill>
              </a:defRPr>
            </a:lvl7pPr>
            <a:lvl8pPr marL="3200072" indent="0">
              <a:buNone/>
              <a:defRPr sz="1400">
                <a:solidFill>
                  <a:schemeClr val="tx1">
                    <a:tint val="75000"/>
                  </a:schemeClr>
                </a:solidFill>
              </a:defRPr>
            </a:lvl8pPr>
            <a:lvl9pPr marL="3657226"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410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spd="med">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08858544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1" y="1151335"/>
            <a:ext cx="4040188" cy="479822"/>
          </a:xfrm>
        </p:spPr>
        <p:txBody>
          <a:bodyPr anchor="b"/>
          <a:lstStyle>
            <a:lvl1pPr marL="0" indent="0">
              <a:buNone/>
              <a:defRPr sz="2400" b="1"/>
            </a:lvl1pPr>
            <a:lvl2pPr marL="457154" indent="0">
              <a:buNone/>
              <a:defRPr sz="2000" b="1"/>
            </a:lvl2pPr>
            <a:lvl3pPr marL="914306" indent="0">
              <a:buNone/>
              <a:defRPr sz="1800" b="1"/>
            </a:lvl3pPr>
            <a:lvl4pPr marL="1371460" indent="0">
              <a:buNone/>
              <a:defRPr sz="1600" b="1"/>
            </a:lvl4pPr>
            <a:lvl5pPr marL="1828612" indent="0">
              <a:buNone/>
              <a:defRPr sz="1600" b="1"/>
            </a:lvl5pPr>
            <a:lvl6pPr marL="2285766" indent="0">
              <a:buNone/>
              <a:defRPr sz="1600" b="1"/>
            </a:lvl6pPr>
            <a:lvl7pPr marL="2742919" indent="0">
              <a:buNone/>
              <a:defRPr sz="1600" b="1"/>
            </a:lvl7pPr>
            <a:lvl8pPr marL="3200072" indent="0">
              <a:buNone/>
              <a:defRPr sz="1600" b="1"/>
            </a:lvl8pPr>
            <a:lvl9pPr marL="3657226"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7" y="1151335"/>
            <a:ext cx="4041775" cy="479822"/>
          </a:xfrm>
        </p:spPr>
        <p:txBody>
          <a:bodyPr anchor="b"/>
          <a:lstStyle>
            <a:lvl1pPr marL="0" indent="0">
              <a:buNone/>
              <a:defRPr sz="2400" b="1"/>
            </a:lvl1pPr>
            <a:lvl2pPr marL="457154" indent="0">
              <a:buNone/>
              <a:defRPr sz="2000" b="1"/>
            </a:lvl2pPr>
            <a:lvl3pPr marL="914306" indent="0">
              <a:buNone/>
              <a:defRPr sz="1800" b="1"/>
            </a:lvl3pPr>
            <a:lvl4pPr marL="1371460" indent="0">
              <a:buNone/>
              <a:defRPr sz="1600" b="1"/>
            </a:lvl4pPr>
            <a:lvl5pPr marL="1828612" indent="0">
              <a:buNone/>
              <a:defRPr sz="1600" b="1"/>
            </a:lvl5pPr>
            <a:lvl6pPr marL="2285766" indent="0">
              <a:buNone/>
              <a:defRPr sz="1600" b="1"/>
            </a:lvl6pPr>
            <a:lvl7pPr marL="2742919" indent="0">
              <a:buNone/>
              <a:defRPr sz="1600" b="1"/>
            </a:lvl7pPr>
            <a:lvl8pPr marL="3200072" indent="0">
              <a:buNone/>
              <a:defRPr sz="1600" b="1"/>
            </a:lvl8pPr>
            <a:lvl9pPr marL="3657226"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2429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92468122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79947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076327"/>
            <a:ext cx="3008313" cy="3518297"/>
          </a:xfrm>
        </p:spPr>
        <p:txBody>
          <a:bodyPr/>
          <a:lstStyle>
            <a:lvl1pPr marL="0" indent="0">
              <a:buNone/>
              <a:defRPr sz="1400"/>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1237162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4025504"/>
            <a:ext cx="5486400" cy="603647"/>
          </a:xfrm>
        </p:spPr>
        <p:txBody>
          <a:bodyPr/>
          <a:lstStyle>
            <a:lvl1pPr marL="0" indent="0">
              <a:buNone/>
              <a:defRPr sz="1400"/>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428361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3694417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374420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nchor="t" anchorCtr="0"/>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790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22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722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49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5943598" y="0"/>
            <a:ext cx="3200402"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8" name="Picture 7"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7" name="Title 1"/>
          <p:cNvSpPr>
            <a:spLocks noGrp="1"/>
          </p:cNvSpPr>
          <p:nvPr>
            <p:ph type="title" hasCustomPrompt="1"/>
          </p:nvPr>
        </p:nvSpPr>
        <p:spPr bwMode="white">
          <a:xfrm>
            <a:off x="451484" y="1583267"/>
            <a:ext cx="5026449"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bwMode="white">
          <a:xfrm>
            <a:off x="450849" y="2914276"/>
            <a:ext cx="5027083" cy="1048124"/>
          </a:xfrm>
        </p:spPr>
        <p:txBody>
          <a:bodyPr lIns="0" tIns="0"/>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5943600" y="0"/>
            <a:ext cx="3200400" cy="5143500"/>
          </a:xfrm>
          <a:effectLst>
            <a:innerShdw blurRad="63500" dist="50800" dir="10800000">
              <a:prstClr val="black">
                <a:alpha val="50000"/>
              </a:prstClr>
            </a:innerShdw>
          </a:effectLst>
        </p:spPr>
        <p:txBody>
          <a:bodyPr anchor="ctr" anchorCtr="1"/>
          <a:lstStyle>
            <a:lvl1pPr marL="60325" indent="0">
              <a:buFontTx/>
              <a:buNone/>
              <a:defRPr baseline="0">
                <a:solidFill>
                  <a:schemeClr val="bg1"/>
                </a:solidFill>
              </a:defRPr>
            </a:lvl1pPr>
          </a:lstStyle>
          <a:p>
            <a:r>
              <a:rPr lang="en-US" dirty="0" smtClean="0"/>
              <a:t>Insert Picture Here</a:t>
            </a:r>
            <a:endParaRPr lang="en-US" dirty="0"/>
          </a:p>
        </p:txBody>
      </p:sp>
    </p:spTree>
    <p:extLst>
      <p:ext uri="{BB962C8B-B14F-4D97-AF65-F5344CB8AC3E}">
        <p14:creationId xmlns:p14="http://schemas.microsoft.com/office/powerpoint/2010/main" val="341113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24964"/>
            <a:ext cx="9144000" cy="516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0" y="-24964"/>
            <a:ext cx="9144000" cy="4157107"/>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1" name="Rectangle 10"/>
          <p:cNvSpPr/>
          <p:nvPr userDrawn="1"/>
        </p:nvSpPr>
        <p:spPr>
          <a:xfrm>
            <a:off x="5943598" y="-24964"/>
            <a:ext cx="3200402" cy="4157107"/>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Title 1"/>
          <p:cNvSpPr>
            <a:spLocks noGrp="1"/>
          </p:cNvSpPr>
          <p:nvPr>
            <p:ph type="title" hasCustomPrompt="1"/>
          </p:nvPr>
        </p:nvSpPr>
        <p:spPr bwMode="white">
          <a:xfrm>
            <a:off x="451485" y="1583267"/>
            <a:ext cx="5026448"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bwMode="white">
          <a:xfrm>
            <a:off x="450849" y="2914276"/>
            <a:ext cx="5027083" cy="1048124"/>
          </a:xfrm>
        </p:spPr>
        <p:txBody>
          <a:bodyPr lIns="0" tIns="0"/>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5943600" y="-25400"/>
            <a:ext cx="3200400" cy="4157663"/>
          </a:xfrm>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60325" lvl="0" indent="0">
              <a:buFontTx/>
              <a:buNone/>
            </a:pPr>
            <a:r>
              <a:rPr lang="en-US" dirty="0" smtClean="0"/>
              <a:t>Insert Picture Here</a:t>
            </a:r>
            <a:endParaRPr lang="en-US" dirty="0"/>
          </a:p>
        </p:txBody>
      </p:sp>
    </p:spTree>
    <p:extLst>
      <p:ext uri="{BB962C8B-B14F-4D97-AF65-F5344CB8AC3E}">
        <p14:creationId xmlns:p14="http://schemas.microsoft.com/office/powerpoint/2010/main" val="213358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159938"/>
            <a:ext cx="9143998" cy="2980266"/>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Title 1"/>
          <p:cNvSpPr>
            <a:spLocks noGrp="1"/>
          </p:cNvSpPr>
          <p:nvPr userDrawn="1">
            <p:ph type="title"/>
          </p:nvPr>
        </p:nvSpPr>
        <p:spPr>
          <a:xfrm>
            <a:off x="804981" y="245538"/>
            <a:ext cx="7771752" cy="761995"/>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userDrawn="1">
            <p:ph type="body" sz="quarter" idx="13"/>
          </p:nvPr>
        </p:nvSpPr>
        <p:spPr>
          <a:xfrm>
            <a:off x="804981" y="1363132"/>
            <a:ext cx="7771752" cy="2616201"/>
          </a:xfrm>
        </p:spPr>
        <p:txBody>
          <a:bodyPr lIns="0" tIns="0"/>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grpSp>
        <p:nvGrpSpPr>
          <p:cNvPr id="2" name="Group 9"/>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2"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3" name="Rectangle 12"/>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68214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53" cy="1100723"/>
          </a:xfrm>
        </p:spPr>
        <p:txBody>
          <a:bodyPr anchor="t" anchorCtr="0"/>
          <a:lstStyle>
            <a:lvl1pPr>
              <a:defRPr sz="2800" b="1">
                <a:ln w="0">
                  <a:noFill/>
                </a:ln>
                <a:solidFill>
                  <a:schemeClr val="tx1"/>
                </a:solidFill>
                <a:effectLst/>
              </a:defRPr>
            </a:lvl1pPr>
          </a:lstStyle>
          <a:p>
            <a:r>
              <a:rPr lang="en-US" dirty="0" smtClean="0"/>
              <a:t>Click to edit text </a:t>
            </a:r>
            <a:endParaRPr lang="en-US" dirty="0"/>
          </a:p>
        </p:txBody>
      </p:sp>
      <p:sp>
        <p:nvSpPr>
          <p:cNvPr id="12" name="Rectangle 11"/>
          <p:cNvSpPr/>
          <p:nvPr userDrawn="1"/>
        </p:nvSpPr>
        <p:spPr>
          <a:xfrm>
            <a:off x="5715000" y="0"/>
            <a:ext cx="3429000" cy="4631267"/>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2"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93455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16" name="Rectangle 15"/>
          <p:cNvSpPr/>
          <p:nvPr userDrawn="1"/>
        </p:nvSpPr>
        <p:spPr>
          <a:xfrm>
            <a:off x="5715000" y="0"/>
            <a:ext cx="3429000" cy="4631267"/>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Title 1"/>
          <p:cNvSpPr>
            <a:spLocks noGrp="1"/>
          </p:cNvSpPr>
          <p:nvPr>
            <p:ph type="title" hasCustomPrompt="1"/>
          </p:nvPr>
        </p:nvSpPr>
        <p:spPr>
          <a:xfrm>
            <a:off x="802761" y="1571843"/>
            <a:ext cx="4709040" cy="1100723"/>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dirty="0" smtClean="0"/>
              <a:t>Click to edit text </a:t>
            </a:r>
            <a:endParaRPr lang="en-US" dirty="0"/>
          </a:p>
        </p:txBody>
      </p:sp>
      <p:sp>
        <p:nvSpPr>
          <p:cNvPr id="10" name="Picture Placeholder 11"/>
          <p:cNvSpPr>
            <a:spLocks noGrp="1"/>
          </p:cNvSpPr>
          <p:nvPr>
            <p:ph type="pic" sz="quarter" idx="12" hasCustomPrompt="1"/>
          </p:nvPr>
        </p:nvSpPr>
        <p:spPr>
          <a:xfrm>
            <a:off x="5715000" y="-2117"/>
            <a:ext cx="3429000" cy="4629150"/>
          </a:xfrm>
          <a:ln>
            <a:noFill/>
          </a:ln>
          <a:effectLst/>
        </p:spPr>
        <p:txBody>
          <a:bodyPr anchor="ctr" anchorCtr="0"/>
          <a:lstStyle>
            <a:lvl1pPr marL="0" indent="0" algn="ctr">
              <a:buNone/>
              <a:defRPr>
                <a:ln>
                  <a:noFill/>
                </a:ln>
                <a:solidFill>
                  <a:schemeClr val="tx2"/>
                </a:solidFill>
              </a:defRPr>
            </a:lvl1pPr>
          </a:lstStyle>
          <a:p>
            <a:r>
              <a:rPr lang="en-US" dirty="0" smtClean="0"/>
              <a:t>Insert Picture Here</a:t>
            </a:r>
            <a:endParaRPr lang="en-US" dirty="0"/>
          </a:p>
        </p:txBody>
      </p:sp>
      <p:grpSp>
        <p:nvGrpSpPr>
          <p:cNvPr id="2"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23997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15" name="Rectangle 14"/>
          <p:cNvSpPr/>
          <p:nvPr userDrawn="1"/>
        </p:nvSpPr>
        <p:spPr>
          <a:xfrm>
            <a:off x="-2" y="1159938"/>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Text Placeholder 9"/>
          <p:cNvSpPr>
            <a:spLocks noGrp="1"/>
          </p:cNvSpPr>
          <p:nvPr>
            <p:ph type="body" sz="quarter" idx="11" hasCustomPrompt="1"/>
          </p:nvPr>
        </p:nvSpPr>
        <p:spPr>
          <a:xfrm>
            <a:off x="804347" y="1459241"/>
            <a:ext cx="5029186" cy="2410019"/>
          </a:xfrm>
        </p:spPr>
        <p:txBody>
          <a:bodyPr anchor="t" anchorCtr="0">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r>
              <a:rPr lang="en-US" dirty="0" smtClean="0"/>
              <a:t>CLICK TO EDIT </a:t>
            </a:r>
            <a:br>
              <a:rPr lang="en-US" dirty="0" smtClean="0"/>
            </a:br>
            <a:r>
              <a:rPr lang="en-US" dirty="0" smtClean="0"/>
              <a:t>MASTER TEXT</a:t>
            </a:r>
          </a:p>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endParaRPr lang="en-US" dirty="0" smtClean="0"/>
          </a:p>
        </p:txBody>
      </p:sp>
      <p:sp>
        <p:nvSpPr>
          <p:cNvPr id="12" name="Picture Placeholder 11"/>
          <p:cNvSpPr>
            <a:spLocks noGrp="1"/>
          </p:cNvSpPr>
          <p:nvPr>
            <p:ph type="pic" sz="quarter" idx="12" hasCustomPrompt="1"/>
          </p:nvPr>
        </p:nvSpPr>
        <p:spPr>
          <a:xfrm>
            <a:off x="5941222" y="0"/>
            <a:ext cx="3064933" cy="4629150"/>
          </a:xfrm>
          <a:ln>
            <a:noFill/>
          </a:ln>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grpSp>
        <p:nvGrpSpPr>
          <p:cNvPr id="2" name="Group 8"/>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3"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4" name="Rectangle 13"/>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64119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9" name="Rectangle 8"/>
          <p:cNvSpPr/>
          <p:nvPr userDrawn="1"/>
        </p:nvSpPr>
        <p:spPr>
          <a:xfrm>
            <a:off x="2990088" y="1159938"/>
            <a:ext cx="6153912"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Text Placeholder 9"/>
          <p:cNvSpPr>
            <a:spLocks noGrp="1"/>
          </p:cNvSpPr>
          <p:nvPr>
            <p:ph type="body" sz="quarter" idx="11"/>
          </p:nvPr>
        </p:nvSpPr>
        <p:spPr>
          <a:xfrm>
            <a:off x="3443821" y="1430281"/>
            <a:ext cx="5369979" cy="2523657"/>
          </a:xfrm>
        </p:spPr>
        <p:txBody>
          <a:bodyPr anchor="t" anchorCtr="0"/>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6" name="Picture Placeholder 11"/>
          <p:cNvSpPr>
            <a:spLocks noGrp="1"/>
          </p:cNvSpPr>
          <p:nvPr>
            <p:ph type="pic" sz="quarter" idx="13" hasCustomPrompt="1"/>
          </p:nvPr>
        </p:nvSpPr>
        <p:spPr>
          <a:xfrm>
            <a:off x="6351" y="1159936"/>
            <a:ext cx="2944368" cy="29718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
        <p:nvSpPr>
          <p:cNvPr id="7" name="Rectangle 6"/>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71343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1" y="1716438"/>
            <a:ext cx="4284133" cy="242047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userDrawn="1"/>
        </p:nvSpPr>
        <p:spPr bwMode="auto">
          <a:xfrm>
            <a:off x="1524" y="1156648"/>
            <a:ext cx="4291076" cy="551323"/>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ea typeface="ＭＳ Ｐゴシック" pitchFamily="34" charset="-128"/>
              <a:cs typeface="Arial" pitchFamily="34" charset="0"/>
            </a:endParaRPr>
          </a:p>
        </p:txBody>
      </p:sp>
      <p:sp>
        <p:nvSpPr>
          <p:cNvPr id="26" name="Picture Placeholder 25"/>
          <p:cNvSpPr>
            <a:spLocks noGrp="1"/>
          </p:cNvSpPr>
          <p:nvPr>
            <p:ph type="pic" sz="quarter" idx="15" hasCustomPrompt="1"/>
          </p:nvPr>
        </p:nvSpPr>
        <p:spPr>
          <a:xfrm>
            <a:off x="4318000" y="1156648"/>
            <a:ext cx="4825998" cy="29718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804346" y="1163620"/>
            <a:ext cx="3412068" cy="544351"/>
          </a:xfrm>
          <a:noFill/>
        </p:spPr>
        <p:txBody>
          <a:bodyPr lIns="0" tIns="0" rIns="0" bIns="0" anchor="ctr" anchorCtr="0">
            <a:noAutofit/>
          </a:bodyPr>
          <a:lstStyle>
            <a:lvl1pPr marL="0" indent="0">
              <a:buNone/>
              <a:defRPr sz="20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804346" y="245538"/>
            <a:ext cx="8221121" cy="770462"/>
          </a:xfrm>
        </p:spPr>
        <p:txBody>
          <a:bodyPr anchor="t" anchorCtr="0"/>
          <a:lstStyle>
            <a:lvl1pPr>
              <a:defRPr/>
            </a:lvl1pPr>
          </a:lstStyle>
          <a:p>
            <a:r>
              <a:rPr lang="en-US" smtClean="0"/>
              <a:t>Click to edit Master title style</a:t>
            </a:r>
            <a:endParaRPr lang="en-US" dirty="0"/>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22271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19" name="Rectangle 18"/>
          <p:cNvSpPr/>
          <p:nvPr userDrawn="1"/>
        </p:nvSpPr>
        <p:spPr>
          <a:xfrm>
            <a:off x="0" y="1159938"/>
            <a:ext cx="9144000" cy="2971799"/>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Text Placeholder 9"/>
          <p:cNvSpPr>
            <a:spLocks noGrp="1"/>
          </p:cNvSpPr>
          <p:nvPr>
            <p:ph type="body" sz="quarter" idx="11"/>
          </p:nvPr>
        </p:nvSpPr>
        <p:spPr bwMode="white">
          <a:xfrm>
            <a:off x="797999" y="1422404"/>
            <a:ext cx="7617881" cy="1354667"/>
          </a:xfrm>
        </p:spPr>
        <p:txBody>
          <a:bodyPr lIns="0" tIns="0" rIns="0" bIns="0" anchor="t" anchorCtr="0">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hasCustomPrompt="1"/>
          </p:nvPr>
        </p:nvSpPr>
        <p:spPr bwMode="white">
          <a:xfrm>
            <a:off x="899602" y="2844803"/>
            <a:ext cx="3994149" cy="443953"/>
          </a:xfrm>
          <a:noFill/>
        </p:spPr>
        <p:txBody>
          <a:bodyPr lIns="0" tIns="0" rIns="0" bIns="0" anchor="b" anchorCtr="0">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name</a:t>
            </a:r>
          </a:p>
        </p:txBody>
      </p:sp>
      <p:sp>
        <p:nvSpPr>
          <p:cNvPr id="8" name="Text Placeholder 22"/>
          <p:cNvSpPr>
            <a:spLocks noGrp="1"/>
          </p:cNvSpPr>
          <p:nvPr>
            <p:ph type="body" sz="quarter" idx="17" hasCustomPrompt="1"/>
          </p:nvPr>
        </p:nvSpPr>
        <p:spPr bwMode="white">
          <a:xfrm>
            <a:off x="899602" y="3343623"/>
            <a:ext cx="3994149" cy="703448"/>
          </a:xfrm>
          <a:noFill/>
        </p:spPr>
        <p:txBody>
          <a:bodyPr lIns="0" tIns="0" rIns="0" bIns="0" anchor="t" anchorCtr="0">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title</a:t>
            </a: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70829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49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5943598" y="0"/>
            <a:ext cx="3200402"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 name="Picture 7"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7" name="Title 1"/>
          <p:cNvSpPr>
            <a:spLocks noGrp="1"/>
          </p:cNvSpPr>
          <p:nvPr>
            <p:ph type="title" hasCustomPrompt="1"/>
          </p:nvPr>
        </p:nvSpPr>
        <p:spPr>
          <a:xfrm>
            <a:off x="451484" y="1583267"/>
            <a:ext cx="5026449"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49" y="2914276"/>
            <a:ext cx="5027083" cy="1048124"/>
          </a:xfrm>
        </p:spPr>
        <p:txBody>
          <a:bodyPr lIns="0" tIns="0"/>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5943600" y="0"/>
            <a:ext cx="3200400" cy="5143500"/>
          </a:xfrm>
          <a:effectLst>
            <a:innerShdw blurRad="63500" dist="50800" dir="10800000">
              <a:prstClr val="black">
                <a:alpha val="50000"/>
              </a:prstClr>
            </a:innerShdw>
          </a:effectLst>
        </p:spPr>
        <p:txBody>
          <a:bodyPr anchor="ctr" anchorCtr="1"/>
          <a:lstStyle>
            <a:lvl1pPr marL="60325" indent="0">
              <a:buFontTx/>
              <a:buNone/>
              <a:defRPr baseline="0">
                <a:solidFill>
                  <a:schemeClr val="bg1"/>
                </a:solidFill>
              </a:defRPr>
            </a:lvl1pPr>
          </a:lstStyle>
          <a:p>
            <a:r>
              <a:rPr lang="en-US" dirty="0" smtClean="0"/>
              <a:t>Insert Picture Here</a:t>
            </a:r>
            <a:endParaRPr lang="en-US" dirty="0"/>
          </a:p>
        </p:txBody>
      </p:sp>
    </p:spTree>
    <p:extLst>
      <p:ext uri="{BB962C8B-B14F-4D97-AF65-F5344CB8AC3E}">
        <p14:creationId xmlns:p14="http://schemas.microsoft.com/office/powerpoint/2010/main" val="341113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12" name="Text Placeholder 22"/>
          <p:cNvSpPr>
            <a:spLocks noGrp="1"/>
          </p:cNvSpPr>
          <p:nvPr>
            <p:ph type="body" sz="quarter" idx="16" hasCustomPrompt="1"/>
          </p:nvPr>
        </p:nvSpPr>
        <p:spPr>
          <a:xfrm>
            <a:off x="457201" y="1517907"/>
            <a:ext cx="2607406" cy="2488686"/>
          </a:xfrm>
          <a:noFill/>
        </p:spPr>
        <p:txBody>
          <a:bodyPr lIns="0" tIns="0" rIns="0" bIns="0" anchor="ctr" anchorCtr="0">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dirty="0" smtClean="0"/>
              <a:t>Click to edit master text</a:t>
            </a:r>
          </a:p>
        </p:txBody>
      </p:sp>
      <p:sp>
        <p:nvSpPr>
          <p:cNvPr id="3" name="Chart Placeholder 2"/>
          <p:cNvSpPr>
            <a:spLocks noGrp="1"/>
          </p:cNvSpPr>
          <p:nvPr>
            <p:ph type="chart" sz="quarter" idx="17" hasCustomPrompt="1"/>
          </p:nvPr>
        </p:nvSpPr>
        <p:spPr>
          <a:xfrm>
            <a:off x="3482976" y="1123950"/>
            <a:ext cx="5236560" cy="3284538"/>
          </a:xfrm>
        </p:spPr>
        <p:txBody>
          <a:bodyPr anchor="ctr" anchorCtr="1"/>
          <a:lstStyle>
            <a:lvl1pPr marL="60325" indent="0" algn="ctr">
              <a:buNone/>
              <a:defRPr/>
            </a:lvl1pPr>
          </a:lstStyle>
          <a:p>
            <a:r>
              <a:rPr lang="en-US" dirty="0" smtClean="0"/>
              <a:t>Insert Chart Here</a:t>
            </a:r>
            <a:endParaRPr lang="en-US" dirty="0"/>
          </a:p>
        </p:txBody>
      </p:sp>
      <p:sp>
        <p:nvSpPr>
          <p:cNvPr id="9"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8" name="Rectangle 26"/>
          <p:cNvSpPr>
            <a:spLocks noChangeArrowheads="1"/>
          </p:cNvSpPr>
          <p:nvPr userDrawn="1"/>
        </p:nvSpPr>
        <p:spPr bwMode="auto">
          <a:xfrm flipH="1">
            <a:off x="3171825" y="1118350"/>
            <a:ext cx="27432" cy="3155157"/>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endParaRPr lang="en-US" dirty="0">
              <a:solidFill>
                <a:srgbClr val="000000"/>
              </a:solidFill>
              <a:ea typeface="ＭＳ Ｐゴシック" pitchFamily="34" charset="-128"/>
              <a:cs typeface="Arial" pitchFamily="34" charset="0"/>
            </a:endParaRP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96455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
          <p:cNvGrpSpPr/>
          <p:nvPr userDrawn="1"/>
        </p:nvGrpSpPr>
        <p:grpSpPr>
          <a:xfrm>
            <a:off x="2103807" y="1774228"/>
            <a:ext cx="4936386" cy="1595045"/>
            <a:chOff x="2113332" y="1464413"/>
            <a:chExt cx="4936386" cy="1595045"/>
          </a:xfrm>
        </p:grpSpPr>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13332" y="1464413"/>
              <a:ext cx="4936386" cy="15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34" descr="HSET_clr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1263" y="1700213"/>
              <a:ext cx="4179887"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456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1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O_signature_clr_rgb.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5133" y="1329097"/>
            <a:ext cx="7315200" cy="2249424"/>
          </a:xfrm>
          <a:prstGeom prst="rect">
            <a:avLst/>
          </a:prstGeom>
        </p:spPr>
      </p:pic>
    </p:spTree>
    <p:extLst>
      <p:ext uri="{BB962C8B-B14F-4D97-AF65-F5344CB8AC3E}">
        <p14:creationId xmlns:p14="http://schemas.microsoft.com/office/powerpoint/2010/main" val="7821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481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hasCustomPrompt="1"/>
          </p:nvPr>
        </p:nvSpPr>
        <p:spPr>
          <a:xfrm>
            <a:off x="802760" y="1571843"/>
            <a:ext cx="5030787" cy="1100723"/>
          </a:xfrm>
        </p:spPr>
        <p:txBody>
          <a:bodyPr anchor="t" anchorCtr="0"/>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dirty="0" smtClean="0"/>
              <a:t>Click to edit text </a:t>
            </a:r>
            <a:endParaRPr lang="en-US" dirty="0"/>
          </a:p>
        </p:txBody>
      </p:sp>
    </p:spTree>
    <p:extLst>
      <p:ext uri="{BB962C8B-B14F-4D97-AF65-F5344CB8AC3E}">
        <p14:creationId xmlns:p14="http://schemas.microsoft.com/office/powerpoint/2010/main" val="275138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pic>
        <p:nvPicPr>
          <p:cNvPr id="6"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481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52065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pic>
        <p:nvPicPr>
          <p:cNvPr id="7"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481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nchor="t" anchorCtr="0"/>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116149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820804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6037593" y="4791845"/>
            <a:ext cx="2895600" cy="274637"/>
          </a:xfrm>
          <a:prstGeom prst="rect">
            <a:avLst/>
          </a:prstGeom>
        </p:spPr>
        <p:txBody>
          <a:bodyPr/>
          <a:lstStyle>
            <a:lvl1pPr>
              <a:defRPr/>
            </a:lvl1pPr>
          </a:lstStyle>
          <a:p>
            <a:pPr>
              <a:defRPr/>
            </a:pPr>
            <a:endParaRPr lang="en-US" dirty="0"/>
          </a:p>
        </p:txBody>
      </p:sp>
    </p:spTree>
    <p:extLst>
      <p:ext uri="{BB962C8B-B14F-4D97-AF65-F5344CB8AC3E}">
        <p14:creationId xmlns:p14="http://schemas.microsoft.com/office/powerpoint/2010/main" val="907787414"/>
      </p:ext>
    </p:extLst>
  </p:cSld>
  <p:clrMapOvr>
    <a:masterClrMapping/>
  </p:clrMapOvr>
  <p:transition spd="med">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0"/>
            <a:ext cx="9144000" cy="3115339"/>
          </a:xfrm>
          <a:prstGeom prst="rect">
            <a:avLst/>
          </a:prstGeom>
          <a:solidFill>
            <a:schemeClr val="tx2"/>
          </a:solidFill>
          <a:ln>
            <a:noFill/>
          </a:ln>
          <a:extLst/>
        </p:spPr>
      </p:pic>
      <p:sp>
        <p:nvSpPr>
          <p:cNvPr id="2" name="Title 1"/>
          <p:cNvSpPr>
            <a:spLocks noGrp="1"/>
          </p:cNvSpPr>
          <p:nvPr>
            <p:ph type="title" hasCustomPrompt="1"/>
          </p:nvPr>
        </p:nvSpPr>
        <p:spPr>
          <a:xfrm>
            <a:off x="735468" y="357650"/>
            <a:ext cx="7779072" cy="1244269"/>
          </a:xfrm>
        </p:spPr>
        <p:txBody>
          <a:bodyPr/>
          <a:lstStyle>
            <a:lvl1pPr marL="91440" indent="-9144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88"/>
            <a:ext cx="7792822" cy="854637"/>
          </a:xfrm>
        </p:spPr>
        <p:txBody>
          <a:bodyPr/>
          <a:lstStyle>
            <a:lvl1pPr marL="0" indent="0">
              <a:buNone/>
              <a:defRPr sz="2000" b="1">
                <a:solidFill>
                  <a:schemeClr val="bg1"/>
                </a:solidFill>
              </a:defRPr>
            </a:lvl1pPr>
            <a:lvl2pPr marL="285750"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Tree>
    <p:extLst>
      <p:ext uri="{BB962C8B-B14F-4D97-AF65-F5344CB8AC3E}">
        <p14:creationId xmlns:p14="http://schemas.microsoft.com/office/powerpoint/2010/main" val="27285466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3"/>
          <p:cNvSpPr>
            <a:spLocks noGrp="1" noChangeArrowheads="1"/>
          </p:cNvSpPr>
          <p:nvPr>
            <p:ph type="ftr" sz="quarter" idx="10"/>
          </p:nvPr>
        </p:nvSpPr>
        <p:spPr>
          <a:xfrm>
            <a:off x="138113" y="4919663"/>
            <a:ext cx="6546850" cy="141685"/>
          </a:xfrm>
          <a:prstGeom prst="rect">
            <a:avLst/>
          </a:prstGeom>
          <a:ln/>
        </p:spPr>
        <p:txBody>
          <a:bodyPr/>
          <a:lstStyle>
            <a:lvl1pPr>
              <a:defRPr/>
            </a:lvl1pPr>
          </a:lstStyle>
          <a:p>
            <a:pPr>
              <a:defRPr/>
            </a:pPr>
            <a:endParaRPr lang="en-US" dirty="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24964"/>
            <a:ext cx="9144000" cy="516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0" y="-24964"/>
            <a:ext cx="9144000" cy="4157107"/>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1" name="Rectangle 10"/>
          <p:cNvSpPr/>
          <p:nvPr userDrawn="1"/>
        </p:nvSpPr>
        <p:spPr>
          <a:xfrm>
            <a:off x="5943598" y="-24964"/>
            <a:ext cx="3200402" cy="4157107"/>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itle 1"/>
          <p:cNvSpPr>
            <a:spLocks noGrp="1"/>
          </p:cNvSpPr>
          <p:nvPr>
            <p:ph type="title" hasCustomPrompt="1"/>
          </p:nvPr>
        </p:nvSpPr>
        <p:spPr>
          <a:xfrm>
            <a:off x="451485" y="1583267"/>
            <a:ext cx="5026448"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49" y="2914276"/>
            <a:ext cx="5027083" cy="1048124"/>
          </a:xfrm>
        </p:spPr>
        <p:txBody>
          <a:bodyPr lIns="0" tIns="0"/>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a:p>
            <a:pPr lvl="1"/>
            <a:r>
              <a:rPr lang="en-US" smtClean="0"/>
              <a:t>Second level</a:t>
            </a:r>
          </a:p>
        </p:txBody>
      </p:sp>
      <p:sp>
        <p:nvSpPr>
          <p:cNvPr id="3" name="Picture Placeholder 2"/>
          <p:cNvSpPr>
            <a:spLocks noGrp="1"/>
          </p:cNvSpPr>
          <p:nvPr>
            <p:ph type="pic" sz="quarter" idx="14" hasCustomPrompt="1"/>
          </p:nvPr>
        </p:nvSpPr>
        <p:spPr>
          <a:xfrm>
            <a:off x="5943600" y="-25400"/>
            <a:ext cx="3200400" cy="4157663"/>
          </a:xfrm>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60325" lvl="0" indent="0">
              <a:buFontTx/>
              <a:buNone/>
            </a:pPr>
            <a:r>
              <a:rPr lang="en-US" dirty="0" smtClean="0"/>
              <a:t>Insert Picture Here</a:t>
            </a:r>
            <a:endParaRPr lang="en-US" dirty="0"/>
          </a:p>
        </p:txBody>
      </p:sp>
    </p:spTree>
    <p:extLst>
      <p:ext uri="{BB962C8B-B14F-4D97-AF65-F5344CB8AC3E}">
        <p14:creationId xmlns:p14="http://schemas.microsoft.com/office/powerpoint/2010/main" val="213358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3"/>
          <p:cNvSpPr>
            <a:spLocks noGrp="1" noChangeArrowheads="1"/>
          </p:cNvSpPr>
          <p:nvPr>
            <p:ph type="ftr" sz="quarter" idx="10"/>
          </p:nvPr>
        </p:nvSpPr>
        <p:spPr>
          <a:xfrm>
            <a:off x="138113" y="4919663"/>
            <a:ext cx="6546850" cy="141685"/>
          </a:xfrm>
          <a:prstGeom prst="rect">
            <a:avLst/>
          </a:prstGeom>
          <a:ln/>
        </p:spPr>
        <p:txBody>
          <a:bodyPr/>
          <a:lstStyle>
            <a:lvl1pPr>
              <a:defRPr/>
            </a:lvl1pPr>
          </a:lstStyle>
          <a:p>
            <a:pPr>
              <a:defRPr/>
            </a:pPr>
            <a:endParaRPr lang="en-US" dirty="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7722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7722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Title_bg_Title 1.jpg"/>
          <p:cNvPicPr>
            <a:picLocks noChangeAspect="1"/>
          </p:cNvPicPr>
          <p:nvPr userDrawn="1"/>
        </p:nvPicPr>
        <p:blipFill>
          <a:blip r:embed="rId2" cstate="print"/>
          <a:srcRect/>
          <a:stretch>
            <a:fillRect/>
          </a:stretch>
        </p:blipFill>
        <p:spPr bwMode="auto">
          <a:xfrm>
            <a:off x="0" y="0"/>
            <a:ext cx="9144000" cy="2806700"/>
          </a:xfrm>
          <a:prstGeom prst="rect">
            <a:avLst/>
          </a:prstGeom>
          <a:noFill/>
          <a:ln w="9525">
            <a:noFill/>
            <a:miter lim="800000"/>
            <a:headEnd/>
            <a:tailEnd/>
          </a:ln>
        </p:spPr>
      </p:pic>
      <p:pic>
        <p:nvPicPr>
          <p:cNvPr id="5" name="Picture 8" descr="ssparc_sc_t4-4_ta4d_sm2New.png"/>
          <p:cNvPicPr>
            <a:picLocks noChangeAspect="1"/>
          </p:cNvPicPr>
          <p:nvPr userDrawn="1"/>
        </p:nvPicPr>
        <p:blipFill>
          <a:blip r:embed="rId3" cstate="print"/>
          <a:srcRect/>
          <a:stretch>
            <a:fillRect/>
          </a:stretch>
        </p:blipFill>
        <p:spPr bwMode="auto">
          <a:xfrm>
            <a:off x="5545138" y="185738"/>
            <a:ext cx="1416050" cy="2617787"/>
          </a:xfrm>
          <a:prstGeom prst="rect">
            <a:avLst/>
          </a:prstGeom>
          <a:noFill/>
          <a:ln w="9525">
            <a:noFill/>
            <a:miter lim="800000"/>
            <a:headEnd/>
            <a:tailEnd/>
          </a:ln>
        </p:spPr>
      </p:pic>
      <p:sp>
        <p:nvSpPr>
          <p:cNvPr id="6" name="Rectangle 5"/>
          <p:cNvSpPr/>
          <p:nvPr userDrawn="1"/>
        </p:nvSpPr>
        <p:spPr>
          <a:xfrm>
            <a:off x="0" y="2798763"/>
            <a:ext cx="9144000" cy="2344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fontAlgn="base">
              <a:spcBef>
                <a:spcPct val="0"/>
              </a:spcBef>
              <a:spcAft>
                <a:spcPct val="0"/>
              </a:spcAft>
              <a:defRPr/>
            </a:pPr>
            <a:endParaRPr lang="en-US" sz="1600" dirty="0">
              <a:solidFill>
                <a:srgbClr val="000000"/>
              </a:solidFill>
              <a:latin typeface="Arial" pitchFamily="34" charset="0"/>
              <a:ea typeface="ＭＳ Ｐゴシック" pitchFamily="34" charset="-128"/>
            </a:endParaRPr>
          </a:p>
        </p:txBody>
      </p:sp>
      <p:cxnSp>
        <p:nvCxnSpPr>
          <p:cNvPr id="7" name="Straight Connector 6"/>
          <p:cNvCxnSpPr/>
          <p:nvPr userDrawn="1"/>
        </p:nvCxnSpPr>
        <p:spPr>
          <a:xfrm>
            <a:off x="0" y="2798763"/>
            <a:ext cx="9144000" cy="1587"/>
          </a:xfrm>
          <a:prstGeom prst="line">
            <a:avLst/>
          </a:prstGeom>
          <a:ln w="12700" cap="flat" cmpd="sng" algn="ctr">
            <a:solidFill>
              <a:schemeClr val="bg1">
                <a:lumMod val="5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8" name="Picture 16"/>
          <p:cNvPicPr>
            <a:picLocks noChangeAspect="1" noChangeArrowheads="1"/>
          </p:cNvPicPr>
          <p:nvPr userDrawn="1"/>
        </p:nvPicPr>
        <p:blipFill>
          <a:blip r:embed="rId4" cstate="print"/>
          <a:srcRect/>
          <a:stretch>
            <a:fillRect/>
          </a:stretch>
        </p:blipFill>
        <p:spPr bwMode="auto">
          <a:xfrm>
            <a:off x="808038" y="3101975"/>
            <a:ext cx="2227262" cy="277813"/>
          </a:xfrm>
          <a:prstGeom prst="rect">
            <a:avLst/>
          </a:prstGeom>
          <a:noFill/>
          <a:ln w="9525">
            <a:noFill/>
            <a:miter lim="800000"/>
            <a:headEnd/>
            <a:tailEnd/>
          </a:ln>
        </p:spPr>
      </p:pic>
      <p:sp>
        <p:nvSpPr>
          <p:cNvPr id="2" name="Title 1"/>
          <p:cNvSpPr>
            <a:spLocks noGrp="1"/>
          </p:cNvSpPr>
          <p:nvPr>
            <p:ph type="ctrTitle"/>
          </p:nvPr>
        </p:nvSpPr>
        <p:spPr>
          <a:xfrm>
            <a:off x="808039" y="3596186"/>
            <a:ext cx="7772797" cy="670855"/>
          </a:xfrm>
        </p:spPr>
        <p:txBody>
          <a:bodyPr anchor="b"/>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808040" y="4410273"/>
            <a:ext cx="7075289" cy="532642"/>
          </a:xfrm>
        </p:spPr>
        <p:txBody>
          <a:bodyPr/>
          <a:lstStyle>
            <a:lvl1pPr marL="0" marR="0" indent="0" algn="l" defTabSz="906898"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3228" indent="0" algn="ctr">
              <a:buNone/>
              <a:defRPr>
                <a:solidFill>
                  <a:schemeClr val="tx1">
                    <a:tint val="75000"/>
                  </a:schemeClr>
                </a:solidFill>
              </a:defRPr>
            </a:lvl2pPr>
            <a:lvl3pPr marL="566464" indent="0" algn="ctr">
              <a:buNone/>
              <a:defRPr>
                <a:solidFill>
                  <a:schemeClr val="tx1">
                    <a:tint val="75000"/>
                  </a:schemeClr>
                </a:solidFill>
              </a:defRPr>
            </a:lvl3pPr>
            <a:lvl4pPr marL="849694" indent="0" algn="ctr">
              <a:buNone/>
              <a:defRPr>
                <a:solidFill>
                  <a:schemeClr val="tx1">
                    <a:tint val="75000"/>
                  </a:schemeClr>
                </a:solidFill>
              </a:defRPr>
            </a:lvl4pPr>
            <a:lvl5pPr marL="1132923" indent="0" algn="ctr">
              <a:buNone/>
              <a:defRPr>
                <a:solidFill>
                  <a:schemeClr val="tx1">
                    <a:tint val="75000"/>
                  </a:schemeClr>
                </a:solidFill>
              </a:defRPr>
            </a:lvl5pPr>
            <a:lvl6pPr marL="1416155" indent="0" algn="ctr">
              <a:buNone/>
              <a:defRPr>
                <a:solidFill>
                  <a:schemeClr val="tx1">
                    <a:tint val="75000"/>
                  </a:schemeClr>
                </a:solidFill>
              </a:defRPr>
            </a:lvl6pPr>
            <a:lvl7pPr marL="1699385" indent="0" algn="ctr">
              <a:buNone/>
              <a:defRPr>
                <a:solidFill>
                  <a:schemeClr val="tx1">
                    <a:tint val="75000"/>
                  </a:schemeClr>
                </a:solidFill>
              </a:defRPr>
            </a:lvl7pPr>
            <a:lvl8pPr marL="1982616" indent="0" algn="ctr">
              <a:buNone/>
              <a:defRPr>
                <a:solidFill>
                  <a:schemeClr val="tx1">
                    <a:tint val="75000"/>
                  </a:schemeClr>
                </a:solidFill>
              </a:defRPr>
            </a:lvl8pPr>
            <a:lvl9pPr marL="2265848" indent="0" algn="ctr">
              <a:buNone/>
              <a:defRPr>
                <a:solidFill>
                  <a:schemeClr val="tx1">
                    <a:tint val="75000"/>
                  </a:schemeClr>
                </a:solidFill>
              </a:defRPr>
            </a:lvl9pPr>
          </a:lstStyle>
          <a:p>
            <a:r>
              <a:rPr lang="en-US" dirty="0" smtClean="0"/>
              <a:t>Click to edit Master subtitle style</a:t>
            </a:r>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808038" y="658610"/>
            <a:ext cx="8139112" cy="318691"/>
          </a:xfrm>
        </p:spPr>
        <p:txBody>
          <a:bodyPr/>
          <a:lstStyle>
            <a:lvl1pPr marL="0" indent="0">
              <a:buNone/>
              <a:defRPr sz="2400">
                <a:solidFill>
                  <a:srgbClr val="FF0000"/>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24" descr="Small Red Square"/>
          <p:cNvPicPr>
            <a:picLocks noChangeAspect="1" noChangeArrowheads="1"/>
          </p:cNvPicPr>
          <p:nvPr userDrawn="1"/>
        </p:nvPicPr>
        <p:blipFill>
          <a:blip r:embed="rId2" cstate="print"/>
          <a:srcRect/>
          <a:stretch>
            <a:fillRect/>
          </a:stretch>
        </p:blipFill>
        <p:spPr bwMode="auto">
          <a:xfrm>
            <a:off x="7535863" y="0"/>
            <a:ext cx="1608137" cy="550863"/>
          </a:xfrm>
          <a:prstGeom prst="rect">
            <a:avLst/>
          </a:prstGeom>
          <a:solidFill>
            <a:schemeClr val="tx2"/>
          </a:solidFill>
          <a:ln w="9525">
            <a:noFill/>
            <a:miter lim="800000"/>
            <a:headEnd/>
            <a:tailEnd/>
          </a:ln>
        </p:spPr>
      </p:pic>
      <p:sp>
        <p:nvSpPr>
          <p:cNvPr id="2" name="Title 1"/>
          <p:cNvSpPr>
            <a:spLocks noGrp="1"/>
          </p:cNvSpPr>
          <p:nvPr>
            <p:ph type="title"/>
          </p:nvPr>
        </p:nvSpPr>
        <p:spPr>
          <a:xfrm>
            <a:off x="80803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5"/>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4" name="Picture 24" descr="Small Red Square"/>
          <p:cNvPicPr>
            <a:picLocks noChangeAspect="1" noChangeArrowheads="1"/>
          </p:cNvPicPr>
          <p:nvPr userDrawn="1"/>
        </p:nvPicPr>
        <p:blipFill>
          <a:blip r:embed="rId2" cstate="print"/>
          <a:srcRect/>
          <a:stretch>
            <a:fillRect/>
          </a:stretch>
        </p:blipFill>
        <p:spPr bwMode="auto">
          <a:xfrm>
            <a:off x="0" y="0"/>
            <a:ext cx="9144000" cy="2738438"/>
          </a:xfrm>
          <a:prstGeom prst="rect">
            <a:avLst/>
          </a:prstGeom>
          <a:solidFill>
            <a:schemeClr val="tx2"/>
          </a:solidFill>
          <a:ln w="9525">
            <a:noFill/>
            <a:miter lim="800000"/>
            <a:headEnd/>
            <a:tailEnd/>
          </a:ln>
        </p:spPr>
      </p:pic>
      <p:sp>
        <p:nvSpPr>
          <p:cNvPr id="2" name="Title 1"/>
          <p:cNvSpPr>
            <a:spLocks noGrp="1"/>
          </p:cNvSpPr>
          <p:nvPr>
            <p:ph type="title"/>
          </p:nvPr>
        </p:nvSpPr>
        <p:spPr>
          <a:xfrm>
            <a:off x="808038" y="318093"/>
            <a:ext cx="7779072" cy="504419"/>
          </a:xfrm>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4" name="Picture 24" descr="Small Red Square"/>
          <p:cNvPicPr>
            <a:picLocks noChangeAspect="1" noChangeArrowheads="1"/>
          </p:cNvPicPr>
          <p:nvPr userDrawn="1"/>
        </p:nvPicPr>
        <p:blipFill>
          <a:blip r:embed="rId2" cstate="print"/>
          <a:srcRect/>
          <a:stretch>
            <a:fillRect/>
          </a:stretch>
        </p:blipFill>
        <p:spPr bwMode="auto">
          <a:xfrm>
            <a:off x="0" y="0"/>
            <a:ext cx="9144000" cy="2738438"/>
          </a:xfrm>
          <a:prstGeom prst="rect">
            <a:avLst/>
          </a:prstGeom>
          <a:solidFill>
            <a:schemeClr val="tx2"/>
          </a:solidFill>
          <a:ln w="9525">
            <a:noFill/>
            <a:miter lim="800000"/>
            <a:headEnd/>
            <a:tailEnd/>
          </a:ln>
        </p:spPr>
      </p:pic>
      <p:sp>
        <p:nvSpPr>
          <p:cNvPr id="2" name="Title 1"/>
          <p:cNvSpPr>
            <a:spLocks noGrp="1"/>
          </p:cNvSpPr>
          <p:nvPr>
            <p:ph type="title"/>
          </p:nvPr>
        </p:nvSpPr>
        <p:spPr>
          <a:xfrm>
            <a:off x="735468" y="357671"/>
            <a:ext cx="7779072" cy="1244269"/>
          </a:xfrm>
        </p:spPr>
        <p:txBody>
          <a:bodyPr/>
          <a:lstStyle>
            <a:lvl1pPr marL="90680" indent="-90680">
              <a:defRPr sz="2400" b="0">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08038" y="1817688"/>
            <a:ext cx="7792822" cy="854637"/>
          </a:xfrm>
        </p:spPr>
        <p:txBody>
          <a:bodyPr/>
          <a:lstStyle>
            <a:lvl1pPr marL="0" indent="0">
              <a:buNone/>
              <a:defRPr sz="2000" b="1">
                <a:solidFill>
                  <a:schemeClr val="bg1"/>
                </a:solidFill>
              </a:defRPr>
            </a:lvl1pPr>
            <a:lvl2pPr marL="283403"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smtClean="0"/>
              <a:t>Click to edit Master text styles</a:t>
            </a:r>
          </a:p>
          <a:p>
            <a:pPr lvl="1"/>
            <a:r>
              <a:rPr lang="en-US" smtClean="0"/>
              <a:t>Second level</a:t>
            </a:r>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159938"/>
            <a:ext cx="9143998" cy="2980266"/>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itle 1"/>
          <p:cNvSpPr>
            <a:spLocks noGrp="1"/>
          </p:cNvSpPr>
          <p:nvPr userDrawn="1">
            <p:ph type="title"/>
          </p:nvPr>
        </p:nvSpPr>
        <p:spPr>
          <a:xfrm>
            <a:off x="804981" y="245538"/>
            <a:ext cx="7771752" cy="761995"/>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userDrawn="1">
            <p:ph type="body" sz="quarter" idx="13"/>
          </p:nvPr>
        </p:nvSpPr>
        <p:spPr>
          <a:xfrm>
            <a:off x="804981" y="1363132"/>
            <a:ext cx="7771752" cy="2616201"/>
          </a:xfrm>
        </p:spPr>
        <p:txBody>
          <a:bodyPr lIns="0" tIns="0"/>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grpSp>
        <p:nvGrpSpPr>
          <p:cNvPr id="10" name="Group 9"/>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2"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3" name="Rectangle 12"/>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214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7"/>
          <p:cNvGrpSpPr>
            <a:grpSpLocks/>
          </p:cNvGrpSpPr>
          <p:nvPr userDrawn="1"/>
        </p:nvGrpSpPr>
        <p:grpSpPr bwMode="auto">
          <a:xfrm>
            <a:off x="-1588" y="0"/>
            <a:ext cx="9145588" cy="3625850"/>
            <a:chOff x="-1587" y="0"/>
            <a:chExt cx="9145587" cy="3625850"/>
          </a:xfrm>
        </p:grpSpPr>
        <p:pic>
          <p:nvPicPr>
            <p:cNvPr id="4" name="Picture 10"/>
            <p:cNvPicPr>
              <a:picLocks noChangeAspect="1"/>
            </p:cNvPicPr>
            <p:nvPr userDrawn="1"/>
          </p:nvPicPr>
          <p:blipFill>
            <a:blip r:embed="rId2" cstate="print"/>
            <a:srcRect/>
            <a:stretch>
              <a:fillRect/>
            </a:stretch>
          </p:blipFill>
          <p:spPr bwMode="auto">
            <a:xfrm>
              <a:off x="0" y="0"/>
              <a:ext cx="9144000" cy="1041400"/>
            </a:xfrm>
            <a:prstGeom prst="rect">
              <a:avLst/>
            </a:prstGeom>
            <a:noFill/>
            <a:ln w="9525">
              <a:noFill/>
              <a:miter lim="800000"/>
              <a:headEnd/>
              <a:tailEnd/>
            </a:ln>
          </p:spPr>
        </p:pic>
        <p:pic>
          <p:nvPicPr>
            <p:cNvPr id="5" name="Picture 24" descr="Small Red Square"/>
            <p:cNvPicPr>
              <a:picLocks noChangeAspect="1" noChangeArrowheads="1"/>
            </p:cNvPicPr>
            <p:nvPr userDrawn="1"/>
          </p:nvPicPr>
          <p:blipFill>
            <a:blip r:embed="rId3" cstate="print"/>
            <a:srcRect/>
            <a:stretch>
              <a:fillRect/>
            </a:stretch>
          </p:blipFill>
          <p:spPr bwMode="auto">
            <a:xfrm>
              <a:off x="-1587" y="1041400"/>
              <a:ext cx="9144000" cy="2584450"/>
            </a:xfrm>
            <a:prstGeom prst="rect">
              <a:avLst/>
            </a:prstGeom>
            <a:solidFill>
              <a:schemeClr val="tx2"/>
            </a:solidFill>
            <a:ln w="9525">
              <a:noFill/>
              <a:miter lim="800000"/>
              <a:headEnd/>
              <a:tailEnd/>
            </a:ln>
          </p:spPr>
        </p:pic>
      </p:grpSp>
      <p:sp>
        <p:nvSpPr>
          <p:cNvPr id="2" name="Title 1"/>
          <p:cNvSpPr>
            <a:spLocks noGrp="1"/>
          </p:cNvSpPr>
          <p:nvPr>
            <p:ph type="title"/>
          </p:nvPr>
        </p:nvSpPr>
        <p:spPr>
          <a:xfrm>
            <a:off x="1" y="1821963"/>
            <a:ext cx="9142413" cy="900649"/>
          </a:xfrm>
          <a:noFill/>
          <a:ln>
            <a:noFill/>
          </a:ln>
        </p:spPr>
        <p:txBody>
          <a:bodyPr/>
          <a:lstStyle>
            <a:lvl1pPr algn="ctr">
              <a:defRPr sz="6000" b="0">
                <a:solidFill>
                  <a:schemeClr val="bg1"/>
                </a:solidFill>
              </a:defRPr>
            </a:lvl1pPr>
          </a:lstStyle>
          <a:p>
            <a:r>
              <a:rPr lang="en-US" smtClean="0"/>
              <a:t>Click to edit Master title style</a:t>
            </a:r>
            <a:endParaRPr lang="en-US" dirty="0"/>
          </a:p>
        </p:txBody>
      </p:sp>
      <p:sp>
        <p:nvSpPr>
          <p:cNvPr id="6" name="Footer Placeholder 4"/>
          <p:cNvSpPr>
            <a:spLocks noGrp="1"/>
          </p:cNvSpPr>
          <p:nvPr userDrawn="1">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4" name="Picture 9"/>
            <p:cNvPicPr>
              <a:picLocks noChangeAspect="1" noChangeArrowheads="1"/>
            </p:cNvPicPr>
            <p:nvPr/>
          </p:nvPicPr>
          <p:blipFill>
            <a:blip r:embed="rId3" cstate="print"/>
            <a:srcRect/>
            <a:stretch>
              <a:fillRect/>
            </a:stretch>
          </p:blipFill>
          <p:spPr bwMode="auto">
            <a:xfrm>
              <a:off x="1628180" y="2094112"/>
              <a:ext cx="5998766" cy="750094"/>
            </a:xfrm>
            <a:prstGeom prst="rect">
              <a:avLst/>
            </a:prstGeom>
            <a:noFill/>
            <a:ln w="9525">
              <a:noFill/>
              <a:miter lim="800000"/>
              <a:headEnd/>
              <a:tailEnd/>
            </a:ln>
          </p:spPr>
        </p:pic>
      </p:gr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7"/>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39"/>
            <a:ext cx="7772797" cy="1125141"/>
          </a:xfrm>
        </p:spPr>
        <p:txBody>
          <a:bodyPr anchor="b"/>
          <a:lstStyle>
            <a:lvl1pPr marL="0" indent="0">
              <a:buNone/>
              <a:defRPr sz="1200">
                <a:solidFill>
                  <a:schemeClr val="tx1">
                    <a:tint val="75000"/>
                  </a:schemeClr>
                </a:solidFill>
              </a:defRPr>
            </a:lvl1pPr>
            <a:lvl2pPr marL="283228" indent="0">
              <a:buNone/>
              <a:defRPr sz="1100">
                <a:solidFill>
                  <a:schemeClr val="tx1">
                    <a:tint val="75000"/>
                  </a:schemeClr>
                </a:solidFill>
              </a:defRPr>
            </a:lvl2pPr>
            <a:lvl3pPr marL="566464" indent="0">
              <a:buNone/>
              <a:defRPr sz="1000">
                <a:solidFill>
                  <a:schemeClr val="tx1">
                    <a:tint val="75000"/>
                  </a:schemeClr>
                </a:solidFill>
              </a:defRPr>
            </a:lvl3pPr>
            <a:lvl4pPr marL="849694" indent="0">
              <a:buNone/>
              <a:defRPr sz="900">
                <a:solidFill>
                  <a:schemeClr val="tx1">
                    <a:tint val="75000"/>
                  </a:schemeClr>
                </a:solidFill>
              </a:defRPr>
            </a:lvl4pPr>
            <a:lvl5pPr marL="1132923" indent="0">
              <a:buNone/>
              <a:defRPr sz="900">
                <a:solidFill>
                  <a:schemeClr val="tx1">
                    <a:tint val="75000"/>
                  </a:schemeClr>
                </a:solidFill>
              </a:defRPr>
            </a:lvl5pPr>
            <a:lvl6pPr marL="1416155" indent="0">
              <a:buNone/>
              <a:defRPr sz="900">
                <a:solidFill>
                  <a:schemeClr val="tx1">
                    <a:tint val="75000"/>
                  </a:schemeClr>
                </a:solidFill>
              </a:defRPr>
            </a:lvl6pPr>
            <a:lvl7pPr marL="1699385" indent="0">
              <a:buNone/>
              <a:defRPr sz="900">
                <a:solidFill>
                  <a:schemeClr val="tx1">
                    <a:tint val="75000"/>
                  </a:schemeClr>
                </a:solidFill>
              </a:defRPr>
            </a:lvl7pPr>
            <a:lvl8pPr marL="1982616" indent="0">
              <a:buNone/>
              <a:defRPr sz="900">
                <a:solidFill>
                  <a:schemeClr val="tx1">
                    <a:tint val="75000"/>
                  </a:schemeClr>
                </a:solidFill>
              </a:defRPr>
            </a:lvl8pPr>
            <a:lvl9pPr marL="2265848"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39" y="1150938"/>
            <a:ext cx="4040187" cy="480219"/>
          </a:xfrm>
        </p:spPr>
        <p:txBody>
          <a:bodyPr anchor="b"/>
          <a:lstStyle>
            <a:lvl1pPr marL="0" indent="0">
              <a:buNone/>
              <a:defRPr sz="1500" b="1"/>
            </a:lvl1pPr>
            <a:lvl2pPr marL="283228" indent="0">
              <a:buNone/>
              <a:defRPr sz="1200" b="1"/>
            </a:lvl2pPr>
            <a:lvl3pPr marL="566464" indent="0">
              <a:buNone/>
              <a:defRPr sz="1100" b="1"/>
            </a:lvl3pPr>
            <a:lvl4pPr marL="849694" indent="0">
              <a:buNone/>
              <a:defRPr sz="1000" b="1"/>
            </a:lvl4pPr>
            <a:lvl5pPr marL="1132923" indent="0">
              <a:buNone/>
              <a:defRPr sz="1000" b="1"/>
            </a:lvl5pPr>
            <a:lvl6pPr marL="1416155" indent="0">
              <a:buNone/>
              <a:defRPr sz="1000" b="1"/>
            </a:lvl6pPr>
            <a:lvl7pPr marL="1699385" indent="0">
              <a:buNone/>
              <a:defRPr sz="1000" b="1"/>
            </a:lvl7pPr>
            <a:lvl8pPr marL="1982616" indent="0">
              <a:buNone/>
              <a:defRPr sz="1000" b="1"/>
            </a:lvl8pPr>
            <a:lvl9pPr marL="2265848"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39"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38"/>
            <a:ext cx="4041180" cy="480219"/>
          </a:xfrm>
        </p:spPr>
        <p:txBody>
          <a:bodyPr anchor="b"/>
          <a:lstStyle>
            <a:lvl1pPr marL="0" indent="0">
              <a:buNone/>
              <a:defRPr sz="1500" b="1"/>
            </a:lvl1pPr>
            <a:lvl2pPr marL="283228" indent="0">
              <a:buNone/>
              <a:defRPr sz="1200" b="1"/>
            </a:lvl2pPr>
            <a:lvl3pPr marL="566464" indent="0">
              <a:buNone/>
              <a:defRPr sz="1100" b="1"/>
            </a:lvl3pPr>
            <a:lvl4pPr marL="849694" indent="0">
              <a:buNone/>
              <a:defRPr sz="1000" b="1"/>
            </a:lvl4pPr>
            <a:lvl5pPr marL="1132923" indent="0">
              <a:buNone/>
              <a:defRPr sz="1000" b="1"/>
            </a:lvl5pPr>
            <a:lvl6pPr marL="1416155" indent="0">
              <a:buNone/>
              <a:defRPr sz="1000" b="1"/>
            </a:lvl6pPr>
            <a:lvl7pPr marL="1699385" indent="0">
              <a:buNone/>
              <a:defRPr sz="1000" b="1"/>
            </a:lvl7pPr>
            <a:lvl8pPr marL="1982616" indent="0">
              <a:buNone/>
              <a:defRPr sz="1000" b="1"/>
            </a:lvl8pPr>
            <a:lvl9pPr marL="2265848"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3"/>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50"/>
            <a:ext cx="3008312" cy="3518297"/>
          </a:xfrm>
        </p:spPr>
        <p:txBody>
          <a:bodyPr/>
          <a:lstStyle>
            <a:lvl1pPr marL="0" indent="0">
              <a:buNone/>
              <a:defRPr sz="900"/>
            </a:lvl1pPr>
            <a:lvl2pPr marL="283228" indent="0">
              <a:buNone/>
              <a:defRPr sz="700"/>
            </a:lvl2pPr>
            <a:lvl3pPr marL="566464" indent="0">
              <a:buNone/>
              <a:defRPr sz="600"/>
            </a:lvl3pPr>
            <a:lvl4pPr marL="849694" indent="0">
              <a:buNone/>
              <a:defRPr sz="600"/>
            </a:lvl4pPr>
            <a:lvl5pPr marL="1132923" indent="0">
              <a:buNone/>
              <a:defRPr sz="600"/>
            </a:lvl5pPr>
            <a:lvl6pPr marL="1416155" indent="0">
              <a:buNone/>
              <a:defRPr sz="600"/>
            </a:lvl6pPr>
            <a:lvl7pPr marL="1699385" indent="0">
              <a:buNone/>
              <a:defRPr sz="600"/>
            </a:lvl7pPr>
            <a:lvl8pPr marL="1982616" indent="0">
              <a:buNone/>
              <a:defRPr sz="600"/>
            </a:lvl8pPr>
            <a:lvl9pPr marL="2265848"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98" y="206375"/>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5"/>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5" name="Text Box 14"/>
          <p:cNvSpPr txBox="1">
            <a:spLocks noChangeArrowheads="1"/>
          </p:cNvSpPr>
          <p:nvPr userDrawn="1"/>
        </p:nvSpPr>
        <p:spPr bwMode="auto">
          <a:xfrm>
            <a:off x="635000" y="4875213"/>
            <a:ext cx="157163" cy="219075"/>
          </a:xfrm>
          <a:prstGeom prst="rect">
            <a:avLst/>
          </a:prstGeom>
          <a:noFill/>
          <a:ln>
            <a:noFill/>
          </a:ln>
          <a:extLst/>
        </p:spPr>
        <p:txBody>
          <a:bodyPr lIns="34238" tIns="17110" rIns="34238" bIns="17110"/>
          <a:lstStyle/>
          <a:p>
            <a:pPr algn="r" defTabSz="338658" fontAlgn="base">
              <a:spcBef>
                <a:spcPct val="0"/>
              </a:spcBef>
              <a:spcAft>
                <a:spcPct val="0"/>
              </a:spcAft>
              <a:buClr>
                <a:srgbClr val="829E7E"/>
              </a:buClr>
              <a:buFont typeface="Arial" pitchFamily="34" charset="0"/>
              <a:buNone/>
              <a:defRPr/>
            </a:pPr>
            <a:fld id="{944ABD15-DC19-474B-B09F-63F4AA079F61}" type="slidenum">
              <a:rPr lang="en-US" sz="600">
                <a:solidFill>
                  <a:srgbClr val="000000"/>
                </a:solidFill>
                <a:latin typeface="Arial" pitchFamily="34" charset="0"/>
                <a:ea typeface="ＭＳ Ｐゴシック" pitchFamily="34" charset="-128"/>
                <a:cs typeface="Arial" pitchFamily="34" charset="0"/>
              </a:rPr>
              <a:pPr algn="r" defTabSz="338658" fontAlgn="base">
                <a:spcBef>
                  <a:spcPct val="0"/>
                </a:spcBef>
                <a:spcAft>
                  <a:spcPct val="0"/>
                </a:spcAft>
                <a:buClr>
                  <a:srgbClr val="829E7E"/>
                </a:buClr>
                <a:buFont typeface="Arial" pitchFamily="34" charset="0"/>
                <a:buNone/>
                <a:defRPr/>
              </a:pPr>
              <a:t>‹#›</a:t>
            </a:fld>
            <a:endParaRPr lang="en-US" sz="600" dirty="0">
              <a:solidFill>
                <a:srgbClr val="292929"/>
              </a:solidFill>
              <a:latin typeface="Arial" pitchFamily="34" charset="0"/>
              <a:ea typeface="ＭＳ Ｐゴシック" pitchFamily="34" charset="-128"/>
              <a:cs typeface="Arial" pitchFamily="34" charset="0"/>
            </a:endParaRPr>
          </a:p>
        </p:txBody>
      </p:sp>
      <p:sp>
        <p:nvSpPr>
          <p:cNvPr id="6" name="Text Box 14"/>
          <p:cNvSpPr txBox="1">
            <a:spLocks noChangeArrowheads="1"/>
          </p:cNvSpPr>
          <p:nvPr userDrawn="1"/>
        </p:nvSpPr>
        <p:spPr bwMode="auto">
          <a:xfrm>
            <a:off x="858838" y="4875213"/>
            <a:ext cx="2228850" cy="219075"/>
          </a:xfrm>
          <a:prstGeom prst="rect">
            <a:avLst/>
          </a:prstGeom>
          <a:noFill/>
          <a:ln>
            <a:noFill/>
          </a:ln>
          <a:extLst/>
        </p:spPr>
        <p:txBody>
          <a:bodyPr lIns="34238" tIns="17110" rIns="34238" bIns="17110"/>
          <a:lstStyle/>
          <a:p>
            <a:pPr defTabSz="338658" fontAlgn="base">
              <a:spcBef>
                <a:spcPct val="0"/>
              </a:spcBef>
              <a:spcAft>
                <a:spcPct val="0"/>
              </a:spcAft>
              <a:buClr>
                <a:srgbClr val="829E7E"/>
              </a:buClr>
              <a:buFont typeface="Arial" pitchFamily="34" charset="0"/>
              <a:buNone/>
              <a:defRPr/>
            </a:pPr>
            <a:r>
              <a:rPr lang="en-US" sz="600" dirty="0">
                <a:solidFill>
                  <a:srgbClr val="292929"/>
                </a:solidFill>
                <a:latin typeface="Arial" pitchFamily="34" charset="0"/>
                <a:ea typeface="ＭＳ Ｐゴシック" pitchFamily="34" charset="-128"/>
                <a:cs typeface="Arial" pitchFamily="34" charset="0"/>
              </a:rPr>
              <a:t>Copyright © 2011, Oracle and/or its affiliates. All rights reserved.</a:t>
            </a:r>
          </a:p>
        </p:txBody>
      </p:sp>
      <p:cxnSp>
        <p:nvCxnSpPr>
          <p:cNvPr id="7" name="Straight Connector 6"/>
          <p:cNvCxnSpPr/>
          <p:nvPr userDrawn="1"/>
        </p:nvCxnSpPr>
        <p:spPr>
          <a:xfrm flipH="1">
            <a:off x="823913" y="4897438"/>
            <a:ext cx="1587" cy="96837"/>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8" name="Group 11"/>
          <p:cNvGrpSpPr>
            <a:grpSpLocks/>
          </p:cNvGrpSpPr>
          <p:nvPr userDrawn="1"/>
        </p:nvGrpSpPr>
        <p:grpSpPr bwMode="auto">
          <a:xfrm>
            <a:off x="3094038" y="4875213"/>
            <a:ext cx="2289175" cy="219075"/>
            <a:chOff x="3094495" y="4875691"/>
            <a:chExt cx="2289387" cy="219168"/>
          </a:xfrm>
        </p:grpSpPr>
        <p:sp>
          <p:nvSpPr>
            <p:cNvPr id="9" name="Text Box 14"/>
            <p:cNvSpPr txBox="1">
              <a:spLocks noChangeArrowheads="1"/>
            </p:cNvSpPr>
            <p:nvPr userDrawn="1"/>
          </p:nvSpPr>
          <p:spPr bwMode="auto">
            <a:xfrm>
              <a:off x="3124660" y="4875691"/>
              <a:ext cx="2259222" cy="219168"/>
            </a:xfrm>
            <a:prstGeom prst="rect">
              <a:avLst/>
            </a:prstGeom>
            <a:noFill/>
            <a:ln>
              <a:noFill/>
            </a:ln>
            <a:extLst/>
          </p:spPr>
          <p:txBody>
            <a:bodyPr lIns="34523" tIns="17262" rIns="34523" bIns="17262"/>
            <a:lstStyle/>
            <a:p>
              <a:pPr defTabSz="338658" fontAlgn="base">
                <a:spcBef>
                  <a:spcPct val="0"/>
                </a:spcBef>
                <a:spcAft>
                  <a:spcPct val="0"/>
                </a:spcAft>
                <a:buClr>
                  <a:srgbClr val="829E7E"/>
                </a:buClr>
                <a:buFont typeface="Arial" pitchFamily="34" charset="0"/>
                <a:buNone/>
                <a:defRPr/>
              </a:pPr>
              <a:r>
                <a:rPr lang="en-US" sz="600" dirty="0">
                  <a:solidFill>
                    <a:srgbClr val="292929"/>
                  </a:solidFill>
                  <a:latin typeface="Arial" pitchFamily="34" charset="0"/>
                  <a:ea typeface="ＭＳ Ｐゴシック" pitchFamily="34" charset="-128"/>
                  <a:cs typeface="Arial" pitchFamily="34" charset="0"/>
                </a:rPr>
                <a:t>Insert Information Protection Policy Classification from Slide 8</a:t>
              </a:r>
              <a:endParaRPr lang="en-US" sz="800" dirty="0">
                <a:solidFill>
                  <a:srgbClr val="292929"/>
                </a:solidFill>
                <a:latin typeface="Arial" pitchFamily="34" charset="0"/>
                <a:ea typeface="ＭＳ Ｐゴシック" pitchFamily="34" charset="-128"/>
                <a:cs typeface="Arial" pitchFamily="34" charset="0"/>
              </a:endParaRPr>
            </a:p>
          </p:txBody>
        </p:sp>
        <p:cxnSp>
          <p:nvCxnSpPr>
            <p:cNvPr id="10" name="Straight Connector 9"/>
            <p:cNvCxnSpPr/>
            <p:nvPr userDrawn="1"/>
          </p:nvCxnSpPr>
          <p:spPr>
            <a:xfrm flipH="1">
              <a:off x="3094495" y="4897925"/>
              <a:ext cx="1587" cy="96878"/>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
        <p:nvSpPr>
          <p:cNvPr id="2" name="Title 1"/>
          <p:cNvSpPr>
            <a:spLocks noGrp="1"/>
          </p:cNvSpPr>
          <p:nvPr>
            <p:ph type="title"/>
          </p:nvPr>
        </p:nvSpPr>
        <p:spPr>
          <a:xfrm>
            <a:off x="808038" y="201113"/>
            <a:ext cx="7950200" cy="473075"/>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6451" y="1111251"/>
            <a:ext cx="7900974" cy="3648075"/>
          </a:xfrm>
        </p:spPr>
        <p:txBody>
          <a:bodyPr/>
          <a:lstStyle>
            <a:lvl1pPr marL="116519" indent="-116519">
              <a:spcBef>
                <a:spcPts val="400"/>
              </a:spcBef>
              <a:spcAft>
                <a:spcPts val="200"/>
              </a:spcAft>
              <a:buFont typeface="Arial" pitchFamily="34" charset="0"/>
              <a:buChar char="•"/>
              <a:defRPr sz="1200" b="0"/>
            </a:lvl1pPr>
            <a:lvl2pPr marL="341660" indent="-176342">
              <a:spcAft>
                <a:spcPts val="0"/>
              </a:spcAft>
              <a:buClr>
                <a:schemeClr val="tx1"/>
              </a:buClr>
              <a:buFont typeface="Arial" pitchFamily="34" charset="0"/>
              <a:buChar char="–"/>
              <a:defRPr sz="1100"/>
            </a:lvl2pPr>
            <a:lvl3pPr marL="569962" indent="-170044">
              <a:buClr>
                <a:schemeClr val="tx2"/>
              </a:buClr>
              <a:buFont typeface="Arial" pitchFamily="34" charset="0"/>
              <a:buChar char="•"/>
              <a:defRPr sz="1100">
                <a:solidFill>
                  <a:schemeClr val="tx1"/>
                </a:solidFill>
              </a:defRPr>
            </a:lvl3pPr>
            <a:lvl4pPr marL="848648" indent="-107071">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190308" indent="-165320">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Footer Placeholder 4"/>
          <p:cNvSpPr>
            <a:spLocks noGrp="1"/>
          </p:cNvSpPr>
          <p:nvPr>
            <p:ph type="ftr" sz="quarter" idx="10"/>
          </p:nvPr>
        </p:nvSpPr>
        <p:spPr>
          <a:xfrm>
            <a:off x="5824538" y="4757738"/>
            <a:ext cx="2895600" cy="274637"/>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3"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4" name="Text Box 14"/>
          <p:cNvSpPr txBox="1">
            <a:spLocks noChangeArrowheads="1"/>
          </p:cNvSpPr>
          <p:nvPr userDrawn="1"/>
        </p:nvSpPr>
        <p:spPr bwMode="auto">
          <a:xfrm>
            <a:off x="635000" y="4875213"/>
            <a:ext cx="157163" cy="219075"/>
          </a:xfrm>
          <a:prstGeom prst="rect">
            <a:avLst/>
          </a:prstGeom>
          <a:noFill/>
          <a:ln>
            <a:noFill/>
          </a:ln>
          <a:extLst/>
        </p:spPr>
        <p:txBody>
          <a:bodyPr lIns="34238" tIns="17110" rIns="34238" bIns="17110"/>
          <a:lstStyle/>
          <a:p>
            <a:pPr algn="r" defTabSz="338658" fontAlgn="base">
              <a:spcBef>
                <a:spcPct val="0"/>
              </a:spcBef>
              <a:spcAft>
                <a:spcPct val="0"/>
              </a:spcAft>
              <a:buClr>
                <a:srgbClr val="829E7E"/>
              </a:buClr>
              <a:buFont typeface="Arial" pitchFamily="34" charset="0"/>
              <a:buNone/>
              <a:defRPr/>
            </a:pPr>
            <a:fld id="{FAF5C6BC-4C10-4A54-9396-52132089F6DC}" type="slidenum">
              <a:rPr lang="en-US" sz="600">
                <a:solidFill>
                  <a:srgbClr val="000000"/>
                </a:solidFill>
                <a:latin typeface="Arial" pitchFamily="34" charset="0"/>
                <a:ea typeface="ＭＳ Ｐゴシック" pitchFamily="34" charset="-128"/>
                <a:cs typeface="Arial" pitchFamily="34" charset="0"/>
              </a:rPr>
              <a:pPr algn="r" defTabSz="338658" fontAlgn="base">
                <a:spcBef>
                  <a:spcPct val="0"/>
                </a:spcBef>
                <a:spcAft>
                  <a:spcPct val="0"/>
                </a:spcAft>
                <a:buClr>
                  <a:srgbClr val="829E7E"/>
                </a:buClr>
                <a:buFont typeface="Arial" pitchFamily="34" charset="0"/>
                <a:buNone/>
                <a:defRPr/>
              </a:pPr>
              <a:t>‹#›</a:t>
            </a:fld>
            <a:endParaRPr lang="en-US" sz="600" dirty="0">
              <a:solidFill>
                <a:srgbClr val="292929"/>
              </a:solidFill>
              <a:latin typeface="Arial" pitchFamily="34" charset="0"/>
              <a:ea typeface="ＭＳ Ｐゴシック" pitchFamily="34" charset="-128"/>
              <a:cs typeface="Arial" pitchFamily="34" charset="0"/>
            </a:endParaRPr>
          </a:p>
        </p:txBody>
      </p:sp>
      <p:sp>
        <p:nvSpPr>
          <p:cNvPr id="5" name="Text Box 14"/>
          <p:cNvSpPr txBox="1">
            <a:spLocks noChangeArrowheads="1"/>
          </p:cNvSpPr>
          <p:nvPr userDrawn="1"/>
        </p:nvSpPr>
        <p:spPr bwMode="auto">
          <a:xfrm>
            <a:off x="858838" y="4875213"/>
            <a:ext cx="2228850" cy="219075"/>
          </a:xfrm>
          <a:prstGeom prst="rect">
            <a:avLst/>
          </a:prstGeom>
          <a:noFill/>
          <a:ln>
            <a:noFill/>
          </a:ln>
          <a:extLst/>
        </p:spPr>
        <p:txBody>
          <a:bodyPr lIns="34238" tIns="17110" rIns="34238" bIns="17110"/>
          <a:lstStyle/>
          <a:p>
            <a:pPr defTabSz="338658" fontAlgn="base">
              <a:spcBef>
                <a:spcPct val="0"/>
              </a:spcBef>
              <a:spcAft>
                <a:spcPct val="0"/>
              </a:spcAft>
              <a:buClr>
                <a:srgbClr val="829E7E"/>
              </a:buClr>
              <a:buFont typeface="Arial" pitchFamily="34" charset="0"/>
              <a:buNone/>
              <a:defRPr/>
            </a:pPr>
            <a:r>
              <a:rPr lang="en-US" sz="600" dirty="0">
                <a:solidFill>
                  <a:srgbClr val="292929"/>
                </a:solidFill>
                <a:latin typeface="Arial" pitchFamily="34" charset="0"/>
                <a:ea typeface="ＭＳ Ｐゴシック" pitchFamily="34" charset="-128"/>
                <a:cs typeface="Arial" pitchFamily="34" charset="0"/>
              </a:rPr>
              <a:t>Copyright © 2011, Oracle and/or its affiliates. All rights reserved.</a:t>
            </a:r>
          </a:p>
        </p:txBody>
      </p:sp>
      <p:cxnSp>
        <p:nvCxnSpPr>
          <p:cNvPr id="6" name="Straight Connector 5"/>
          <p:cNvCxnSpPr/>
          <p:nvPr userDrawn="1"/>
        </p:nvCxnSpPr>
        <p:spPr>
          <a:xfrm flipH="1">
            <a:off x="823913" y="4897438"/>
            <a:ext cx="1587" cy="96837"/>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7" name="Group 11"/>
          <p:cNvGrpSpPr>
            <a:grpSpLocks/>
          </p:cNvGrpSpPr>
          <p:nvPr userDrawn="1"/>
        </p:nvGrpSpPr>
        <p:grpSpPr bwMode="auto">
          <a:xfrm>
            <a:off x="3094038" y="4875213"/>
            <a:ext cx="2289175" cy="219075"/>
            <a:chOff x="3094495" y="4875691"/>
            <a:chExt cx="2289387" cy="219168"/>
          </a:xfrm>
        </p:grpSpPr>
        <p:sp>
          <p:nvSpPr>
            <p:cNvPr id="8" name="Text Box 14"/>
            <p:cNvSpPr txBox="1">
              <a:spLocks noChangeArrowheads="1"/>
            </p:cNvSpPr>
            <p:nvPr userDrawn="1"/>
          </p:nvSpPr>
          <p:spPr bwMode="auto">
            <a:xfrm>
              <a:off x="3124660" y="4875691"/>
              <a:ext cx="2259222" cy="219168"/>
            </a:xfrm>
            <a:prstGeom prst="rect">
              <a:avLst/>
            </a:prstGeom>
            <a:noFill/>
            <a:ln>
              <a:noFill/>
            </a:ln>
            <a:extLst/>
          </p:spPr>
          <p:txBody>
            <a:bodyPr lIns="34523" tIns="17262" rIns="34523" bIns="17262"/>
            <a:lstStyle/>
            <a:p>
              <a:pPr defTabSz="338658" fontAlgn="base">
                <a:spcBef>
                  <a:spcPct val="0"/>
                </a:spcBef>
                <a:spcAft>
                  <a:spcPct val="0"/>
                </a:spcAft>
                <a:buClr>
                  <a:srgbClr val="829E7E"/>
                </a:buClr>
                <a:buFont typeface="Arial" pitchFamily="34" charset="0"/>
                <a:buNone/>
                <a:defRPr/>
              </a:pPr>
              <a:r>
                <a:rPr lang="en-US" sz="600" dirty="0">
                  <a:solidFill>
                    <a:srgbClr val="292929"/>
                  </a:solidFill>
                  <a:latin typeface="Arial" pitchFamily="34" charset="0"/>
                  <a:ea typeface="ＭＳ Ｐゴシック" pitchFamily="34" charset="-128"/>
                  <a:cs typeface="Arial" pitchFamily="34" charset="0"/>
                </a:rPr>
                <a:t>Insert Information Protection Policy Classification from Slide 8</a:t>
              </a:r>
              <a:endParaRPr lang="en-US" sz="800" dirty="0">
                <a:solidFill>
                  <a:srgbClr val="292929"/>
                </a:solidFill>
                <a:latin typeface="Arial" pitchFamily="34" charset="0"/>
                <a:ea typeface="ＭＳ Ｐゴシック" pitchFamily="34" charset="-128"/>
                <a:cs typeface="Arial" pitchFamily="34" charset="0"/>
              </a:endParaRPr>
            </a:p>
          </p:txBody>
        </p:sp>
        <p:cxnSp>
          <p:nvCxnSpPr>
            <p:cNvPr id="9" name="Straight Connector 8"/>
            <p:cNvCxnSpPr/>
            <p:nvPr userDrawn="1"/>
          </p:nvCxnSpPr>
          <p:spPr>
            <a:xfrm flipH="1">
              <a:off x="3094495" y="4897925"/>
              <a:ext cx="1587" cy="96878"/>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
        <p:nvSpPr>
          <p:cNvPr id="2" name="Title 1"/>
          <p:cNvSpPr>
            <a:spLocks noGrp="1"/>
          </p:cNvSpPr>
          <p:nvPr>
            <p:ph type="title"/>
          </p:nvPr>
        </p:nvSpPr>
        <p:spPr>
          <a:xfrm>
            <a:off x="808038" y="201076"/>
            <a:ext cx="7950200" cy="530224"/>
          </a:xfrm>
        </p:spPr>
        <p:txBody>
          <a:bodyPr/>
          <a:lstStyle/>
          <a:p>
            <a:r>
              <a:rPr lang="en-US" dirty="0" smtClean="0"/>
              <a:t>Click to edit Master title style</a:t>
            </a:r>
            <a:endParaRPr lang="en-US" dirty="0"/>
          </a:p>
        </p:txBody>
      </p:sp>
      <p:sp>
        <p:nvSpPr>
          <p:cNvPr id="10" name="Footer Placeholder 4"/>
          <p:cNvSpPr>
            <a:spLocks noGrp="1"/>
          </p:cNvSpPr>
          <p:nvPr>
            <p:ph type="ftr" sz="quarter" idx="10"/>
          </p:nvPr>
        </p:nvSpPr>
        <p:spPr>
          <a:xfrm>
            <a:off x="5857875" y="4800600"/>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fontAlgn="base">
              <a:spcBef>
                <a:spcPct val="0"/>
              </a:spcBef>
              <a:spcAft>
                <a:spcPct val="0"/>
              </a:spcAft>
              <a:defRPr/>
            </a:pPr>
            <a:endParaRPr lang="en-US" sz="700" dirty="0">
              <a:solidFill>
                <a:srgbClr val="000000"/>
              </a:solidFill>
            </a:endParaRPr>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53" cy="1100723"/>
          </a:xfrm>
        </p:spPr>
        <p:txBody>
          <a:bodyPr anchor="t" anchorCtr="0"/>
          <a:lstStyle>
            <a:lvl1pPr>
              <a:defRPr sz="2800" b="1">
                <a:ln w="0">
                  <a:noFill/>
                </a:ln>
                <a:solidFill>
                  <a:schemeClr val="tx1"/>
                </a:solidFill>
                <a:effectLst/>
              </a:defRPr>
            </a:lvl1pPr>
          </a:lstStyle>
          <a:p>
            <a:r>
              <a:rPr lang="en-US" dirty="0" smtClean="0"/>
              <a:t>Click to edit text </a:t>
            </a:r>
            <a:endParaRPr lang="en-US" dirty="0"/>
          </a:p>
        </p:txBody>
      </p:sp>
      <p:sp>
        <p:nvSpPr>
          <p:cNvPr id="12" name="Rectangle 11"/>
          <p:cNvSpPr/>
          <p:nvPr userDrawn="1"/>
        </p:nvSpPr>
        <p:spPr>
          <a:xfrm>
            <a:off x="5715000" y="0"/>
            <a:ext cx="3429000" cy="4631267"/>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455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 name="Title 1"/>
          <p:cNvSpPr>
            <a:spLocks noGrp="1"/>
          </p:cNvSpPr>
          <p:nvPr>
            <p:ph type="title"/>
          </p:nvPr>
        </p:nvSpPr>
        <p:spPr>
          <a:xfrm>
            <a:off x="804347" y="245538"/>
            <a:ext cx="8229586" cy="768803"/>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 name="Title 1"/>
          <p:cNvSpPr>
            <a:spLocks noGrp="1"/>
          </p:cNvSpPr>
          <p:nvPr>
            <p:ph type="title"/>
          </p:nvPr>
        </p:nvSpPr>
        <p:spPr>
          <a:xfrm>
            <a:off x="804347" y="245538"/>
            <a:ext cx="8229586" cy="406395"/>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5943600" y="0"/>
            <a:ext cx="32004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16" descr="O_signature_wht_rgb.png"/>
          <p:cNvPicPr>
            <a:picLocks noChangeAspect="1"/>
          </p:cNvPicPr>
          <p:nvPr userDrawn="1"/>
        </p:nvPicPr>
        <p:blipFill>
          <a:blip r:embed="rId2" cstate="print"/>
          <a:srcRect/>
          <a:stretch>
            <a:fillRect/>
          </a:stretch>
        </p:blipFill>
        <p:spPr bwMode="auto">
          <a:xfrm>
            <a:off x="261938" y="254000"/>
            <a:ext cx="2147887" cy="661988"/>
          </a:xfrm>
          <a:prstGeom prst="rect">
            <a:avLst/>
          </a:prstGeom>
          <a:noFill/>
          <a:ln w="9525">
            <a:noFill/>
            <a:miter lim="800000"/>
            <a:headEnd/>
            <a:tailEnd/>
          </a:ln>
        </p:spPr>
      </p:pic>
      <p:sp>
        <p:nvSpPr>
          <p:cNvPr id="17" name="Title 1"/>
          <p:cNvSpPr>
            <a:spLocks noGrp="1"/>
          </p:cNvSpPr>
          <p:nvPr>
            <p:ph type="title"/>
          </p:nvPr>
        </p:nvSpPr>
        <p:spPr>
          <a:xfrm>
            <a:off x="45148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49"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5400"/>
            <a:ext cx="9144000" cy="51689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25400"/>
            <a:ext cx="9144000" cy="4157663"/>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16" descr="O_signature_wht_rgb.png"/>
          <p:cNvPicPr>
            <a:picLocks noChangeAspect="1"/>
          </p:cNvPicPr>
          <p:nvPr userDrawn="1"/>
        </p:nvPicPr>
        <p:blipFill>
          <a:blip r:embed="rId2" cstate="print"/>
          <a:srcRect/>
          <a:stretch>
            <a:fillRect/>
          </a:stretch>
        </p:blipFill>
        <p:spPr bwMode="auto">
          <a:xfrm>
            <a:off x="261938" y="254000"/>
            <a:ext cx="2147887" cy="661988"/>
          </a:xfrm>
          <a:prstGeom prst="rect">
            <a:avLst/>
          </a:prstGeom>
          <a:noFill/>
          <a:ln w="9525">
            <a:noFill/>
            <a:miter lim="800000"/>
            <a:headEnd/>
            <a:tailEnd/>
          </a:ln>
        </p:spPr>
      </p:pic>
      <p:sp>
        <p:nvSpPr>
          <p:cNvPr id="9" name="Rectangle 8"/>
          <p:cNvSpPr/>
          <p:nvPr userDrawn="1"/>
        </p:nvSpPr>
        <p:spPr>
          <a:xfrm>
            <a:off x="5943600" y="-25400"/>
            <a:ext cx="3200400" cy="4157663"/>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a:xfrm>
            <a:off x="451485" y="1583267"/>
            <a:ext cx="5026448"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49" y="2914276"/>
            <a:ext cx="5027083" cy="1048124"/>
          </a:xfrm>
        </p:spPr>
        <p:txBody>
          <a:bodyPr/>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a:p>
            <a:pPr lvl="1"/>
            <a:r>
              <a:rPr lang="en-US" smtClean="0"/>
              <a:t>Second level</a:t>
            </a:r>
          </a:p>
        </p:txBody>
      </p:sp>
      <p:sp>
        <p:nvSpPr>
          <p:cNvPr id="3" name="Picture Placeholder 2"/>
          <p:cNvSpPr>
            <a:spLocks noGrp="1"/>
          </p:cNvSpPr>
          <p:nvPr>
            <p:ph type="pic" sz="quarter" idx="14"/>
          </p:nvPr>
        </p:nvSpPr>
        <p:spPr>
          <a:xfrm>
            <a:off x="5943600" y="-25400"/>
            <a:ext cx="3200400" cy="4157663"/>
          </a:xfrm>
          <a:effectLst>
            <a:innerShdw blurRad="63500" dist="50800" dir="10800000">
              <a:prstClr val="black">
                <a:alpha val="50000"/>
              </a:prstClr>
            </a:innerShdw>
          </a:effectLst>
        </p:spPr>
        <p:txBody>
          <a:bodyPr rtlCol="0" anchor="ctr" anchorCtr="1">
            <a:noAutofit/>
          </a:bodyPr>
          <a:lstStyle>
            <a:lvl1pPr>
              <a:buFontTx/>
              <a:buNone/>
              <a:defRPr lang="en-US"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3"/>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9"/>
          <p:cNvGrpSpPr>
            <a:grpSpLocks/>
          </p:cNvGrpSpPr>
          <p:nvPr userDrawn="1"/>
        </p:nvGrpSpPr>
        <p:grpSpPr bwMode="auto">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a:xfrm>
            <a:off x="804981" y="245538"/>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2"/>
            <a:ext cx="7771752"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3" name="Rectangle 2"/>
          <p:cNvSpPr/>
          <p:nvPr userDrawn="1"/>
        </p:nvSpPr>
        <p:spPr>
          <a:xfrm>
            <a:off x="5715000" y="0"/>
            <a:ext cx="3429000" cy="4630738"/>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5"/>
          <p:cNvGrpSpPr>
            <a:grpSpLocks/>
          </p:cNvGrpSpPr>
          <p:nvPr userDrawn="1"/>
        </p:nvGrpSpPr>
        <p:grpSpPr bwMode="auto">
          <a:xfrm>
            <a:off x="0" y="4629150"/>
            <a:ext cx="9144000" cy="168275"/>
            <a:chOff x="0" y="4629150"/>
            <a:chExt cx="9144000" cy="168275"/>
          </a:xfrm>
        </p:grpSpPr>
        <p:pic>
          <p:nvPicPr>
            <p:cNvPr id="5"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1" y="1571843"/>
            <a:ext cx="4709053" cy="1100723"/>
          </a:xfrm>
        </p:spPr>
        <p:txBody>
          <a:bodyPr/>
          <a:lstStyle>
            <a:lvl1pPr>
              <a:defRPr sz="2800" b="1">
                <a:ln w="0">
                  <a:noFill/>
                </a:ln>
                <a:solidFill>
                  <a:schemeClr val="tx1"/>
                </a:solidFill>
                <a:effectLst/>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0" y="4629150"/>
            <a:ext cx="9144000" cy="168275"/>
            <a:chOff x="0" y="4629150"/>
            <a:chExt cx="9144000" cy="168275"/>
          </a:xfrm>
        </p:grpSpPr>
        <p:pic>
          <p:nvPicPr>
            <p:cNvPr id="5"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5715000" y="0"/>
            <a:ext cx="3429000"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1" y="1571843"/>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4" name="Rectangle 3"/>
          <p:cNvSpPr/>
          <p:nvPr userDrawn="1"/>
        </p:nvSpPr>
        <p:spPr>
          <a:xfrm>
            <a:off x="0" y="1160463"/>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8"/>
          <p:cNvGrpSpPr>
            <a:grpSpLocks/>
          </p:cNvGrpSpPr>
          <p:nvPr userDrawn="1"/>
        </p:nvGrpSpPr>
        <p:grpSpPr bwMode="auto">
          <a:xfrm>
            <a:off x="0" y="4629150"/>
            <a:ext cx="9144000" cy="168275"/>
            <a:chOff x="0" y="4629150"/>
            <a:chExt cx="9144000" cy="168275"/>
          </a:xfrm>
        </p:grpSpPr>
        <p:pic>
          <p:nvPicPr>
            <p:cNvPr id="6"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804347" y="1459241"/>
            <a:ext cx="5029186" cy="2410019"/>
          </a:xfrm>
        </p:spPr>
        <p:txBody>
          <a:bodyPr>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lvl="0"/>
            <a:r>
              <a:rPr lang="en-US" smtClean="0"/>
              <a:t>Click to edit Master text styles</a:t>
            </a:r>
          </a:p>
          <a:p>
            <a:pPr lvl="1"/>
            <a:r>
              <a:rPr lang="en-US" smtClean="0"/>
              <a:t>Second level</a:t>
            </a:r>
          </a:p>
        </p:txBody>
      </p:sp>
      <p:sp>
        <p:nvSpPr>
          <p:cNvPr id="12" name="Picture Placeholder 11"/>
          <p:cNvSpPr>
            <a:spLocks noGrp="1"/>
          </p:cNvSpPr>
          <p:nvPr>
            <p:ph type="pic" sz="quarter" idx="12"/>
          </p:nvPr>
        </p:nvSpPr>
        <p:spPr>
          <a:xfrm>
            <a:off x="5941222" y="0"/>
            <a:ext cx="3064933" cy="4629150"/>
          </a:xfrm>
          <a:ln>
            <a:noFill/>
          </a:ln>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5" name="Rectangle 4"/>
          <p:cNvSpPr/>
          <p:nvPr userDrawn="1"/>
        </p:nvSpPr>
        <p:spPr>
          <a:xfrm>
            <a:off x="2990850" y="1160463"/>
            <a:ext cx="615315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3443821" y="1430281"/>
            <a:ext cx="5369979" cy="2523657"/>
          </a:xfrm>
        </p:spPr>
        <p:txBody>
          <a:bodyPr/>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
        <p:nvSpPr>
          <p:cNvPr id="6" name="Picture Placeholder 11"/>
          <p:cNvSpPr>
            <a:spLocks noGrp="1"/>
          </p:cNvSpPr>
          <p:nvPr>
            <p:ph type="pic" sz="quarter" idx="13"/>
          </p:nvPr>
        </p:nvSpPr>
        <p:spPr>
          <a:xfrm>
            <a:off x="6351" y="1159936"/>
            <a:ext cx="2944368" cy="2971800"/>
          </a:xfrm>
          <a:ln>
            <a:noFill/>
          </a:ln>
          <a:effectLst>
            <a:reflection stA="30000" endPos="4000" dir="5400000" sy="-100000" algn="bl" rotWithShape="0"/>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6" name="Rectangle 5"/>
          <p:cNvSpPr/>
          <p:nvPr userDrawn="1"/>
        </p:nvSpPr>
        <p:spPr>
          <a:xfrm>
            <a:off x="0" y="1716088"/>
            <a:ext cx="4284663" cy="24209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bwMode="auto">
          <a:xfrm>
            <a:off x="1588" y="1157288"/>
            <a:ext cx="4291012" cy="550862"/>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ea typeface="ＭＳ Ｐゴシック" pitchFamily="34" charset="-128"/>
              <a:cs typeface="Arial" pitchFamily="34" charset="0"/>
            </a:endParaRPr>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26" name="Picture Placeholder 25"/>
          <p:cNvSpPr>
            <a:spLocks noGrp="1"/>
          </p:cNvSpPr>
          <p:nvPr>
            <p:ph type="pic" sz="quarter" idx="15"/>
          </p:nvPr>
        </p:nvSpPr>
        <p:spPr>
          <a:xfrm>
            <a:off x="4318000" y="1156648"/>
            <a:ext cx="4825998" cy="2971800"/>
          </a:xfrm>
          <a:effectLst>
            <a:reflection blurRad="63500" stA="50000" endPos="7000" dir="5400000" sy="-100000" algn="bl" rotWithShape="0"/>
          </a:effectLst>
        </p:spPr>
        <p:txBody>
          <a:bodyPr rtlCol="0" anchor="ctr" anchorCtr="1">
            <a:noAutofit/>
          </a:bodyPr>
          <a:lstStyle>
            <a:lvl1pPr marL="0" indent="0" algn="ctr">
              <a:buNone/>
              <a:defRPr/>
            </a:lvl1pPr>
          </a:lstStyle>
          <a:p>
            <a:pPr lvl="0"/>
            <a:r>
              <a:rPr lang="en-US" noProof="0" dirty="0" smtClean="0"/>
              <a:t>Click icon to add picture</a:t>
            </a:r>
            <a:endParaRPr lang="en-US" noProof="0"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p:nvPr>
        </p:nvSpPr>
        <p:spPr>
          <a:xfrm>
            <a:off x="804346" y="1163620"/>
            <a:ext cx="3412068" cy="544351"/>
          </a:xfrm>
          <a:noFill/>
        </p:spPr>
        <p:txBody>
          <a:bodyPr anchor="ctr">
            <a:noAutofit/>
          </a:bodyPr>
          <a:lstStyle>
            <a:lvl1pPr marL="0" indent="0">
              <a:buNone/>
              <a:defRPr sz="2000" b="1" cap="none" baseline="0">
                <a:solidFill>
                  <a:schemeClr val="bg1"/>
                </a:solidFill>
              </a:defRPr>
            </a:lvl1pPr>
          </a:lstStyle>
          <a:p>
            <a:pPr lvl="0"/>
            <a:r>
              <a:rPr lang="en-US" smtClean="0"/>
              <a:t>Click to edit Master text styles</a:t>
            </a:r>
          </a:p>
        </p:txBody>
      </p:sp>
      <p:sp>
        <p:nvSpPr>
          <p:cNvPr id="11" name="Title 1"/>
          <p:cNvSpPr>
            <a:spLocks noGrp="1"/>
          </p:cNvSpPr>
          <p:nvPr>
            <p:ph type="title"/>
          </p:nvPr>
        </p:nvSpPr>
        <p:spPr>
          <a:xfrm>
            <a:off x="804346" y="245538"/>
            <a:ext cx="8221121"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40" cy="1100723"/>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dirty="0" smtClean="0"/>
              <a:t>Click to edit text </a:t>
            </a:r>
            <a:endParaRPr lang="en-US" dirty="0"/>
          </a:p>
        </p:txBody>
      </p:sp>
      <p:sp>
        <p:nvSpPr>
          <p:cNvPr id="10" name="Picture Placeholder 11"/>
          <p:cNvSpPr>
            <a:spLocks noGrp="1"/>
          </p:cNvSpPr>
          <p:nvPr>
            <p:ph type="pic" sz="quarter" idx="12" hasCustomPrompt="1"/>
          </p:nvPr>
        </p:nvSpPr>
        <p:spPr>
          <a:xfrm>
            <a:off x="5715000" y="-2117"/>
            <a:ext cx="3429000" cy="4629150"/>
          </a:xfrm>
          <a:ln>
            <a:noFill/>
          </a:ln>
          <a:effectLst/>
        </p:spPr>
        <p:txBody>
          <a:bodyPr anchor="ctr" anchorCtr="0"/>
          <a:lstStyle>
            <a:lvl1pPr marL="0" indent="0" algn="ctr">
              <a:buNone/>
              <a:defRPr>
                <a:ln>
                  <a:noFill/>
                </a:ln>
                <a:solidFill>
                  <a:schemeClr val="tx2"/>
                </a:solidFill>
              </a:defRPr>
            </a:lvl1pPr>
          </a:lstStyle>
          <a:p>
            <a:r>
              <a:rPr lang="en-US" dirty="0" smtClean="0"/>
              <a:t>Insert Picture Here</a:t>
            </a:r>
            <a:endParaRPr lang="en-US" dirty="0"/>
          </a:p>
        </p:txBody>
      </p:sp>
      <p:grpSp>
        <p:nvGrpSpPr>
          <p:cNvPr id="6"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6" name="Rectangle 15"/>
          <p:cNvSpPr/>
          <p:nvPr userDrawn="1"/>
        </p:nvSpPr>
        <p:spPr>
          <a:xfrm>
            <a:off x="5715000" y="0"/>
            <a:ext cx="3429000" cy="4631267"/>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3997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5" name="Rectangle 4"/>
          <p:cNvSpPr/>
          <p:nvPr userDrawn="1"/>
        </p:nvSpPr>
        <p:spPr>
          <a:xfrm>
            <a:off x="0" y="1160463"/>
            <a:ext cx="9144000" cy="2971800"/>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6" name="Rectangle 5"/>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ext Placeholder 9"/>
          <p:cNvSpPr>
            <a:spLocks noGrp="1"/>
          </p:cNvSpPr>
          <p:nvPr>
            <p:ph type="body" sz="quarter" idx="11"/>
          </p:nvPr>
        </p:nvSpPr>
        <p:spPr>
          <a:xfrm>
            <a:off x="797999" y="1422404"/>
            <a:ext cx="7617881" cy="1354667"/>
          </a:xfrm>
        </p:spPr>
        <p:txBody>
          <a:bodyPr>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p:nvPr>
        </p:nvSpPr>
        <p:spPr>
          <a:xfrm>
            <a:off x="899602" y="2844803"/>
            <a:ext cx="3994149" cy="443953"/>
          </a:xfrm>
          <a:noFill/>
        </p:spPr>
        <p:txBody>
          <a:bodyPr anchor="b">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8" name="Text Placeholder 22"/>
          <p:cNvSpPr>
            <a:spLocks noGrp="1"/>
          </p:cNvSpPr>
          <p:nvPr>
            <p:ph type="body" sz="quarter" idx="17"/>
          </p:nvPr>
        </p:nvSpPr>
        <p:spPr>
          <a:xfrm>
            <a:off x="899602" y="3343623"/>
            <a:ext cx="3994149" cy="703448"/>
          </a:xfrm>
          <a:noFill/>
        </p:spPr>
        <p:txBody>
          <a:bodyPr>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5" name="Rectangle 26"/>
          <p:cNvSpPr>
            <a:spLocks noChangeArrowheads="1"/>
          </p:cNvSpPr>
          <p:nvPr userDrawn="1"/>
        </p:nvSpPr>
        <p:spPr bwMode="auto">
          <a:xfrm flipH="1">
            <a:off x="3171825" y="1117600"/>
            <a:ext cx="26988" cy="3155950"/>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a:defRPr/>
            </a:pPr>
            <a:endParaRPr lang="en-US" dirty="0">
              <a:solidFill>
                <a:srgbClr val="000000"/>
              </a:solidFill>
              <a:cs typeface="Arial" pitchFamily="34" charset="0"/>
            </a:endParaRPr>
          </a:p>
        </p:txBody>
      </p:sp>
      <p:sp>
        <p:nvSpPr>
          <p:cNvPr id="6" name="Rectangle 5"/>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2" name="Text Placeholder 22"/>
          <p:cNvSpPr>
            <a:spLocks noGrp="1"/>
          </p:cNvSpPr>
          <p:nvPr>
            <p:ph type="body" sz="quarter" idx="16"/>
          </p:nvPr>
        </p:nvSpPr>
        <p:spPr>
          <a:xfrm>
            <a:off x="457201" y="1517907"/>
            <a:ext cx="2607406" cy="2488686"/>
          </a:xfrm>
          <a:noFill/>
        </p:spPr>
        <p:txBody>
          <a:bodyPr anchor="ctr">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smtClean="0"/>
              <a:t>Click to edit Master text styles</a:t>
            </a:r>
          </a:p>
        </p:txBody>
      </p:sp>
      <p:sp>
        <p:nvSpPr>
          <p:cNvPr id="3" name="Chart Placeholder 2"/>
          <p:cNvSpPr>
            <a:spLocks noGrp="1"/>
          </p:cNvSpPr>
          <p:nvPr>
            <p:ph type="chart" sz="quarter" idx="17"/>
          </p:nvPr>
        </p:nvSpPr>
        <p:spPr>
          <a:xfrm>
            <a:off x="3482976" y="1123950"/>
            <a:ext cx="5236560" cy="3284538"/>
          </a:xfrm>
        </p:spPr>
        <p:txBody>
          <a:bodyPr rtlCol="0" anchor="ctr" anchorCtr="1">
            <a:noAutofit/>
          </a:bodyPr>
          <a:lstStyle>
            <a:lvl1pPr marL="60325" indent="0" algn="ctr">
              <a:buNone/>
              <a:defRPr/>
            </a:lvl1pPr>
          </a:lstStyle>
          <a:p>
            <a:pPr lvl="0"/>
            <a:r>
              <a:rPr lang="en-US" noProof="0" dirty="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grpSp>
        <p:nvGrpSpPr>
          <p:cNvPr id="3" name="Group 4"/>
          <p:cNvGrpSpPr>
            <a:grpSpLocks/>
          </p:cNvGrpSpPr>
          <p:nvPr userDrawn="1"/>
        </p:nvGrpSpPr>
        <p:grpSpPr bwMode="auto">
          <a:xfrm>
            <a:off x="2103438" y="1774825"/>
            <a:ext cx="4937125" cy="1593850"/>
            <a:chOff x="2113332" y="1464413"/>
            <a:chExt cx="4936386" cy="1595045"/>
          </a:xfrm>
        </p:grpSpPr>
        <p:pic>
          <p:nvPicPr>
            <p:cNvPr id="4" name="Picture 10"/>
            <p:cNvPicPr>
              <a:picLocks noChangeAspect="1"/>
            </p:cNvPicPr>
            <p:nvPr/>
          </p:nvPicPr>
          <p:blipFill>
            <a:blip r:embed="rId2" cstate="print"/>
            <a:srcRect/>
            <a:stretch>
              <a:fillRect/>
            </a:stretch>
          </p:blipFill>
          <p:spPr bwMode="auto">
            <a:xfrm>
              <a:off x="2113332" y="1464413"/>
              <a:ext cx="4936386" cy="1595045"/>
            </a:xfrm>
            <a:prstGeom prst="rect">
              <a:avLst/>
            </a:prstGeom>
            <a:noFill/>
            <a:ln w="9525">
              <a:noFill/>
              <a:miter lim="800000"/>
              <a:headEnd/>
              <a:tailEnd/>
            </a:ln>
          </p:spPr>
        </p:pic>
        <p:pic>
          <p:nvPicPr>
            <p:cNvPr id="5" name="Picture 1034" descr="HSET_clr_rgb"/>
            <p:cNvPicPr>
              <a:picLocks noChangeAspect="1" noChangeArrowheads="1"/>
            </p:cNvPicPr>
            <p:nvPr/>
          </p:nvPicPr>
          <p:blipFill>
            <a:blip r:embed="rId3" cstate="print"/>
            <a:srcRect/>
            <a:stretch>
              <a:fillRect/>
            </a:stretch>
          </p:blipFill>
          <p:spPr bwMode="auto">
            <a:xfrm>
              <a:off x="2481263" y="1700213"/>
              <a:ext cx="4179887" cy="1198562"/>
            </a:xfrm>
            <a:prstGeom prst="rect">
              <a:avLst/>
            </a:prstGeom>
            <a:noFill/>
            <a:ln w="9525">
              <a:noFill/>
              <a:miter lim="800000"/>
              <a:headEnd/>
              <a:tailEnd/>
            </a:ln>
          </p:spPr>
        </p:pic>
      </p:grpSp>
    </p:spTree>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3" name="Picture 13" descr="O_signature_clr_rgb.jpg"/>
          <p:cNvPicPr>
            <a:picLocks noChangeAspect="1"/>
          </p:cNvPicPr>
          <p:nvPr/>
        </p:nvPicPr>
        <p:blipFill>
          <a:blip r:embed="rId3" cstate="print"/>
          <a:srcRect/>
          <a:stretch>
            <a:fillRect/>
          </a:stretch>
        </p:blipFill>
        <p:spPr bwMode="auto">
          <a:xfrm>
            <a:off x="855663" y="1328738"/>
            <a:ext cx="7315200" cy="2249487"/>
          </a:xfrm>
          <a:prstGeom prst="rect">
            <a:avLst/>
          </a:prstGeom>
          <a:noFill/>
          <a:ln w="9525">
            <a:noFill/>
            <a:miter lim="800000"/>
            <a:headEnd/>
            <a:tailEnd/>
          </a:ln>
        </p:spPr>
      </p:pic>
    </p:spTree>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3" name="Rectangle 2"/>
          <p:cNvSpPr/>
          <p:nvPr userDrawn="1"/>
        </p:nvSpPr>
        <p:spPr>
          <a:xfrm>
            <a:off x="0" y="4530725"/>
            <a:ext cx="9144000" cy="35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itle 1"/>
          <p:cNvSpPr>
            <a:spLocks noGrp="1"/>
          </p:cNvSpPr>
          <p:nvPr>
            <p:ph type="title"/>
          </p:nvPr>
        </p:nvSpPr>
        <p:spPr>
          <a:xfrm>
            <a:off x="802760" y="1571843"/>
            <a:ext cx="5030787" cy="1100723"/>
          </a:xfrm>
        </p:spPr>
        <p:txBody>
          <a:bodyPr/>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4" name="Rectangle 3"/>
          <p:cNvSpPr/>
          <p:nvPr/>
        </p:nvSpPr>
        <p:spPr>
          <a:xfrm>
            <a:off x="0" y="4530725"/>
            <a:ext cx="9144000" cy="35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5" name="Rectangle 4"/>
          <p:cNvSpPr/>
          <p:nvPr/>
        </p:nvSpPr>
        <p:spPr>
          <a:xfrm>
            <a:off x="0" y="4487863"/>
            <a:ext cx="9144000" cy="35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6037593" y="4791846"/>
            <a:ext cx="2895600" cy="274637"/>
          </a:xfrm>
          <a:prstGeom prst="rect">
            <a:avLst/>
          </a:prstGeom>
        </p:spPr>
        <p:txBody>
          <a:bodyPr/>
          <a:lstStyle>
            <a:lvl1pPr>
              <a:defRPr/>
            </a:lvl1pPr>
          </a:lstStyle>
          <a:p>
            <a:pPr fontAlgn="base">
              <a:spcBef>
                <a:spcPct val="0"/>
              </a:spcBef>
              <a:spcAft>
                <a:spcPct val="0"/>
              </a:spcAft>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870882423"/>
      </p:ext>
    </p:extLst>
  </p:cSld>
  <p:clrMapOvr>
    <a:masterClrMapping/>
  </p:clrMapOvr>
  <p:transition spd="slow"/>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1129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15" name="Rectangle 14"/>
          <p:cNvSpPr/>
          <p:nvPr userDrawn="1"/>
        </p:nvSpPr>
        <p:spPr>
          <a:xfrm>
            <a:off x="-2" y="1159938"/>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p:cNvSpPr>
            <a:spLocks noGrp="1"/>
          </p:cNvSpPr>
          <p:nvPr>
            <p:ph type="body" sz="quarter" idx="11" hasCustomPrompt="1"/>
          </p:nvPr>
        </p:nvSpPr>
        <p:spPr>
          <a:xfrm>
            <a:off x="804347" y="1459241"/>
            <a:ext cx="5029186" cy="2410019"/>
          </a:xfrm>
        </p:spPr>
        <p:txBody>
          <a:bodyPr anchor="t" anchorCtr="0">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r>
              <a:rPr lang="en-US" dirty="0" smtClean="0"/>
              <a:t>CLICK TO EDIT </a:t>
            </a:r>
            <a:br>
              <a:rPr lang="en-US" dirty="0" smtClean="0"/>
            </a:br>
            <a:r>
              <a:rPr lang="en-US" dirty="0" smtClean="0"/>
              <a:t>MASTER TEXT</a:t>
            </a:r>
          </a:p>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endParaRPr lang="en-US" dirty="0" smtClean="0"/>
          </a:p>
        </p:txBody>
      </p:sp>
      <p:sp>
        <p:nvSpPr>
          <p:cNvPr id="12" name="Picture Placeholder 11"/>
          <p:cNvSpPr>
            <a:spLocks noGrp="1"/>
          </p:cNvSpPr>
          <p:nvPr>
            <p:ph type="pic" sz="quarter" idx="12" hasCustomPrompt="1"/>
          </p:nvPr>
        </p:nvSpPr>
        <p:spPr>
          <a:xfrm>
            <a:off x="5941222" y="0"/>
            <a:ext cx="3064933" cy="4629150"/>
          </a:xfrm>
          <a:ln>
            <a:noFill/>
          </a:ln>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grpSp>
        <p:nvGrpSpPr>
          <p:cNvPr id="9" name="Group 8"/>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3"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4" name="Rectangle 13"/>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119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406395"/>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5715000" y="0"/>
            <a:ext cx="34290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18" descr="O_signature_wht_rgb.png"/>
          <p:cNvPicPr>
            <a:picLocks noChangeAspect="1"/>
          </p:cNvPicPr>
          <p:nvPr userDrawn="1"/>
        </p:nvPicPr>
        <p:blipFill>
          <a:blip r:embed="rId2" cstate="print"/>
          <a:srcRect/>
          <a:stretch>
            <a:fillRect/>
          </a:stretch>
        </p:blipFill>
        <p:spPr bwMode="auto">
          <a:xfrm>
            <a:off x="261938" y="254000"/>
            <a:ext cx="2147887" cy="661988"/>
          </a:xfrm>
          <a:prstGeom prst="rect">
            <a:avLst/>
          </a:prstGeom>
          <a:noFill/>
          <a:ln w="9525">
            <a:noFill/>
            <a:miter lim="800000"/>
            <a:headEnd/>
            <a:tailEnd/>
          </a:ln>
        </p:spPr>
      </p:pic>
      <p:sp>
        <p:nvSpPr>
          <p:cNvPr id="17" name="Title 1"/>
          <p:cNvSpPr>
            <a:spLocks noGrp="1"/>
          </p:cNvSpPr>
          <p:nvPr>
            <p:ph type="title"/>
          </p:nvPr>
        </p:nvSpPr>
        <p:spPr bwMode="white">
          <a:xfrm>
            <a:off x="45148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bwMode="white">
          <a:xfrm>
            <a:off x="450849"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715000" y="0"/>
            <a:ext cx="34290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5400"/>
            <a:ext cx="9144000" cy="4157663"/>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7" name="Picture 16" descr="O_signature_wht_rgb.png"/>
          <p:cNvPicPr>
            <a:picLocks noChangeAspect="1"/>
          </p:cNvPicPr>
          <p:nvPr userDrawn="1"/>
        </p:nvPicPr>
        <p:blipFill>
          <a:blip r:embed="rId2" cstate="print"/>
          <a:srcRect/>
          <a:stretch>
            <a:fillRect/>
          </a:stretch>
        </p:blipFill>
        <p:spPr bwMode="auto">
          <a:xfrm>
            <a:off x="261938" y="254000"/>
            <a:ext cx="2147887" cy="661988"/>
          </a:xfrm>
          <a:prstGeom prst="rect">
            <a:avLst/>
          </a:prstGeom>
          <a:noFill/>
          <a:ln w="9525">
            <a:noFill/>
            <a:miter lim="800000"/>
            <a:headEnd/>
            <a:tailEnd/>
          </a:ln>
        </p:spPr>
      </p:pic>
      <p:sp>
        <p:nvSpPr>
          <p:cNvPr id="8" name="Rectangle 7"/>
          <p:cNvSpPr/>
          <p:nvPr userDrawn="1"/>
        </p:nvSpPr>
        <p:spPr>
          <a:xfrm>
            <a:off x="5715000" y="-25400"/>
            <a:ext cx="3429000" cy="4157663"/>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bwMode="white">
          <a:xfrm>
            <a:off x="451485" y="1583267"/>
            <a:ext cx="5026448"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bwMode="white">
          <a:xfrm>
            <a:off x="450849" y="2914276"/>
            <a:ext cx="5027083" cy="1048124"/>
          </a:xfrm>
        </p:spPr>
        <p:txBody>
          <a:bodyPr/>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715000" y="-25400"/>
            <a:ext cx="3429000" cy="4157663"/>
          </a:xfrm>
          <a:effectLst>
            <a:innerShdw blurRad="63500" dist="50800" dir="10800000">
              <a:prstClr val="black">
                <a:alpha val="50000"/>
              </a:prstClr>
            </a:innerShdw>
          </a:effectLst>
        </p:spPr>
        <p:txBody>
          <a:bodyPr rtlCol="0" anchor="ctr" anchorCtr="1">
            <a:noAutofit/>
          </a:bodyPr>
          <a:lstStyle>
            <a:lvl1pPr>
              <a:buFontTx/>
              <a:buNone/>
              <a:defRPr lang="en-US" baseline="0">
                <a:solidFill>
                  <a:schemeClr val="bg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3"/>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title"/>
          </p:nvPr>
        </p:nvSpPr>
        <p:spPr>
          <a:xfrm>
            <a:off x="804981" y="245538"/>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2"/>
            <a:ext cx="7771752" cy="2616201"/>
          </a:xfrm>
        </p:spPr>
        <p:txBody>
          <a:bodyPr/>
          <a:lstStyle>
            <a:lvl1pPr marL="223838" indent="-223838">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3" name="Rectangle 2"/>
          <p:cNvSpPr/>
          <p:nvPr userDrawn="1"/>
        </p:nvSpPr>
        <p:spPr>
          <a:xfrm>
            <a:off x="5715000" y="0"/>
            <a:ext cx="3429000" cy="4630738"/>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5"/>
          <p:cNvGrpSpPr>
            <a:grpSpLocks/>
          </p:cNvGrpSpPr>
          <p:nvPr userDrawn="1"/>
        </p:nvGrpSpPr>
        <p:grpSpPr bwMode="auto">
          <a:xfrm>
            <a:off x="0" y="4629150"/>
            <a:ext cx="9144000" cy="168275"/>
            <a:chOff x="0" y="4629150"/>
            <a:chExt cx="9144000" cy="168275"/>
          </a:xfrm>
        </p:grpSpPr>
        <p:pic>
          <p:nvPicPr>
            <p:cNvPr id="5"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1" name="Title 1"/>
          <p:cNvSpPr>
            <a:spLocks noGrp="1"/>
          </p:cNvSpPr>
          <p:nvPr>
            <p:ph type="title"/>
          </p:nvPr>
        </p:nvSpPr>
        <p:spPr>
          <a:xfrm>
            <a:off x="802761" y="1571843"/>
            <a:ext cx="4709053" cy="1100723"/>
          </a:xfrm>
        </p:spPr>
        <p:txBody>
          <a:bodyPr/>
          <a:lstStyle>
            <a:lvl1pPr>
              <a:defRPr sz="2800" b="1">
                <a:ln w="0">
                  <a:noFill/>
                </a:ln>
                <a:solidFill>
                  <a:schemeClr val="tx1"/>
                </a:solidFill>
                <a:effectLst/>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4" name="Rectangle 3"/>
          <p:cNvSpPr/>
          <p:nvPr userDrawn="1"/>
        </p:nvSpPr>
        <p:spPr>
          <a:xfrm>
            <a:off x="5715000" y="0"/>
            <a:ext cx="3429000"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5"/>
          <p:cNvGrpSpPr>
            <a:grpSpLocks/>
          </p:cNvGrpSpPr>
          <p:nvPr userDrawn="1"/>
        </p:nvGrpSpPr>
        <p:grpSpPr bwMode="auto">
          <a:xfrm>
            <a:off x="0" y="4629150"/>
            <a:ext cx="9144000" cy="168275"/>
            <a:chOff x="0" y="4629150"/>
            <a:chExt cx="9144000" cy="168275"/>
          </a:xfrm>
        </p:grpSpPr>
        <p:pic>
          <p:nvPicPr>
            <p:cNvPr id="6"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1" name="Title 1"/>
          <p:cNvSpPr>
            <a:spLocks noGrp="1"/>
          </p:cNvSpPr>
          <p:nvPr>
            <p:ph type="title"/>
          </p:nvPr>
        </p:nvSpPr>
        <p:spPr>
          <a:xfrm>
            <a:off x="802761" y="1571843"/>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4" name="Rectangle 3"/>
          <p:cNvSpPr/>
          <p:nvPr userDrawn="1"/>
        </p:nvSpPr>
        <p:spPr>
          <a:xfrm>
            <a:off x="0" y="1160463"/>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8"/>
          <p:cNvGrpSpPr>
            <a:grpSpLocks/>
          </p:cNvGrpSpPr>
          <p:nvPr userDrawn="1"/>
        </p:nvGrpSpPr>
        <p:grpSpPr bwMode="auto">
          <a:xfrm>
            <a:off x="0" y="4629150"/>
            <a:ext cx="9144000" cy="168275"/>
            <a:chOff x="0" y="4629150"/>
            <a:chExt cx="9144000" cy="168275"/>
          </a:xfrm>
        </p:grpSpPr>
        <p:pic>
          <p:nvPicPr>
            <p:cNvPr id="6"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0" name="Text Placeholder 9"/>
          <p:cNvSpPr>
            <a:spLocks noGrp="1"/>
          </p:cNvSpPr>
          <p:nvPr>
            <p:ph type="body" sz="quarter" idx="11"/>
          </p:nvPr>
        </p:nvSpPr>
        <p:spPr>
          <a:xfrm>
            <a:off x="804347" y="1459241"/>
            <a:ext cx="5029186" cy="2410019"/>
          </a:xfrm>
        </p:spPr>
        <p:txBody>
          <a:bodyPr>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lvl="0"/>
            <a:r>
              <a:rPr lang="en-US" smtClean="0"/>
              <a:t>Click to edit Master text styles</a:t>
            </a:r>
          </a:p>
          <a:p>
            <a:pPr lvl="1"/>
            <a:r>
              <a:rPr lang="en-US" smtClean="0"/>
              <a:t>Second level</a:t>
            </a:r>
          </a:p>
        </p:txBody>
      </p:sp>
      <p:sp>
        <p:nvSpPr>
          <p:cNvPr id="12" name="Picture Placeholder 11"/>
          <p:cNvSpPr>
            <a:spLocks noGrp="1"/>
          </p:cNvSpPr>
          <p:nvPr>
            <p:ph type="pic" sz="quarter" idx="12"/>
          </p:nvPr>
        </p:nvSpPr>
        <p:spPr>
          <a:xfrm>
            <a:off x="5941222" y="0"/>
            <a:ext cx="3064933" cy="4629150"/>
          </a:xfrm>
          <a:ln>
            <a:noFill/>
          </a:ln>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5" name="Rectangle 4"/>
          <p:cNvSpPr/>
          <p:nvPr userDrawn="1"/>
        </p:nvSpPr>
        <p:spPr>
          <a:xfrm>
            <a:off x="2990850" y="1160463"/>
            <a:ext cx="615315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 Placeholder 9"/>
          <p:cNvSpPr>
            <a:spLocks noGrp="1"/>
          </p:cNvSpPr>
          <p:nvPr>
            <p:ph type="body" sz="quarter" idx="11"/>
          </p:nvPr>
        </p:nvSpPr>
        <p:spPr>
          <a:xfrm>
            <a:off x="3443821" y="1430281"/>
            <a:ext cx="5369979" cy="2523657"/>
          </a:xfrm>
        </p:spPr>
        <p:txBody>
          <a:bodyPr/>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
        <p:nvSpPr>
          <p:cNvPr id="6" name="Picture Placeholder 11"/>
          <p:cNvSpPr>
            <a:spLocks noGrp="1"/>
          </p:cNvSpPr>
          <p:nvPr>
            <p:ph type="pic" sz="quarter" idx="13"/>
          </p:nvPr>
        </p:nvSpPr>
        <p:spPr>
          <a:xfrm>
            <a:off x="6351" y="1159936"/>
            <a:ext cx="2944368" cy="2971800"/>
          </a:xfrm>
          <a:ln>
            <a:noFill/>
          </a:ln>
          <a:effectLst>
            <a:reflection stA="30000" endPos="4000" dir="5400000" sy="-100000" algn="bl" rotWithShape="0"/>
          </a:effectLst>
        </p:spPr>
        <p:txBody>
          <a:bodyPr rtlCol="0" anchor="ctr">
            <a:noAutofit/>
          </a:bodyPr>
          <a:lstStyle>
            <a:lvl1pPr marL="0" indent="0" algn="ctr">
              <a:buNone/>
              <a:defRPr>
                <a:ln>
                  <a:noFill/>
                </a:ln>
                <a:solidFill>
                  <a:schemeClr val="tx1"/>
                </a:solidFill>
              </a:defRPr>
            </a:lvl1pPr>
          </a:lstStyle>
          <a:p>
            <a:pPr lvl="0"/>
            <a:r>
              <a:rPr lang="en-US" noProof="0" dirty="0" smtClean="0"/>
              <a:t>Click icon to add picture</a:t>
            </a:r>
            <a:endParaRPr lang="en-US" noProof="0" dirty="0"/>
          </a:p>
        </p:txBody>
      </p:sp>
    </p:spTree>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6" name="Rectangle 5"/>
          <p:cNvSpPr/>
          <p:nvPr userDrawn="1"/>
        </p:nvSpPr>
        <p:spPr>
          <a:xfrm>
            <a:off x="0" y="1716088"/>
            <a:ext cx="4284663" cy="24209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bwMode="auto">
          <a:xfrm>
            <a:off x="1588" y="1157288"/>
            <a:ext cx="4291012" cy="550862"/>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ea typeface="ＭＳ Ｐゴシック" pitchFamily="34" charset="-128"/>
              <a:cs typeface="Arial" pitchFamily="34" charset="0"/>
            </a:endParaRPr>
          </a:p>
        </p:txBody>
      </p:sp>
      <p:sp>
        <p:nvSpPr>
          <p:cNvPr id="26" name="Picture Placeholder 25"/>
          <p:cNvSpPr>
            <a:spLocks noGrp="1"/>
          </p:cNvSpPr>
          <p:nvPr>
            <p:ph type="pic" sz="quarter" idx="15"/>
          </p:nvPr>
        </p:nvSpPr>
        <p:spPr>
          <a:xfrm>
            <a:off x="4318000" y="1156648"/>
            <a:ext cx="4825998" cy="2971800"/>
          </a:xfrm>
          <a:effectLst>
            <a:reflection blurRad="63500" stA="50000" endPos="7000" dir="5400000" sy="-100000" algn="bl" rotWithShape="0"/>
          </a:effectLst>
        </p:spPr>
        <p:txBody>
          <a:bodyPr rtlCol="0" anchor="ctr" anchorCtr="1">
            <a:noAutofit/>
          </a:bodyPr>
          <a:lstStyle>
            <a:lvl1pPr marL="0" indent="0" algn="ctr">
              <a:buNone/>
              <a:defRPr/>
            </a:lvl1pPr>
          </a:lstStyle>
          <a:p>
            <a:pPr lvl="0"/>
            <a:r>
              <a:rPr lang="en-US" noProof="0" dirty="0" smtClean="0"/>
              <a:t>Click icon to add picture</a:t>
            </a:r>
            <a:endParaRPr lang="en-US" noProof="0"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p:nvPr>
        </p:nvSpPr>
        <p:spPr bwMode="white">
          <a:xfrm>
            <a:off x="804346" y="1163620"/>
            <a:ext cx="3412068" cy="544351"/>
          </a:xfrm>
          <a:noFill/>
        </p:spPr>
        <p:txBody>
          <a:bodyPr anchor="ctr">
            <a:noAutofit/>
          </a:bodyPr>
          <a:lstStyle>
            <a:lvl1pPr marL="0" indent="0">
              <a:spcAft>
                <a:spcPts val="0"/>
              </a:spcAft>
              <a:buNone/>
              <a:defRPr sz="2000" b="1" cap="none" baseline="0">
                <a:solidFill>
                  <a:schemeClr val="bg1"/>
                </a:solidFill>
              </a:defRPr>
            </a:lvl1pPr>
          </a:lstStyle>
          <a:p>
            <a:pPr lvl="0"/>
            <a:r>
              <a:rPr lang="en-US" smtClean="0"/>
              <a:t>Click to edit Master text styles</a:t>
            </a:r>
          </a:p>
        </p:txBody>
      </p:sp>
      <p:sp>
        <p:nvSpPr>
          <p:cNvPr id="11" name="Title 1"/>
          <p:cNvSpPr>
            <a:spLocks noGrp="1"/>
          </p:cNvSpPr>
          <p:nvPr>
            <p:ph type="title"/>
          </p:nvPr>
        </p:nvSpPr>
        <p:spPr>
          <a:xfrm>
            <a:off x="804346" y="245538"/>
            <a:ext cx="8221121"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5" name="Rectangle 4"/>
          <p:cNvSpPr/>
          <p:nvPr userDrawn="1"/>
        </p:nvSpPr>
        <p:spPr>
          <a:xfrm>
            <a:off x="0" y="1160463"/>
            <a:ext cx="9144000" cy="2971800"/>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 name="Text Placeholder 9"/>
          <p:cNvSpPr>
            <a:spLocks noGrp="1"/>
          </p:cNvSpPr>
          <p:nvPr>
            <p:ph type="body" sz="quarter" idx="11"/>
          </p:nvPr>
        </p:nvSpPr>
        <p:spPr bwMode="white">
          <a:xfrm>
            <a:off x="797999" y="1422404"/>
            <a:ext cx="7617881" cy="1354667"/>
          </a:xfrm>
        </p:spPr>
        <p:txBody>
          <a:bodyPr>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p:nvPr>
        </p:nvSpPr>
        <p:spPr bwMode="white">
          <a:xfrm>
            <a:off x="899602" y="2844803"/>
            <a:ext cx="3994149" cy="443953"/>
          </a:xfrm>
          <a:noFill/>
        </p:spPr>
        <p:txBody>
          <a:bodyPr anchor="b">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8" name="Text Placeholder 22"/>
          <p:cNvSpPr>
            <a:spLocks noGrp="1"/>
          </p:cNvSpPr>
          <p:nvPr>
            <p:ph type="body" sz="quarter" idx="17"/>
          </p:nvPr>
        </p:nvSpPr>
        <p:spPr bwMode="white">
          <a:xfrm>
            <a:off x="899602" y="3343623"/>
            <a:ext cx="3994149" cy="703448"/>
          </a:xfrm>
          <a:noFill/>
        </p:spPr>
        <p:txBody>
          <a:bodyPr>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9" name="Rectangle 8"/>
          <p:cNvSpPr/>
          <p:nvPr userDrawn="1"/>
        </p:nvSpPr>
        <p:spPr>
          <a:xfrm>
            <a:off x="2990088" y="1159938"/>
            <a:ext cx="6153912"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p:cNvSpPr>
            <a:spLocks noGrp="1"/>
          </p:cNvSpPr>
          <p:nvPr>
            <p:ph type="body" sz="quarter" idx="11"/>
          </p:nvPr>
        </p:nvSpPr>
        <p:spPr>
          <a:xfrm>
            <a:off x="3443821" y="1430281"/>
            <a:ext cx="5369979" cy="2523657"/>
          </a:xfrm>
        </p:spPr>
        <p:txBody>
          <a:bodyPr anchor="t" anchorCtr="0"/>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6" name="Picture Placeholder 11"/>
          <p:cNvSpPr>
            <a:spLocks noGrp="1"/>
          </p:cNvSpPr>
          <p:nvPr>
            <p:ph type="pic" sz="quarter" idx="13" hasCustomPrompt="1"/>
          </p:nvPr>
        </p:nvSpPr>
        <p:spPr>
          <a:xfrm>
            <a:off x="6351" y="1159936"/>
            <a:ext cx="2944368" cy="29718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
        <p:nvSpPr>
          <p:cNvPr id="7" name="Rectangle 6"/>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1343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5" name="Rectangle 26"/>
          <p:cNvSpPr>
            <a:spLocks noChangeArrowheads="1"/>
          </p:cNvSpPr>
          <p:nvPr userDrawn="1"/>
        </p:nvSpPr>
        <p:spPr bwMode="auto">
          <a:xfrm flipH="1">
            <a:off x="3171825" y="1117600"/>
            <a:ext cx="26988" cy="3155950"/>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a:defRPr/>
            </a:pPr>
            <a:endParaRPr lang="en-US" dirty="0">
              <a:solidFill>
                <a:srgbClr val="000000"/>
              </a:solidFill>
              <a:cs typeface="Arial" pitchFamily="34" charset="0"/>
            </a:endParaRPr>
          </a:p>
        </p:txBody>
      </p:sp>
      <p:sp>
        <p:nvSpPr>
          <p:cNvPr id="12" name="Text Placeholder 22"/>
          <p:cNvSpPr>
            <a:spLocks noGrp="1"/>
          </p:cNvSpPr>
          <p:nvPr>
            <p:ph type="body" sz="quarter" idx="16"/>
          </p:nvPr>
        </p:nvSpPr>
        <p:spPr>
          <a:xfrm>
            <a:off x="457201" y="1126067"/>
            <a:ext cx="2607406" cy="3149600"/>
          </a:xfrm>
          <a:noFill/>
        </p:spPr>
        <p:txBody>
          <a:bodyPr anchor="ctr">
            <a:noAutofit/>
          </a:bodyPr>
          <a:lstStyle>
            <a:lvl1pPr marL="0" marR="0" indent="0" algn="l" defTabSz="228600" rtl="0" eaLnBrk="1" fontAlgn="auto" latinLnBrk="0" hangingPunct="1">
              <a:lnSpc>
                <a:spcPct val="100000"/>
              </a:lnSpc>
              <a:spcBef>
                <a:spcPts val="0"/>
              </a:spcBef>
              <a:spcAft>
                <a:spcPts val="600"/>
              </a:spcAft>
              <a:buClr>
                <a:srgbClr val="FF0000"/>
              </a:buClr>
              <a:buSzPct val="85000"/>
              <a:buFont typeface="Arial" pitchFamily="34" charset="0"/>
              <a:buNone/>
              <a:tabLst/>
              <a:defRPr sz="1800" b="0" cap="none" baseline="0">
                <a:solidFill>
                  <a:schemeClr val="tx1"/>
                </a:solidFill>
              </a:defRPr>
            </a:lvl1pPr>
            <a:lvl2pPr marL="169863" indent="-169863">
              <a:buClr>
                <a:schemeClr val="accent1"/>
              </a:buClr>
              <a:buFont typeface="Wingdings" charset="2"/>
              <a:buChar char="§"/>
              <a:defRPr sz="1600"/>
            </a:lvl2pPr>
          </a:lstStyle>
          <a:p>
            <a:pPr lvl="0"/>
            <a:r>
              <a:rPr lang="en-US" smtClean="0"/>
              <a:t>Click to edit Master text styles</a:t>
            </a:r>
          </a:p>
          <a:p>
            <a:pPr lvl="1"/>
            <a:r>
              <a:rPr lang="en-US" smtClean="0"/>
              <a:t>Second level</a:t>
            </a:r>
          </a:p>
        </p:txBody>
      </p:sp>
      <p:sp>
        <p:nvSpPr>
          <p:cNvPr id="3" name="Chart Placeholder 2"/>
          <p:cNvSpPr>
            <a:spLocks noGrp="1"/>
          </p:cNvSpPr>
          <p:nvPr>
            <p:ph type="chart" sz="quarter" idx="17"/>
          </p:nvPr>
        </p:nvSpPr>
        <p:spPr>
          <a:xfrm>
            <a:off x="3482976" y="1123950"/>
            <a:ext cx="5236560" cy="3151717"/>
          </a:xfrm>
        </p:spPr>
        <p:txBody>
          <a:bodyPr rtlCol="0" anchor="ctr" anchorCtr="1">
            <a:noAutofit/>
          </a:bodyPr>
          <a:lstStyle>
            <a:lvl1pPr marL="60325" indent="0" algn="ctr">
              <a:buNone/>
              <a:defRPr/>
            </a:lvl1pPr>
          </a:lstStyle>
          <a:p>
            <a:pPr lvl="0"/>
            <a:r>
              <a:rPr lang="en-US" noProof="0" dirty="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grpSp>
        <p:nvGrpSpPr>
          <p:cNvPr id="3" name="Group 4"/>
          <p:cNvGrpSpPr>
            <a:grpSpLocks/>
          </p:cNvGrpSpPr>
          <p:nvPr userDrawn="1"/>
        </p:nvGrpSpPr>
        <p:grpSpPr bwMode="auto">
          <a:xfrm>
            <a:off x="2103438" y="1774825"/>
            <a:ext cx="4937125" cy="1593850"/>
            <a:chOff x="2113332" y="1464413"/>
            <a:chExt cx="4936386" cy="1595045"/>
          </a:xfrm>
        </p:grpSpPr>
        <p:pic>
          <p:nvPicPr>
            <p:cNvPr id="4" name="Picture 10"/>
            <p:cNvPicPr>
              <a:picLocks noChangeAspect="1"/>
            </p:cNvPicPr>
            <p:nvPr/>
          </p:nvPicPr>
          <p:blipFill>
            <a:blip r:embed="rId2" cstate="print"/>
            <a:srcRect/>
            <a:stretch>
              <a:fillRect/>
            </a:stretch>
          </p:blipFill>
          <p:spPr bwMode="auto">
            <a:xfrm>
              <a:off x="2113332" y="1464413"/>
              <a:ext cx="4936386" cy="1595045"/>
            </a:xfrm>
            <a:prstGeom prst="rect">
              <a:avLst/>
            </a:prstGeom>
            <a:noFill/>
            <a:ln w="9525">
              <a:noFill/>
              <a:miter lim="800000"/>
              <a:headEnd/>
              <a:tailEnd/>
            </a:ln>
          </p:spPr>
        </p:pic>
        <p:pic>
          <p:nvPicPr>
            <p:cNvPr id="5" name="Picture 1034" descr="HSET_clr_rgb"/>
            <p:cNvPicPr>
              <a:picLocks noChangeAspect="1" noChangeArrowheads="1"/>
            </p:cNvPicPr>
            <p:nvPr/>
          </p:nvPicPr>
          <p:blipFill>
            <a:blip r:embed="rId3" cstate="print"/>
            <a:srcRect/>
            <a:stretch>
              <a:fillRect/>
            </a:stretch>
          </p:blipFill>
          <p:spPr bwMode="auto">
            <a:xfrm>
              <a:off x="2481263" y="1700213"/>
              <a:ext cx="4179887" cy="1198562"/>
            </a:xfrm>
            <a:prstGeom prst="rect">
              <a:avLst/>
            </a:prstGeom>
            <a:noFill/>
            <a:ln w="9525">
              <a:noFill/>
              <a:miter lim="800000"/>
              <a:headEnd/>
              <a:tailEnd/>
            </a:ln>
          </p:spPr>
        </p:pic>
      </p:grpSp>
    </p:spTree>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3" name="Picture 16" descr="O_signature_clr_rgb.jpg"/>
          <p:cNvPicPr>
            <a:picLocks noChangeAspect="1"/>
          </p:cNvPicPr>
          <p:nvPr/>
        </p:nvPicPr>
        <p:blipFill>
          <a:blip r:embed="rId3" cstate="print"/>
          <a:srcRect/>
          <a:stretch>
            <a:fillRect/>
          </a:stretch>
        </p:blipFill>
        <p:spPr bwMode="auto">
          <a:xfrm>
            <a:off x="855663" y="1328738"/>
            <a:ext cx="7315200" cy="2249487"/>
          </a:xfrm>
          <a:prstGeom prst="rect">
            <a:avLst/>
          </a:prstGeom>
          <a:noFill/>
          <a:ln w="9525">
            <a:noFill/>
            <a:miter lim="800000"/>
            <a:headEnd/>
            <a:tailEnd/>
          </a:ln>
        </p:spPr>
      </p:pic>
    </p:spTree>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pic>
        <p:nvPicPr>
          <p:cNvPr id="3" name="Picture 11"/>
          <p:cNvPicPr>
            <a:picLocks noChangeAspect="1"/>
          </p:cNvPicPr>
          <p:nvPr userDrawn="1"/>
        </p:nvPicPr>
        <p:blipFill>
          <a:blip r:embed="rId2" cstate="print"/>
          <a:srcRect/>
          <a:stretch>
            <a:fillRect/>
          </a:stretch>
        </p:blipFill>
        <p:spPr bwMode="auto">
          <a:xfrm>
            <a:off x="0" y="0"/>
            <a:ext cx="9144000" cy="4813300"/>
          </a:xfrm>
          <a:prstGeom prst="rect">
            <a:avLst/>
          </a:prstGeom>
          <a:noFill/>
          <a:ln w="9525">
            <a:noFill/>
            <a:miter lim="800000"/>
            <a:headEnd/>
            <a:tailEnd/>
          </a:ln>
        </p:spPr>
      </p:pic>
      <p:sp>
        <p:nvSpPr>
          <p:cNvPr id="11" name="Title 1"/>
          <p:cNvSpPr>
            <a:spLocks noGrp="1"/>
          </p:cNvSpPr>
          <p:nvPr>
            <p:ph type="title"/>
          </p:nvPr>
        </p:nvSpPr>
        <p:spPr>
          <a:xfrm>
            <a:off x="802760" y="1571843"/>
            <a:ext cx="5030787" cy="1100723"/>
          </a:xfrm>
        </p:spPr>
        <p:txBody>
          <a:bodyPr/>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srcRect/>
          <a:stretch>
            <a:fillRect/>
          </a:stretch>
        </p:blipFill>
        <p:spPr bwMode="auto">
          <a:xfrm>
            <a:off x="0" y="0"/>
            <a:ext cx="9144000" cy="4813300"/>
          </a:xfrm>
          <a:prstGeom prst="rect">
            <a:avLst/>
          </a:prstGeom>
          <a:noFill/>
          <a:ln w="9525">
            <a:noFill/>
            <a:miter lim="800000"/>
            <a:headEnd/>
            <a:tailEnd/>
          </a:ln>
        </p:spPr>
      </p:pic>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srcRect/>
          <a:stretch>
            <a:fillRect/>
          </a:stretch>
        </p:blipFill>
        <p:spPr bwMode="auto">
          <a:xfrm>
            <a:off x="0" y="0"/>
            <a:ext cx="9144000" cy="4813300"/>
          </a:xfrm>
          <a:prstGeom prst="rect">
            <a:avLst/>
          </a:prstGeom>
          <a:noFill/>
          <a:ln w="9525">
            <a:noFill/>
            <a:miter lim="800000"/>
            <a:headEnd/>
            <a:tailEnd/>
          </a:ln>
        </p:spPr>
      </p:pic>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nchor="t" anchorCtr="0"/>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97341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05814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49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5943598" y="0"/>
            <a:ext cx="3200402"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8" name="Picture 7"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7" name="Title 1"/>
          <p:cNvSpPr>
            <a:spLocks noGrp="1"/>
          </p:cNvSpPr>
          <p:nvPr>
            <p:ph type="title" hasCustomPrompt="1"/>
          </p:nvPr>
        </p:nvSpPr>
        <p:spPr>
          <a:xfrm>
            <a:off x="451484" y="1583267"/>
            <a:ext cx="5026449"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49" y="2914276"/>
            <a:ext cx="5027083" cy="1048124"/>
          </a:xfrm>
        </p:spPr>
        <p:txBody>
          <a:bodyPr lIns="0" tIns="0"/>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5943600" y="0"/>
            <a:ext cx="3200400" cy="5143500"/>
          </a:xfrm>
          <a:effectLst>
            <a:innerShdw blurRad="63500" dist="50800" dir="10800000">
              <a:prstClr val="black">
                <a:alpha val="50000"/>
              </a:prstClr>
            </a:innerShdw>
          </a:effectLst>
        </p:spPr>
        <p:txBody>
          <a:bodyPr anchor="ctr" anchorCtr="1"/>
          <a:lstStyle>
            <a:lvl1pPr marL="60325" indent="0">
              <a:buFontTx/>
              <a:buNone/>
              <a:defRPr baseline="0">
                <a:solidFill>
                  <a:schemeClr val="bg1"/>
                </a:solidFill>
              </a:defRPr>
            </a:lvl1pPr>
          </a:lstStyle>
          <a:p>
            <a:r>
              <a:rPr lang="en-US" dirty="0" smtClean="0"/>
              <a:t>Insert Picture Here</a:t>
            </a:r>
            <a:endParaRPr lang="en-US" dirty="0"/>
          </a:p>
        </p:txBody>
      </p:sp>
    </p:spTree>
    <p:extLst>
      <p:ext uri="{BB962C8B-B14F-4D97-AF65-F5344CB8AC3E}">
        <p14:creationId xmlns:p14="http://schemas.microsoft.com/office/powerpoint/2010/main" val="16217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24964"/>
            <a:ext cx="9144000" cy="516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0" y="-24964"/>
            <a:ext cx="9144000" cy="4157107"/>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1" name="Rectangle 10"/>
          <p:cNvSpPr/>
          <p:nvPr userDrawn="1"/>
        </p:nvSpPr>
        <p:spPr>
          <a:xfrm>
            <a:off x="5943598" y="-24964"/>
            <a:ext cx="3200402" cy="4157107"/>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Title 1"/>
          <p:cNvSpPr>
            <a:spLocks noGrp="1"/>
          </p:cNvSpPr>
          <p:nvPr>
            <p:ph type="title" hasCustomPrompt="1"/>
          </p:nvPr>
        </p:nvSpPr>
        <p:spPr>
          <a:xfrm>
            <a:off x="451485" y="1583267"/>
            <a:ext cx="5026448"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49" y="2914276"/>
            <a:ext cx="5027083" cy="1048124"/>
          </a:xfrm>
        </p:spPr>
        <p:txBody>
          <a:bodyPr lIns="0" tIns="0"/>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a:p>
            <a:pPr lvl="1"/>
            <a:r>
              <a:rPr lang="en-US" smtClean="0"/>
              <a:t>Second level</a:t>
            </a:r>
          </a:p>
        </p:txBody>
      </p:sp>
      <p:sp>
        <p:nvSpPr>
          <p:cNvPr id="3" name="Picture Placeholder 2"/>
          <p:cNvSpPr>
            <a:spLocks noGrp="1"/>
          </p:cNvSpPr>
          <p:nvPr>
            <p:ph type="pic" sz="quarter" idx="14" hasCustomPrompt="1"/>
          </p:nvPr>
        </p:nvSpPr>
        <p:spPr>
          <a:xfrm>
            <a:off x="5943600" y="-25400"/>
            <a:ext cx="3200400" cy="4157663"/>
          </a:xfrm>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60325" lvl="0" indent="0">
              <a:buFontTx/>
              <a:buNone/>
            </a:pPr>
            <a:r>
              <a:rPr lang="en-US" dirty="0" smtClean="0"/>
              <a:t>Insert Picture Here</a:t>
            </a:r>
            <a:endParaRPr lang="en-US" dirty="0"/>
          </a:p>
        </p:txBody>
      </p:sp>
    </p:spTree>
    <p:extLst>
      <p:ext uri="{BB962C8B-B14F-4D97-AF65-F5344CB8AC3E}">
        <p14:creationId xmlns:p14="http://schemas.microsoft.com/office/powerpoint/2010/main" val="61156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image" Target="../media/image16.wmf"/><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image" Target="../media/image2.jpeg"/><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0.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heme" Target="../theme/theme11.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image" Target="../media/image16.wmf"/><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image" Target="../media/image21.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image" Target="../media/image10.jpeg"/><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image" Target="../media/image1.wmf"/><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heme" Target="../theme/theme1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image" Target="../media/image2.jpe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1.wmf"/><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41.xml"/><Relationship Id="rId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4.xml"/><Relationship Id="rId1" Type="http://schemas.openxmlformats.org/officeDocument/2006/relationships/slideLayout" Target="../slideLayouts/slideLayout42.xml"/><Relationship Id="rId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5.xml"/><Relationship Id="rId3" Type="http://schemas.openxmlformats.org/officeDocument/2006/relationships/slideLayout" Target="../slideLayouts/slideLayout45.xml"/><Relationship Id="rId21" Type="http://schemas.openxmlformats.org/officeDocument/2006/relationships/image" Target="../media/image11.jpe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image" Target="../media/image10.jpe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image" Target="../media/image9.jpe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image" Target="../media/image1.wmf"/><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6.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image" Target="../media/image2.jpe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image" Target="../media/image1.wmf"/><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image" Target="../media/image1.wmf"/><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8.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image" Target="../media/image2.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image" Target="../media/image2.jpeg"/><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image" Target="../media/image1.w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theme" Target="../theme/theme9.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20" cstate="print"/>
          <a:srcRect/>
          <a:stretch>
            <a:fillRect/>
          </a:stretch>
        </p:blipFill>
        <p:spPr bwMode="auto">
          <a:xfrm>
            <a:off x="8015479" y="4668926"/>
            <a:ext cx="704056" cy="88722"/>
          </a:xfrm>
          <a:prstGeom prst="rect">
            <a:avLst/>
          </a:prstGeom>
          <a:noFill/>
          <a:ln w="9525">
            <a:noFill/>
            <a:miter lim="800000"/>
            <a:headEnd/>
            <a:tailEnd/>
          </a:ln>
        </p:spPr>
      </p:pic>
      <p:grpSp>
        <p:nvGrpSpPr>
          <p:cNvPr id="5" name="Group 4"/>
          <p:cNvGrpSpPr/>
          <p:nvPr/>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20"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14" name="Group 13"/>
          <p:cNvGrpSpPr/>
          <p:nvPr/>
        </p:nvGrpSpPr>
        <p:grpSpPr>
          <a:xfrm>
            <a:off x="597807" y="4913973"/>
            <a:ext cx="2539093" cy="218542"/>
            <a:chOff x="597807" y="4913973"/>
            <a:chExt cx="2539093" cy="218542"/>
          </a:xfrm>
        </p:grpSpPr>
        <p:sp>
          <p:nvSpPr>
            <p:cNvPr id="15" name="Text Box 14"/>
            <p:cNvSpPr txBox="1">
              <a:spLocks noChangeArrowheads="1"/>
            </p:cNvSpPr>
            <p:nvPr userDrawn="1"/>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marL="0" marR="0" indent="0" algn="l" defTabSz="342851" rtl="0" eaLnBrk="1" fontAlgn="base" latinLnBrk="0" hangingPunct="1">
                <a:lnSpc>
                  <a:spcPct val="100000"/>
                </a:lnSpc>
                <a:spcBef>
                  <a:spcPts val="0"/>
                </a:spcBef>
                <a:spcAft>
                  <a:spcPct val="0"/>
                </a:spcAft>
                <a:buClr>
                  <a:schemeClr val="accent1"/>
                </a:buClr>
                <a:buSzTx/>
                <a:buFont typeface="Arial"/>
                <a:buNone/>
                <a:tabLst/>
                <a:defRPr/>
              </a:pPr>
              <a:r>
                <a:rPr lang="en-US" sz="600" dirty="0" smtClean="0">
                  <a:solidFill>
                    <a:schemeClr val="tx1"/>
                  </a:solidFill>
                </a:rPr>
                <a:t>Copyright</a:t>
              </a:r>
              <a:r>
                <a:rPr lang="en-US" sz="600" baseline="0" dirty="0" smtClean="0">
                  <a:solidFill>
                    <a:schemeClr val="tx1"/>
                  </a:solidFill>
                </a:rPr>
                <a:t> </a:t>
              </a:r>
              <a:r>
                <a:rPr lang="en-US" sz="600" dirty="0" smtClean="0">
                  <a:solidFill>
                    <a:schemeClr val="tx1"/>
                  </a:solidFill>
                </a:rPr>
                <a:t>©</a:t>
              </a:r>
              <a:r>
                <a:rPr lang="en-US" sz="600" baseline="0" dirty="0" smtClean="0">
                  <a:solidFill>
                    <a:schemeClr val="tx1"/>
                  </a:solidFill>
                </a:rPr>
                <a:t> 2013, Oracle and/or its affiliates. All rights reserved.</a:t>
              </a:r>
              <a:endParaRPr lang="en-US" sz="600" dirty="0" smtClean="0">
                <a:solidFill>
                  <a:schemeClr val="tx1"/>
                </a:solidFill>
              </a:endParaRPr>
            </a:p>
          </p:txBody>
        </p:sp>
        <p:cxnSp>
          <p:nvCxnSpPr>
            <p:cNvPr id="16" name="Straight Connector 15"/>
            <p:cNvCxnSpPr/>
            <p:nvPr userDrawn="1"/>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chemeClr val="tx1"/>
                </a:solidFill>
              </a:rPr>
              <a:pPr algn="r"/>
              <a:t>‹#›</a:t>
            </a:fld>
            <a:endParaRPr lang="en-US" sz="600" dirty="0">
              <a:solidFill>
                <a:schemeClr val="tx1"/>
              </a:solidFill>
            </a:endParaRPr>
          </a:p>
        </p:txBody>
      </p:sp>
    </p:spTree>
    <p:extLst>
      <p:ext uri="{BB962C8B-B14F-4D97-AF65-F5344CB8AC3E}">
        <p14:creationId xmlns:p14="http://schemas.microsoft.com/office/powerpoint/2010/main" val="317983677"/>
      </p:ext>
    </p:extLst>
  </p:cSld>
  <p:clrMap bg1="lt1" tx1="dk1" bg2="lt2" tx2="dk2" accent1="accent1" accent2="accent2" accent3="accent3" accent4="accent4" accent5="accent5" accent6="accent6" hlink="hlink" folHlink="folHlink"/>
  <p:sldLayoutIdLst>
    <p:sldLayoutId id="2147483725" r:id="rId1"/>
    <p:sldLayoutId id="2147483748" r:id="rId2"/>
    <p:sldLayoutId id="2147483740" r:id="rId3"/>
    <p:sldLayoutId id="2147483741" r:id="rId4"/>
    <p:sldLayoutId id="2147483747" r:id="rId5"/>
    <p:sldLayoutId id="2147483733" r:id="rId6"/>
    <p:sldLayoutId id="2147483744" r:id="rId7"/>
    <p:sldLayoutId id="2147483694" r:id="rId8"/>
    <p:sldLayoutId id="2147483695" r:id="rId9"/>
    <p:sldLayoutId id="2147483701" r:id="rId10"/>
    <p:sldLayoutId id="2147483719" r:id="rId11"/>
    <p:sldLayoutId id="2147483700" r:id="rId12"/>
    <p:sldLayoutId id="2147483707" r:id="rId13"/>
    <p:sldLayoutId id="2147483746" r:id="rId14"/>
    <p:sldLayoutId id="2147483745" r:id="rId15"/>
    <p:sldLayoutId id="2147483685" r:id="rId16"/>
    <p:sldLayoutId id="2147483686" r:id="rId17"/>
    <p:sldLayoutId id="2147483822"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bwMode="blackGray">
      <p:bgPr>
        <a:solidFill>
          <a:schemeClr val="bg1"/>
        </a:solidFill>
        <a:effectLst/>
      </p:bgPr>
    </p:bg>
    <p:spTree>
      <p:nvGrpSpPr>
        <p:cNvPr id="1" name=""/>
        <p:cNvGrpSpPr/>
        <p:nvPr/>
      </p:nvGrpSpPr>
      <p:grpSpPr>
        <a:xfrm>
          <a:off x="0" y="0"/>
          <a:ext cx="0" cy="0"/>
          <a:chOff x="0" y="0"/>
          <a:chExt cx="0" cy="0"/>
        </a:xfrm>
      </p:grpSpPr>
      <p:pic>
        <p:nvPicPr>
          <p:cNvPr id="1049" name="Picture 25" descr="Red Bar"/>
          <p:cNvPicPr>
            <a:picLocks noChangeAspect="1" noChangeArrowheads="1"/>
          </p:cNvPicPr>
          <p:nvPr userDrawn="1"/>
        </p:nvPicPr>
        <p:blipFill>
          <a:blip r:embed="rId12" cstate="print"/>
          <a:srcRect/>
          <a:stretch>
            <a:fillRect/>
          </a:stretch>
        </p:blipFill>
        <p:spPr bwMode="auto">
          <a:xfrm>
            <a:off x="2" y="4633794"/>
            <a:ext cx="9143999" cy="166813"/>
          </a:xfrm>
          <a:prstGeom prst="rect">
            <a:avLst/>
          </a:prstGeom>
          <a:noFill/>
        </p:spPr>
      </p:pic>
      <p:sp>
        <p:nvSpPr>
          <p:cNvPr id="1031" name="Rectangle 7"/>
          <p:cNvSpPr>
            <a:spLocks noGrp="1" noChangeArrowheads="1"/>
          </p:cNvSpPr>
          <p:nvPr>
            <p:ph type="body" idx="1"/>
          </p:nvPr>
        </p:nvSpPr>
        <p:spPr bwMode="auto">
          <a:xfrm>
            <a:off x="895350" y="1200150"/>
            <a:ext cx="7537450" cy="3257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2" name="Rectangle 8"/>
          <p:cNvSpPr>
            <a:spLocks noGrp="1" noChangeArrowheads="1"/>
          </p:cNvSpPr>
          <p:nvPr>
            <p:ph type="title"/>
          </p:nvPr>
        </p:nvSpPr>
        <p:spPr bwMode="auto">
          <a:xfrm>
            <a:off x="889001" y="291703"/>
            <a:ext cx="7581900" cy="64293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3" name="Rectangle 9"/>
          <p:cNvSpPr>
            <a:spLocks noChangeArrowheads="1"/>
          </p:cNvSpPr>
          <p:nvPr userDrawn="1"/>
        </p:nvSpPr>
        <p:spPr bwMode="auto">
          <a:xfrm>
            <a:off x="1" y="4629150"/>
            <a:ext cx="9144000" cy="228600"/>
          </a:xfrm>
          <a:prstGeom prst="rect">
            <a:avLst/>
          </a:prstGeom>
          <a:noFill/>
          <a:ln w="9525">
            <a:noFill/>
            <a:miter lim="800000"/>
            <a:headEnd type="none" w="sm" len="sm"/>
            <a:tailEnd type="none" w="sm" len="sm"/>
          </a:ln>
          <a:effectLst/>
        </p:spPr>
        <p:txBody>
          <a:bodyPr wrap="none" lIns="68579" tIns="34289" rIns="68579" bIns="34289" anchor="ctr"/>
          <a:lstStyle/>
          <a:p>
            <a:pPr algn="ctr" fontAlgn="base">
              <a:lnSpc>
                <a:spcPct val="90000"/>
              </a:lnSpc>
              <a:spcBef>
                <a:spcPct val="50000"/>
              </a:spcBef>
              <a:spcAft>
                <a:spcPct val="0"/>
              </a:spcAft>
              <a:buClr>
                <a:srgbClr val="667263"/>
              </a:buClr>
            </a:pPr>
            <a:endParaRPr lang="en-US" sz="1500" b="1" dirty="0">
              <a:solidFill>
                <a:srgbClr val="000000"/>
              </a:solidFill>
              <a:cs typeface="Arial" charset="0"/>
            </a:endParaRPr>
          </a:p>
        </p:txBody>
      </p:sp>
      <p:pic>
        <p:nvPicPr>
          <p:cNvPr id="1044" name="Picture 20" descr="Oracle WHITE"/>
          <p:cNvPicPr>
            <a:picLocks noChangeAspect="1" noChangeArrowheads="1"/>
          </p:cNvPicPr>
          <p:nvPr userDrawn="1"/>
        </p:nvPicPr>
        <p:blipFill>
          <a:blip r:embed="rId13" cstate="print"/>
          <a:srcRect/>
          <a:stretch>
            <a:fillRect/>
          </a:stretch>
        </p:blipFill>
        <p:spPr bwMode="auto">
          <a:xfrm>
            <a:off x="8001732" y="4673922"/>
            <a:ext cx="740367" cy="87233"/>
          </a:xfrm>
          <a:prstGeom prst="rect">
            <a:avLst/>
          </a:prstGeom>
          <a:noFill/>
        </p:spPr>
      </p:pic>
      <p:sp>
        <p:nvSpPr>
          <p:cNvPr id="9" name="Rectangle 8"/>
          <p:cNvSpPr/>
          <p:nvPr userDrawn="1"/>
        </p:nvSpPr>
        <p:spPr>
          <a:xfrm>
            <a:off x="2" y="1"/>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grpSp>
        <p:nvGrpSpPr>
          <p:cNvPr id="2" name="Group 13"/>
          <p:cNvGrpSpPr>
            <a:grpSpLocks/>
          </p:cNvGrpSpPr>
          <p:nvPr userDrawn="1"/>
        </p:nvGrpSpPr>
        <p:grpSpPr bwMode="auto">
          <a:xfrm>
            <a:off x="598488" y="4913313"/>
            <a:ext cx="2538413" cy="219075"/>
            <a:chOff x="597807" y="4913790"/>
            <a:chExt cx="2538530" cy="219168"/>
          </a:xfrm>
        </p:grpSpPr>
        <p:sp>
          <p:nvSpPr>
            <p:cNvPr id="12" name="Text Box 14"/>
            <p:cNvSpPr txBox="1">
              <a:spLocks noChangeArrowheads="1"/>
            </p:cNvSpPr>
            <p:nvPr userDrawn="1"/>
          </p:nvSpPr>
          <p:spPr bwMode="auto">
            <a:xfrm>
              <a:off x="631146" y="4913790"/>
              <a:ext cx="2505191" cy="219168"/>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charset="0"/>
                </a:rPr>
                <a:t>Copyright © 2013, Oracle and/or its affiliates. All rights reserved.</a:t>
              </a:r>
            </a:p>
          </p:txBody>
        </p:sp>
        <p:cxnSp>
          <p:nvCxnSpPr>
            <p:cNvPr id="13" name="Straight Connector 12"/>
            <p:cNvCxnSpPr/>
            <p:nvPr userDrawn="1"/>
          </p:nvCxnSpPr>
          <p:spPr>
            <a:xfrm flipH="1">
              <a:off x="597807"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2893438"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15" name="Rectangle 14"/>
          <p:cNvSpPr/>
          <p:nvPr userDrawn="1"/>
        </p:nvSpPr>
        <p:spPr>
          <a:xfrm>
            <a:off x="355600" y="4883150"/>
            <a:ext cx="279400" cy="185738"/>
          </a:xfrm>
          <a:prstGeom prst="rect">
            <a:avLst/>
          </a:prstGeom>
        </p:spPr>
        <p:txBody>
          <a:bodyPr wrap="none">
            <a:spAutoFit/>
          </a:bodyPr>
          <a:lstStyle/>
          <a:p>
            <a:pPr algn="r">
              <a:defRPr/>
            </a:pPr>
            <a:fld id="{3F0B215D-94D7-43A3-8F78-040B9E9D1A27}" type="slidenum">
              <a:rPr lang="en-US" sz="600">
                <a:solidFill>
                  <a:srgbClr val="000000"/>
                </a:solidFill>
                <a:cs typeface="Arial" charset="0"/>
              </a:rPr>
              <a:pPr algn="r">
                <a:defRPr/>
              </a:pPr>
              <a:t>‹#›</a:t>
            </a:fld>
            <a:endParaRPr lang="en-US" sz="600"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Lst>
  <p:transition>
    <p:wipe dir="r"/>
  </p:transition>
  <p:hf sldNum="0" hdr="0" dt="0"/>
  <p:txStyles>
    <p:titleStyle>
      <a:lvl1pPr algn="l" rtl="0" fontAlgn="base">
        <a:spcBef>
          <a:spcPct val="0"/>
        </a:spcBef>
        <a:spcAft>
          <a:spcPct val="0"/>
        </a:spcAft>
        <a:defRPr sz="1800" b="1">
          <a:solidFill>
            <a:schemeClr val="tx1"/>
          </a:solidFill>
          <a:latin typeface="+mj-lt"/>
          <a:ea typeface="+mj-ea"/>
          <a:cs typeface="+mj-cs"/>
        </a:defRPr>
      </a:lvl1pPr>
      <a:lvl2pPr algn="l" rtl="0" fontAlgn="base">
        <a:spcBef>
          <a:spcPct val="0"/>
        </a:spcBef>
        <a:spcAft>
          <a:spcPct val="0"/>
        </a:spcAft>
        <a:defRPr sz="1800" b="1">
          <a:solidFill>
            <a:schemeClr val="tx1"/>
          </a:solidFill>
          <a:latin typeface="Arial" charset="0"/>
        </a:defRPr>
      </a:lvl2pPr>
      <a:lvl3pPr algn="l" rtl="0" fontAlgn="base">
        <a:spcBef>
          <a:spcPct val="0"/>
        </a:spcBef>
        <a:spcAft>
          <a:spcPct val="0"/>
        </a:spcAft>
        <a:defRPr sz="1800" b="1">
          <a:solidFill>
            <a:schemeClr val="tx1"/>
          </a:solidFill>
          <a:latin typeface="Arial" charset="0"/>
        </a:defRPr>
      </a:lvl3pPr>
      <a:lvl4pPr algn="l" rtl="0" fontAlgn="base">
        <a:spcBef>
          <a:spcPct val="0"/>
        </a:spcBef>
        <a:spcAft>
          <a:spcPct val="0"/>
        </a:spcAft>
        <a:defRPr sz="1800" b="1">
          <a:solidFill>
            <a:schemeClr val="tx1"/>
          </a:solidFill>
          <a:latin typeface="Arial" charset="0"/>
        </a:defRPr>
      </a:lvl4pPr>
      <a:lvl5pPr algn="l" rtl="0" fontAlgn="base">
        <a:spcBef>
          <a:spcPct val="0"/>
        </a:spcBef>
        <a:spcAft>
          <a:spcPct val="0"/>
        </a:spcAft>
        <a:defRPr sz="1800" b="1">
          <a:solidFill>
            <a:schemeClr val="tx1"/>
          </a:solidFill>
          <a:latin typeface="Arial" charset="0"/>
        </a:defRPr>
      </a:lvl5pPr>
      <a:lvl6pPr marL="342895" algn="l" rtl="0" fontAlgn="base">
        <a:spcBef>
          <a:spcPct val="0"/>
        </a:spcBef>
        <a:spcAft>
          <a:spcPct val="0"/>
        </a:spcAft>
        <a:defRPr sz="1800" b="1">
          <a:solidFill>
            <a:schemeClr val="tx1"/>
          </a:solidFill>
          <a:latin typeface="Arial" charset="0"/>
        </a:defRPr>
      </a:lvl6pPr>
      <a:lvl7pPr marL="685789" algn="l" rtl="0" fontAlgn="base">
        <a:spcBef>
          <a:spcPct val="0"/>
        </a:spcBef>
        <a:spcAft>
          <a:spcPct val="0"/>
        </a:spcAft>
        <a:defRPr sz="1800" b="1">
          <a:solidFill>
            <a:schemeClr val="tx1"/>
          </a:solidFill>
          <a:latin typeface="Arial" charset="0"/>
        </a:defRPr>
      </a:lvl7pPr>
      <a:lvl8pPr marL="1028683" algn="l" rtl="0" fontAlgn="base">
        <a:spcBef>
          <a:spcPct val="0"/>
        </a:spcBef>
        <a:spcAft>
          <a:spcPct val="0"/>
        </a:spcAft>
        <a:defRPr sz="1800" b="1">
          <a:solidFill>
            <a:schemeClr val="tx1"/>
          </a:solidFill>
          <a:latin typeface="Arial" charset="0"/>
        </a:defRPr>
      </a:lvl8pPr>
      <a:lvl9pPr marL="1371577" algn="l" rtl="0" fontAlgn="base">
        <a:spcBef>
          <a:spcPct val="0"/>
        </a:spcBef>
        <a:spcAft>
          <a:spcPct val="0"/>
        </a:spcAft>
        <a:defRPr sz="1800" b="1">
          <a:solidFill>
            <a:schemeClr val="tx1"/>
          </a:solidFill>
          <a:latin typeface="Arial" charset="0"/>
        </a:defRPr>
      </a:lvl9pPr>
    </p:titleStyle>
    <p:bodyStyle>
      <a:lvl1pPr marL="170257" indent="-170257" algn="l" rtl="0" fontAlgn="base">
        <a:spcBef>
          <a:spcPct val="20000"/>
        </a:spcBef>
        <a:spcAft>
          <a:spcPct val="0"/>
        </a:spcAft>
        <a:buClr>
          <a:schemeClr val="tx2"/>
        </a:buClr>
        <a:buFont typeface="Times"/>
        <a:buChar char="•"/>
        <a:defRPr sz="1800">
          <a:solidFill>
            <a:schemeClr val="tx1"/>
          </a:solidFill>
          <a:latin typeface="+mn-lt"/>
          <a:ea typeface="+mn-ea"/>
          <a:cs typeface="+mn-cs"/>
        </a:defRPr>
      </a:lvl1pPr>
      <a:lvl2pPr marL="427427" indent="-171447" algn="l" rtl="0" fontAlgn="base">
        <a:spcBef>
          <a:spcPct val="20000"/>
        </a:spcBef>
        <a:spcAft>
          <a:spcPct val="0"/>
        </a:spcAft>
        <a:buClr>
          <a:schemeClr val="bg2"/>
        </a:buClr>
        <a:buFont typeface="Times"/>
        <a:buChar char="–"/>
        <a:defRPr sz="1500">
          <a:solidFill>
            <a:schemeClr val="tx1"/>
          </a:solidFill>
          <a:latin typeface="+mn-lt"/>
        </a:defRPr>
      </a:lvl2pPr>
      <a:lvl3pPr marL="685789" indent="-172638" algn="l" rtl="0" fontAlgn="base">
        <a:spcBef>
          <a:spcPct val="20000"/>
        </a:spcBef>
        <a:spcAft>
          <a:spcPct val="0"/>
        </a:spcAft>
        <a:buClr>
          <a:schemeClr val="tx2"/>
        </a:buClr>
        <a:buFont typeface="Times"/>
        <a:buChar char="•"/>
        <a:defRPr sz="1500">
          <a:solidFill>
            <a:schemeClr val="tx1"/>
          </a:solidFill>
          <a:latin typeface="+mn-lt"/>
        </a:defRPr>
      </a:lvl3pPr>
      <a:lvl4pPr marL="944150" indent="-172638" algn="l" rtl="0" fontAlgn="base">
        <a:spcBef>
          <a:spcPct val="20000"/>
        </a:spcBef>
        <a:spcAft>
          <a:spcPct val="0"/>
        </a:spcAft>
        <a:buClr>
          <a:schemeClr val="bg2"/>
        </a:buClr>
        <a:buFont typeface="Times"/>
        <a:buChar char="–"/>
        <a:defRPr sz="1500">
          <a:solidFill>
            <a:schemeClr val="tx1"/>
          </a:solidFill>
          <a:latin typeface="+mn-lt"/>
        </a:defRPr>
      </a:lvl4pPr>
      <a:lvl5pPr marL="1201321" indent="-171447" algn="l" rtl="0" fontAlgn="base">
        <a:spcBef>
          <a:spcPct val="20000"/>
        </a:spcBef>
        <a:spcAft>
          <a:spcPct val="0"/>
        </a:spcAft>
        <a:buClr>
          <a:schemeClr val="tx2"/>
        </a:buClr>
        <a:buFont typeface="Times"/>
        <a:buChar char="•"/>
        <a:defRPr sz="1500">
          <a:solidFill>
            <a:schemeClr val="tx1"/>
          </a:solidFill>
          <a:latin typeface="+mn-lt"/>
        </a:defRPr>
      </a:lvl5pPr>
      <a:lvl6pPr marL="1544215" indent="-171447" algn="l" rtl="0" fontAlgn="base">
        <a:spcBef>
          <a:spcPct val="20000"/>
        </a:spcBef>
        <a:spcAft>
          <a:spcPct val="0"/>
        </a:spcAft>
        <a:buClr>
          <a:schemeClr val="tx2"/>
        </a:buClr>
        <a:buFont typeface="Times"/>
        <a:buChar char="•"/>
        <a:defRPr sz="1500">
          <a:solidFill>
            <a:schemeClr val="tx1"/>
          </a:solidFill>
          <a:latin typeface="+mn-lt"/>
        </a:defRPr>
      </a:lvl6pPr>
      <a:lvl7pPr marL="1887109" indent="-171447" algn="l" rtl="0" fontAlgn="base">
        <a:spcBef>
          <a:spcPct val="20000"/>
        </a:spcBef>
        <a:spcAft>
          <a:spcPct val="0"/>
        </a:spcAft>
        <a:buClr>
          <a:schemeClr val="tx2"/>
        </a:buClr>
        <a:buFont typeface="Times"/>
        <a:buChar char="•"/>
        <a:defRPr sz="1500">
          <a:solidFill>
            <a:schemeClr val="tx1"/>
          </a:solidFill>
          <a:latin typeface="+mn-lt"/>
        </a:defRPr>
      </a:lvl7pPr>
      <a:lvl8pPr marL="2230004" indent="-171447" algn="l" rtl="0" fontAlgn="base">
        <a:spcBef>
          <a:spcPct val="20000"/>
        </a:spcBef>
        <a:spcAft>
          <a:spcPct val="0"/>
        </a:spcAft>
        <a:buClr>
          <a:schemeClr val="tx2"/>
        </a:buClr>
        <a:buFont typeface="Times"/>
        <a:buChar char="•"/>
        <a:defRPr sz="1500">
          <a:solidFill>
            <a:schemeClr val="tx1"/>
          </a:solidFill>
          <a:latin typeface="+mn-lt"/>
        </a:defRPr>
      </a:lvl8pPr>
      <a:lvl9pPr marL="2572898" indent="-171447" algn="l" rtl="0" fontAlgn="base">
        <a:spcBef>
          <a:spcPct val="20000"/>
        </a:spcBef>
        <a:spcAft>
          <a:spcPct val="0"/>
        </a:spcAft>
        <a:buClr>
          <a:schemeClr val="tx2"/>
        </a:buClr>
        <a:buFont typeface="Times"/>
        <a:buChar char="•"/>
        <a:defRPr sz="1500">
          <a:solidFill>
            <a:schemeClr val="tx1"/>
          </a:solidFill>
          <a:latin typeface="+mn-lt"/>
        </a:defRPr>
      </a:lvl9pPr>
    </p:bodyStyle>
    <p:otherStyle>
      <a:defPPr>
        <a:defRPr lang="en-US"/>
      </a:defPPr>
      <a:lvl1pPr marL="0" algn="l" defTabSz="685789" rtl="0" eaLnBrk="1" latinLnBrk="0" hangingPunct="1">
        <a:defRPr sz="1400" kern="1200">
          <a:solidFill>
            <a:schemeClr val="tx1"/>
          </a:solidFill>
          <a:latin typeface="+mn-lt"/>
          <a:ea typeface="+mn-ea"/>
          <a:cs typeface="+mn-cs"/>
        </a:defRPr>
      </a:lvl1pPr>
      <a:lvl2pPr marL="342895" algn="l" defTabSz="685789" rtl="0" eaLnBrk="1" latinLnBrk="0" hangingPunct="1">
        <a:defRPr sz="1400" kern="1200">
          <a:solidFill>
            <a:schemeClr val="tx1"/>
          </a:solidFill>
          <a:latin typeface="+mn-lt"/>
          <a:ea typeface="+mn-ea"/>
          <a:cs typeface="+mn-cs"/>
        </a:defRPr>
      </a:lvl2pPr>
      <a:lvl3pPr marL="685789" algn="l" defTabSz="685789" rtl="0" eaLnBrk="1" latinLnBrk="0" hangingPunct="1">
        <a:defRPr sz="1400" kern="1200">
          <a:solidFill>
            <a:schemeClr val="tx1"/>
          </a:solidFill>
          <a:latin typeface="+mn-lt"/>
          <a:ea typeface="+mn-ea"/>
          <a:cs typeface="+mn-cs"/>
        </a:defRPr>
      </a:lvl3pPr>
      <a:lvl4pPr marL="1028683" algn="l" defTabSz="685789" rtl="0" eaLnBrk="1" latinLnBrk="0" hangingPunct="1">
        <a:defRPr sz="1400" kern="1200">
          <a:solidFill>
            <a:schemeClr val="tx1"/>
          </a:solidFill>
          <a:latin typeface="+mn-lt"/>
          <a:ea typeface="+mn-ea"/>
          <a:cs typeface="+mn-cs"/>
        </a:defRPr>
      </a:lvl4pPr>
      <a:lvl5pPr marL="1371577" algn="l" defTabSz="685789" rtl="0" eaLnBrk="1" latinLnBrk="0" hangingPunct="1">
        <a:defRPr sz="1400" kern="1200">
          <a:solidFill>
            <a:schemeClr val="tx1"/>
          </a:solidFill>
          <a:latin typeface="+mn-lt"/>
          <a:ea typeface="+mn-ea"/>
          <a:cs typeface="+mn-cs"/>
        </a:defRPr>
      </a:lvl5pPr>
      <a:lvl6pPr marL="1714471" algn="l" defTabSz="685789" rtl="0" eaLnBrk="1" latinLnBrk="0" hangingPunct="1">
        <a:defRPr sz="1400" kern="1200">
          <a:solidFill>
            <a:schemeClr val="tx1"/>
          </a:solidFill>
          <a:latin typeface="+mn-lt"/>
          <a:ea typeface="+mn-ea"/>
          <a:cs typeface="+mn-cs"/>
        </a:defRPr>
      </a:lvl6pPr>
      <a:lvl7pPr marL="2057365" algn="l" defTabSz="685789" rtl="0" eaLnBrk="1" latinLnBrk="0" hangingPunct="1">
        <a:defRPr sz="1400" kern="1200">
          <a:solidFill>
            <a:schemeClr val="tx1"/>
          </a:solidFill>
          <a:latin typeface="+mn-lt"/>
          <a:ea typeface="+mn-ea"/>
          <a:cs typeface="+mn-cs"/>
        </a:defRPr>
      </a:lvl7pPr>
      <a:lvl8pPr marL="2400260" algn="l" defTabSz="685789" rtl="0" eaLnBrk="1" latinLnBrk="0" hangingPunct="1">
        <a:defRPr sz="1400" kern="1200">
          <a:solidFill>
            <a:schemeClr val="tx1"/>
          </a:solidFill>
          <a:latin typeface="+mn-lt"/>
          <a:ea typeface="+mn-ea"/>
          <a:cs typeface="+mn-cs"/>
        </a:defRPr>
      </a:lvl8pPr>
      <a:lvl9pPr marL="2743154" algn="l" defTabSz="685789"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bwMode="blackGray">
      <p:bgPr>
        <a:solidFill>
          <a:schemeClr val="bg1"/>
        </a:solidFill>
        <a:effectLst/>
      </p:bgPr>
    </p:bg>
    <p:spTree>
      <p:nvGrpSpPr>
        <p:cNvPr id="1" name=""/>
        <p:cNvGrpSpPr/>
        <p:nvPr/>
      </p:nvGrpSpPr>
      <p:grpSpPr>
        <a:xfrm>
          <a:off x="0" y="0"/>
          <a:ext cx="0" cy="0"/>
          <a:chOff x="0" y="0"/>
          <a:chExt cx="0" cy="0"/>
        </a:xfrm>
      </p:grpSpPr>
      <p:pic>
        <p:nvPicPr>
          <p:cNvPr id="1049" name="Picture 25" descr="Red Bar"/>
          <p:cNvPicPr>
            <a:picLocks noChangeAspect="1" noChangeArrowheads="1"/>
          </p:cNvPicPr>
          <p:nvPr userDrawn="1"/>
        </p:nvPicPr>
        <p:blipFill>
          <a:blip r:embed="rId14" cstate="screen"/>
          <a:srcRect/>
          <a:stretch>
            <a:fillRect/>
          </a:stretch>
        </p:blipFill>
        <p:spPr bwMode="auto">
          <a:xfrm>
            <a:off x="13" y="4633803"/>
            <a:ext cx="9143999" cy="166813"/>
          </a:xfrm>
          <a:prstGeom prst="rect">
            <a:avLst/>
          </a:prstGeom>
          <a:noFill/>
        </p:spPr>
      </p:pic>
      <p:sp>
        <p:nvSpPr>
          <p:cNvPr id="1031" name="Rectangle 7"/>
          <p:cNvSpPr>
            <a:spLocks noGrp="1" noChangeArrowheads="1"/>
          </p:cNvSpPr>
          <p:nvPr>
            <p:ph type="body" idx="1"/>
          </p:nvPr>
        </p:nvSpPr>
        <p:spPr bwMode="auto">
          <a:xfrm>
            <a:off x="895350" y="1200150"/>
            <a:ext cx="7537450" cy="3257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2" name="Rectangle 8"/>
          <p:cNvSpPr>
            <a:spLocks noGrp="1" noChangeArrowheads="1"/>
          </p:cNvSpPr>
          <p:nvPr>
            <p:ph type="title"/>
          </p:nvPr>
        </p:nvSpPr>
        <p:spPr bwMode="auto">
          <a:xfrm>
            <a:off x="889001" y="291703"/>
            <a:ext cx="7581900" cy="64293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3" name="Rectangle 9"/>
          <p:cNvSpPr>
            <a:spLocks noChangeArrowheads="1"/>
          </p:cNvSpPr>
          <p:nvPr userDrawn="1"/>
        </p:nvSpPr>
        <p:spPr bwMode="auto">
          <a:xfrm>
            <a:off x="1" y="4629150"/>
            <a:ext cx="9144000" cy="228600"/>
          </a:xfrm>
          <a:prstGeom prst="rect">
            <a:avLst/>
          </a:prstGeom>
          <a:noFill/>
          <a:ln w="9525">
            <a:noFill/>
            <a:miter lim="800000"/>
            <a:headEnd type="none" w="sm" len="sm"/>
            <a:tailEnd type="none" w="sm" len="sm"/>
          </a:ln>
          <a:effectLst/>
        </p:spPr>
        <p:txBody>
          <a:bodyPr wrap="none" lIns="68579" tIns="34289" rIns="68579" bIns="34289" anchor="ctr"/>
          <a:lstStyle/>
          <a:p>
            <a:pPr algn="ctr" fontAlgn="base">
              <a:lnSpc>
                <a:spcPct val="90000"/>
              </a:lnSpc>
              <a:spcBef>
                <a:spcPct val="50000"/>
              </a:spcBef>
              <a:spcAft>
                <a:spcPct val="0"/>
              </a:spcAft>
              <a:buClr>
                <a:srgbClr val="667263"/>
              </a:buClr>
            </a:pPr>
            <a:endParaRPr lang="en-US" sz="1500" b="1" dirty="0">
              <a:solidFill>
                <a:srgbClr val="000000"/>
              </a:solidFill>
              <a:cs typeface="Arial" pitchFamily="34" charset="0"/>
            </a:endParaRPr>
          </a:p>
        </p:txBody>
      </p:sp>
      <p:pic>
        <p:nvPicPr>
          <p:cNvPr id="1044" name="Picture 20" descr="Oracle WHITE"/>
          <p:cNvPicPr>
            <a:picLocks noChangeAspect="1" noChangeArrowheads="1"/>
          </p:cNvPicPr>
          <p:nvPr userDrawn="1"/>
        </p:nvPicPr>
        <p:blipFill>
          <a:blip r:embed="rId15" cstate="screen"/>
          <a:srcRect/>
          <a:stretch>
            <a:fillRect/>
          </a:stretch>
        </p:blipFill>
        <p:spPr bwMode="auto">
          <a:xfrm>
            <a:off x="8001749" y="4673931"/>
            <a:ext cx="740367" cy="87233"/>
          </a:xfrm>
          <a:prstGeom prst="rect">
            <a:avLst/>
          </a:prstGeom>
          <a:noFill/>
        </p:spPr>
      </p:pic>
      <p:sp>
        <p:nvSpPr>
          <p:cNvPr id="13" name="Rectangle 12"/>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nvGrpSpPr>
          <p:cNvPr id="2" name="Group 13"/>
          <p:cNvGrpSpPr>
            <a:grpSpLocks/>
          </p:cNvGrpSpPr>
          <p:nvPr userDrawn="1"/>
        </p:nvGrpSpPr>
        <p:grpSpPr bwMode="auto">
          <a:xfrm>
            <a:off x="598488" y="4913313"/>
            <a:ext cx="2538413" cy="219075"/>
            <a:chOff x="597807" y="4913790"/>
            <a:chExt cx="2538530" cy="219168"/>
          </a:xfrm>
        </p:grpSpPr>
        <p:sp>
          <p:nvSpPr>
            <p:cNvPr id="15" name="Text Box 14"/>
            <p:cNvSpPr txBox="1">
              <a:spLocks noChangeArrowheads="1"/>
            </p:cNvSpPr>
            <p:nvPr userDrawn="1"/>
          </p:nvSpPr>
          <p:spPr bwMode="auto">
            <a:xfrm>
              <a:off x="631146" y="4913790"/>
              <a:ext cx="2505191" cy="219168"/>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charset="0"/>
                </a:rPr>
                <a:t>Copyright © 2013, Oracle and/or its affiliates. All rights reserved.</a:t>
              </a:r>
            </a:p>
          </p:txBody>
        </p:sp>
        <p:cxnSp>
          <p:nvCxnSpPr>
            <p:cNvPr id="16" name="Straight Connector 15"/>
            <p:cNvCxnSpPr/>
            <p:nvPr userDrawn="1"/>
          </p:nvCxnSpPr>
          <p:spPr>
            <a:xfrm flipH="1">
              <a:off x="597807"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userDrawn="1"/>
          </p:nvCxnSpPr>
          <p:spPr>
            <a:xfrm flipH="1">
              <a:off x="2893438"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18" name="Rectangle 17"/>
          <p:cNvSpPr/>
          <p:nvPr userDrawn="1"/>
        </p:nvSpPr>
        <p:spPr>
          <a:xfrm>
            <a:off x="355600" y="4883150"/>
            <a:ext cx="279400" cy="185738"/>
          </a:xfrm>
          <a:prstGeom prst="rect">
            <a:avLst/>
          </a:prstGeom>
        </p:spPr>
        <p:txBody>
          <a:bodyPr wrap="none">
            <a:spAutoFit/>
          </a:bodyPr>
          <a:lstStyle/>
          <a:p>
            <a:pPr algn="r">
              <a:defRPr/>
            </a:pPr>
            <a:fld id="{3F0B215D-94D7-43A3-8F78-040B9E9D1A27}" type="slidenum">
              <a:rPr lang="en-US" sz="600">
                <a:solidFill>
                  <a:srgbClr val="000000"/>
                </a:solidFill>
                <a:cs typeface="Arial" charset="0"/>
              </a:rPr>
              <a:pPr algn="r">
                <a:defRPr/>
              </a:pPr>
              <a:t>‹#›</a:t>
            </a:fld>
            <a:endParaRPr lang="en-US" sz="600"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Lst>
  <p:transition>
    <p:wipe dir="r"/>
  </p:transition>
  <p:hf sldNum="0" hdr="0" ftr="0" dt="0"/>
  <p:txStyles>
    <p:titleStyle>
      <a:lvl1pPr algn="l" rtl="0" fontAlgn="base">
        <a:spcBef>
          <a:spcPct val="0"/>
        </a:spcBef>
        <a:spcAft>
          <a:spcPct val="0"/>
        </a:spcAft>
        <a:defRPr sz="1800" b="1">
          <a:solidFill>
            <a:schemeClr val="tx1"/>
          </a:solidFill>
          <a:latin typeface="+mj-lt"/>
          <a:ea typeface="+mj-ea"/>
          <a:cs typeface="+mj-cs"/>
        </a:defRPr>
      </a:lvl1pPr>
      <a:lvl2pPr algn="l" rtl="0" fontAlgn="base">
        <a:spcBef>
          <a:spcPct val="0"/>
        </a:spcBef>
        <a:spcAft>
          <a:spcPct val="0"/>
        </a:spcAft>
        <a:defRPr sz="1800" b="1">
          <a:solidFill>
            <a:schemeClr val="tx1"/>
          </a:solidFill>
          <a:latin typeface="Arial" charset="0"/>
        </a:defRPr>
      </a:lvl2pPr>
      <a:lvl3pPr algn="l" rtl="0" fontAlgn="base">
        <a:spcBef>
          <a:spcPct val="0"/>
        </a:spcBef>
        <a:spcAft>
          <a:spcPct val="0"/>
        </a:spcAft>
        <a:defRPr sz="1800" b="1">
          <a:solidFill>
            <a:schemeClr val="tx1"/>
          </a:solidFill>
          <a:latin typeface="Arial" charset="0"/>
        </a:defRPr>
      </a:lvl3pPr>
      <a:lvl4pPr algn="l" rtl="0" fontAlgn="base">
        <a:spcBef>
          <a:spcPct val="0"/>
        </a:spcBef>
        <a:spcAft>
          <a:spcPct val="0"/>
        </a:spcAft>
        <a:defRPr sz="1800" b="1">
          <a:solidFill>
            <a:schemeClr val="tx1"/>
          </a:solidFill>
          <a:latin typeface="Arial" charset="0"/>
        </a:defRPr>
      </a:lvl4pPr>
      <a:lvl5pPr algn="l" rtl="0" fontAlgn="base">
        <a:spcBef>
          <a:spcPct val="0"/>
        </a:spcBef>
        <a:spcAft>
          <a:spcPct val="0"/>
        </a:spcAft>
        <a:defRPr sz="1800" b="1">
          <a:solidFill>
            <a:schemeClr val="tx1"/>
          </a:solidFill>
          <a:latin typeface="Arial" charset="0"/>
        </a:defRPr>
      </a:lvl5pPr>
      <a:lvl6pPr marL="342895" algn="l" rtl="0" fontAlgn="base">
        <a:spcBef>
          <a:spcPct val="0"/>
        </a:spcBef>
        <a:spcAft>
          <a:spcPct val="0"/>
        </a:spcAft>
        <a:defRPr sz="1800" b="1">
          <a:solidFill>
            <a:schemeClr val="tx1"/>
          </a:solidFill>
          <a:latin typeface="Arial" charset="0"/>
        </a:defRPr>
      </a:lvl6pPr>
      <a:lvl7pPr marL="685789" algn="l" rtl="0" fontAlgn="base">
        <a:spcBef>
          <a:spcPct val="0"/>
        </a:spcBef>
        <a:spcAft>
          <a:spcPct val="0"/>
        </a:spcAft>
        <a:defRPr sz="1800" b="1">
          <a:solidFill>
            <a:schemeClr val="tx1"/>
          </a:solidFill>
          <a:latin typeface="Arial" charset="0"/>
        </a:defRPr>
      </a:lvl7pPr>
      <a:lvl8pPr marL="1028683" algn="l" rtl="0" fontAlgn="base">
        <a:spcBef>
          <a:spcPct val="0"/>
        </a:spcBef>
        <a:spcAft>
          <a:spcPct val="0"/>
        </a:spcAft>
        <a:defRPr sz="1800" b="1">
          <a:solidFill>
            <a:schemeClr val="tx1"/>
          </a:solidFill>
          <a:latin typeface="Arial" charset="0"/>
        </a:defRPr>
      </a:lvl8pPr>
      <a:lvl9pPr marL="1371577" algn="l" rtl="0" fontAlgn="base">
        <a:spcBef>
          <a:spcPct val="0"/>
        </a:spcBef>
        <a:spcAft>
          <a:spcPct val="0"/>
        </a:spcAft>
        <a:defRPr sz="1800" b="1">
          <a:solidFill>
            <a:schemeClr val="tx1"/>
          </a:solidFill>
          <a:latin typeface="Arial" charset="0"/>
        </a:defRPr>
      </a:lvl9pPr>
    </p:titleStyle>
    <p:bodyStyle>
      <a:lvl1pPr marL="170257" indent="-170257" algn="l" rtl="0" fontAlgn="base">
        <a:spcBef>
          <a:spcPct val="20000"/>
        </a:spcBef>
        <a:spcAft>
          <a:spcPct val="0"/>
        </a:spcAft>
        <a:buClr>
          <a:schemeClr val="tx2"/>
        </a:buClr>
        <a:buFont typeface="Times"/>
        <a:buChar char="•"/>
        <a:defRPr sz="1800">
          <a:solidFill>
            <a:schemeClr val="tx1"/>
          </a:solidFill>
          <a:latin typeface="+mn-lt"/>
          <a:ea typeface="+mn-ea"/>
          <a:cs typeface="+mn-cs"/>
        </a:defRPr>
      </a:lvl1pPr>
      <a:lvl2pPr marL="427427" indent="-171447" algn="l" rtl="0" fontAlgn="base">
        <a:spcBef>
          <a:spcPct val="20000"/>
        </a:spcBef>
        <a:spcAft>
          <a:spcPct val="0"/>
        </a:spcAft>
        <a:buClr>
          <a:schemeClr val="bg2"/>
        </a:buClr>
        <a:buFont typeface="Times"/>
        <a:buChar char="–"/>
        <a:defRPr sz="1500">
          <a:solidFill>
            <a:schemeClr val="tx1"/>
          </a:solidFill>
          <a:latin typeface="+mn-lt"/>
        </a:defRPr>
      </a:lvl2pPr>
      <a:lvl3pPr marL="685789" indent="-172638" algn="l" rtl="0" fontAlgn="base">
        <a:spcBef>
          <a:spcPct val="20000"/>
        </a:spcBef>
        <a:spcAft>
          <a:spcPct val="0"/>
        </a:spcAft>
        <a:buClr>
          <a:schemeClr val="tx2"/>
        </a:buClr>
        <a:buFont typeface="Times"/>
        <a:buChar char="•"/>
        <a:defRPr sz="1500">
          <a:solidFill>
            <a:schemeClr val="tx1"/>
          </a:solidFill>
          <a:latin typeface="+mn-lt"/>
        </a:defRPr>
      </a:lvl3pPr>
      <a:lvl4pPr marL="944150" indent="-172638" algn="l" rtl="0" fontAlgn="base">
        <a:spcBef>
          <a:spcPct val="20000"/>
        </a:spcBef>
        <a:spcAft>
          <a:spcPct val="0"/>
        </a:spcAft>
        <a:buClr>
          <a:schemeClr val="bg2"/>
        </a:buClr>
        <a:buFont typeface="Times"/>
        <a:buChar char="–"/>
        <a:defRPr sz="1500">
          <a:solidFill>
            <a:schemeClr val="tx1"/>
          </a:solidFill>
          <a:latin typeface="+mn-lt"/>
        </a:defRPr>
      </a:lvl4pPr>
      <a:lvl5pPr marL="1201321" indent="-171447" algn="l" rtl="0" fontAlgn="base">
        <a:spcBef>
          <a:spcPct val="20000"/>
        </a:spcBef>
        <a:spcAft>
          <a:spcPct val="0"/>
        </a:spcAft>
        <a:buClr>
          <a:schemeClr val="tx2"/>
        </a:buClr>
        <a:buFont typeface="Times"/>
        <a:buChar char="•"/>
        <a:defRPr sz="1500">
          <a:solidFill>
            <a:schemeClr val="tx1"/>
          </a:solidFill>
          <a:latin typeface="+mn-lt"/>
        </a:defRPr>
      </a:lvl5pPr>
      <a:lvl6pPr marL="1544215" indent="-171447" algn="l" rtl="0" fontAlgn="base">
        <a:spcBef>
          <a:spcPct val="20000"/>
        </a:spcBef>
        <a:spcAft>
          <a:spcPct val="0"/>
        </a:spcAft>
        <a:buClr>
          <a:schemeClr val="tx2"/>
        </a:buClr>
        <a:buFont typeface="Times"/>
        <a:buChar char="•"/>
        <a:defRPr sz="1500">
          <a:solidFill>
            <a:schemeClr val="tx1"/>
          </a:solidFill>
          <a:latin typeface="+mn-lt"/>
        </a:defRPr>
      </a:lvl6pPr>
      <a:lvl7pPr marL="1887109" indent="-171447" algn="l" rtl="0" fontAlgn="base">
        <a:spcBef>
          <a:spcPct val="20000"/>
        </a:spcBef>
        <a:spcAft>
          <a:spcPct val="0"/>
        </a:spcAft>
        <a:buClr>
          <a:schemeClr val="tx2"/>
        </a:buClr>
        <a:buFont typeface="Times"/>
        <a:buChar char="•"/>
        <a:defRPr sz="1500">
          <a:solidFill>
            <a:schemeClr val="tx1"/>
          </a:solidFill>
          <a:latin typeface="+mn-lt"/>
        </a:defRPr>
      </a:lvl7pPr>
      <a:lvl8pPr marL="2230004" indent="-171447" algn="l" rtl="0" fontAlgn="base">
        <a:spcBef>
          <a:spcPct val="20000"/>
        </a:spcBef>
        <a:spcAft>
          <a:spcPct val="0"/>
        </a:spcAft>
        <a:buClr>
          <a:schemeClr val="tx2"/>
        </a:buClr>
        <a:buFont typeface="Times"/>
        <a:buChar char="•"/>
        <a:defRPr sz="1500">
          <a:solidFill>
            <a:schemeClr val="tx1"/>
          </a:solidFill>
          <a:latin typeface="+mn-lt"/>
        </a:defRPr>
      </a:lvl8pPr>
      <a:lvl9pPr marL="2572898" indent="-171447" algn="l" rtl="0" fontAlgn="base">
        <a:spcBef>
          <a:spcPct val="20000"/>
        </a:spcBef>
        <a:spcAft>
          <a:spcPct val="0"/>
        </a:spcAft>
        <a:buClr>
          <a:schemeClr val="tx2"/>
        </a:buClr>
        <a:buFont typeface="Times"/>
        <a:buChar char="•"/>
        <a:defRPr sz="1500">
          <a:solidFill>
            <a:schemeClr val="tx1"/>
          </a:solidFill>
          <a:latin typeface="+mn-lt"/>
        </a:defRPr>
      </a:lvl9pPr>
    </p:bodyStyle>
    <p:otherStyle>
      <a:defPPr>
        <a:defRPr lang="en-US"/>
      </a:defPPr>
      <a:lvl1pPr marL="0" algn="l" defTabSz="685789" rtl="0" eaLnBrk="1" latinLnBrk="0" hangingPunct="1">
        <a:defRPr sz="1400" kern="1200">
          <a:solidFill>
            <a:schemeClr val="tx1"/>
          </a:solidFill>
          <a:latin typeface="+mn-lt"/>
          <a:ea typeface="+mn-ea"/>
          <a:cs typeface="+mn-cs"/>
        </a:defRPr>
      </a:lvl1pPr>
      <a:lvl2pPr marL="342895" algn="l" defTabSz="685789" rtl="0" eaLnBrk="1" latinLnBrk="0" hangingPunct="1">
        <a:defRPr sz="1400" kern="1200">
          <a:solidFill>
            <a:schemeClr val="tx1"/>
          </a:solidFill>
          <a:latin typeface="+mn-lt"/>
          <a:ea typeface="+mn-ea"/>
          <a:cs typeface="+mn-cs"/>
        </a:defRPr>
      </a:lvl2pPr>
      <a:lvl3pPr marL="685789" algn="l" defTabSz="685789" rtl="0" eaLnBrk="1" latinLnBrk="0" hangingPunct="1">
        <a:defRPr sz="1400" kern="1200">
          <a:solidFill>
            <a:schemeClr val="tx1"/>
          </a:solidFill>
          <a:latin typeface="+mn-lt"/>
          <a:ea typeface="+mn-ea"/>
          <a:cs typeface="+mn-cs"/>
        </a:defRPr>
      </a:lvl3pPr>
      <a:lvl4pPr marL="1028683" algn="l" defTabSz="685789" rtl="0" eaLnBrk="1" latinLnBrk="0" hangingPunct="1">
        <a:defRPr sz="1400" kern="1200">
          <a:solidFill>
            <a:schemeClr val="tx1"/>
          </a:solidFill>
          <a:latin typeface="+mn-lt"/>
          <a:ea typeface="+mn-ea"/>
          <a:cs typeface="+mn-cs"/>
        </a:defRPr>
      </a:lvl4pPr>
      <a:lvl5pPr marL="1371577" algn="l" defTabSz="685789" rtl="0" eaLnBrk="1" latinLnBrk="0" hangingPunct="1">
        <a:defRPr sz="1400" kern="1200">
          <a:solidFill>
            <a:schemeClr val="tx1"/>
          </a:solidFill>
          <a:latin typeface="+mn-lt"/>
          <a:ea typeface="+mn-ea"/>
          <a:cs typeface="+mn-cs"/>
        </a:defRPr>
      </a:lvl5pPr>
      <a:lvl6pPr marL="1714471" algn="l" defTabSz="685789" rtl="0" eaLnBrk="1" latinLnBrk="0" hangingPunct="1">
        <a:defRPr sz="1400" kern="1200">
          <a:solidFill>
            <a:schemeClr val="tx1"/>
          </a:solidFill>
          <a:latin typeface="+mn-lt"/>
          <a:ea typeface="+mn-ea"/>
          <a:cs typeface="+mn-cs"/>
        </a:defRPr>
      </a:lvl6pPr>
      <a:lvl7pPr marL="2057365" algn="l" defTabSz="685789" rtl="0" eaLnBrk="1" latinLnBrk="0" hangingPunct="1">
        <a:defRPr sz="1400" kern="1200">
          <a:solidFill>
            <a:schemeClr val="tx1"/>
          </a:solidFill>
          <a:latin typeface="+mn-lt"/>
          <a:ea typeface="+mn-ea"/>
          <a:cs typeface="+mn-cs"/>
        </a:defRPr>
      </a:lvl7pPr>
      <a:lvl8pPr marL="2400260" algn="l" defTabSz="685789" rtl="0" eaLnBrk="1" latinLnBrk="0" hangingPunct="1">
        <a:defRPr sz="1400" kern="1200">
          <a:solidFill>
            <a:schemeClr val="tx1"/>
          </a:solidFill>
          <a:latin typeface="+mn-lt"/>
          <a:ea typeface="+mn-ea"/>
          <a:cs typeface="+mn-cs"/>
        </a:defRPr>
      </a:lvl8pPr>
      <a:lvl9pPr marL="2743154" algn="l" defTabSz="685789"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04863" y="246063"/>
            <a:ext cx="8229600" cy="406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804863" y="1524000"/>
            <a:ext cx="8229600" cy="2928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2052" name="Picture 20" descr="Oracle WHITE"/>
          <p:cNvPicPr>
            <a:picLocks noChangeArrowheads="1"/>
          </p:cNvPicPr>
          <p:nvPr/>
        </p:nvPicPr>
        <p:blipFill>
          <a:blip r:embed="rId23" cstate="screen"/>
          <a:srcRect/>
          <a:stretch>
            <a:fillRect/>
          </a:stretch>
        </p:blipFill>
        <p:spPr bwMode="auto">
          <a:xfrm>
            <a:off x="8015288" y="4668838"/>
            <a:ext cx="704850" cy="88900"/>
          </a:xfrm>
          <a:prstGeom prst="rect">
            <a:avLst/>
          </a:prstGeom>
          <a:noFill/>
          <a:ln w="9525">
            <a:noFill/>
            <a:miter lim="800000"/>
            <a:headEnd/>
            <a:tailEnd/>
          </a:ln>
        </p:spPr>
      </p:pic>
      <p:grpSp>
        <p:nvGrpSpPr>
          <p:cNvPr id="2" name="Group 4"/>
          <p:cNvGrpSpPr>
            <a:grpSpLocks/>
          </p:cNvGrpSpPr>
          <p:nvPr/>
        </p:nvGrpSpPr>
        <p:grpSpPr bwMode="auto">
          <a:xfrm>
            <a:off x="0" y="4629150"/>
            <a:ext cx="9144000" cy="168275"/>
            <a:chOff x="0" y="4629150"/>
            <a:chExt cx="9144000" cy="168275"/>
          </a:xfrm>
        </p:grpSpPr>
        <p:pic>
          <p:nvPicPr>
            <p:cNvPr id="2060" name="Picture 25" descr="Red Bar"/>
            <p:cNvPicPr>
              <a:picLocks noChangeAspect="1" noChangeArrowheads="1"/>
            </p:cNvPicPr>
            <p:nvPr/>
          </p:nvPicPr>
          <p:blipFill>
            <a:blip r:embed="rId24"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2061" name="Picture 20" descr="Oracle WHITE"/>
            <p:cNvPicPr>
              <a:picLocks noChangeArrowheads="1"/>
            </p:cNvPicPr>
            <p:nvPr userDrawn="1"/>
          </p:nvPicPr>
          <p:blipFill>
            <a:blip r:embed="rId23" cstate="screen"/>
            <a:srcRect/>
            <a:stretch>
              <a:fillRect/>
            </a:stretch>
          </p:blipFill>
          <p:spPr bwMode="auto">
            <a:xfrm>
              <a:off x="8015479" y="4668926"/>
              <a:ext cx="704056" cy="88722"/>
            </a:xfrm>
            <a:prstGeom prst="rect">
              <a:avLst/>
            </a:prstGeom>
            <a:noFill/>
            <a:ln w="9525">
              <a:noFill/>
              <a:miter lim="800000"/>
              <a:headEnd/>
              <a:tailEnd/>
            </a:ln>
          </p:spPr>
        </p:pic>
      </p:grpSp>
      <p:grpSp>
        <p:nvGrpSpPr>
          <p:cNvPr id="3" name="Group 13"/>
          <p:cNvGrpSpPr>
            <a:grpSpLocks/>
          </p:cNvGrpSpPr>
          <p:nvPr/>
        </p:nvGrpSpPr>
        <p:grpSpPr bwMode="auto">
          <a:xfrm>
            <a:off x="598488" y="4913313"/>
            <a:ext cx="2538413" cy="219075"/>
            <a:chOff x="597807" y="4913790"/>
            <a:chExt cx="2538530" cy="219168"/>
          </a:xfrm>
        </p:grpSpPr>
        <p:sp>
          <p:nvSpPr>
            <p:cNvPr id="15" name="Text Box 14"/>
            <p:cNvSpPr txBox="1">
              <a:spLocks noChangeArrowheads="1"/>
            </p:cNvSpPr>
            <p:nvPr userDrawn="1"/>
          </p:nvSpPr>
          <p:spPr bwMode="auto">
            <a:xfrm>
              <a:off x="631146" y="4913790"/>
              <a:ext cx="2505191" cy="219168"/>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charset="0"/>
                </a:rPr>
                <a:t>Copyright © 2013, Oracle and/or its affiliates. All rights reserved.</a:t>
              </a:r>
            </a:p>
          </p:txBody>
        </p:sp>
        <p:cxnSp>
          <p:nvCxnSpPr>
            <p:cNvPr id="16" name="Straight Connector 15"/>
            <p:cNvCxnSpPr/>
            <p:nvPr userDrawn="1"/>
          </p:nvCxnSpPr>
          <p:spPr>
            <a:xfrm flipH="1">
              <a:off x="597807"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p:nvPr userDrawn="1"/>
          </p:nvCxnSpPr>
          <p:spPr>
            <a:xfrm flipH="1">
              <a:off x="2893438"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5600" y="4883150"/>
            <a:ext cx="279400" cy="185738"/>
          </a:xfrm>
          <a:prstGeom prst="rect">
            <a:avLst/>
          </a:prstGeom>
        </p:spPr>
        <p:txBody>
          <a:bodyPr wrap="none">
            <a:spAutoFit/>
          </a:bodyPr>
          <a:lstStyle/>
          <a:p>
            <a:pPr algn="r">
              <a:defRPr/>
            </a:pPr>
            <a:fld id="{3F0B215D-94D7-43A3-8F78-040B9E9D1A27}" type="slidenum">
              <a:rPr lang="en-US" sz="600">
                <a:solidFill>
                  <a:srgbClr val="000000"/>
                </a:solidFill>
                <a:cs typeface="Arial" charset="0"/>
              </a:rPr>
              <a:pPr algn="r">
                <a:defRPr/>
              </a:pPr>
              <a:t>‹#›</a:t>
            </a:fld>
            <a:endParaRPr lang="en-US" sz="600" dirty="0">
              <a:solidFill>
                <a:srgbClr val="000000"/>
              </a:solidFill>
              <a:cs typeface="Arial" charset="0"/>
            </a:endParaRPr>
          </a:p>
        </p:txBody>
      </p:sp>
      <p:sp>
        <p:nvSpPr>
          <p:cNvPr id="13" name="Rectangle 12"/>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Lst>
  <p:transition spd="med">
    <p:fade/>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800" b="1" kern="1200">
          <a:solidFill>
            <a:schemeClr val="tx1"/>
          </a:solidFill>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34" charset="0"/>
          <a:cs typeface="Arial" pitchFamily="34" charset="0"/>
        </a:defRPr>
      </a:lvl2pPr>
      <a:lvl3pPr algn="l" rtl="0" eaLnBrk="0" fontAlgn="base" hangingPunct="0">
        <a:lnSpc>
          <a:spcPct val="90000"/>
        </a:lnSpc>
        <a:spcBef>
          <a:spcPct val="0"/>
        </a:spcBef>
        <a:spcAft>
          <a:spcPct val="0"/>
        </a:spcAft>
        <a:defRPr sz="2800" b="1">
          <a:solidFill>
            <a:schemeClr val="tx1"/>
          </a:solidFill>
          <a:latin typeface="Arial" pitchFamily="34" charset="0"/>
          <a:cs typeface="Arial" pitchFamily="34" charset="0"/>
        </a:defRPr>
      </a:lvl3pPr>
      <a:lvl4pPr algn="l" rtl="0" eaLnBrk="0" fontAlgn="base" hangingPunct="0">
        <a:lnSpc>
          <a:spcPct val="90000"/>
        </a:lnSpc>
        <a:spcBef>
          <a:spcPct val="0"/>
        </a:spcBef>
        <a:spcAft>
          <a:spcPct val="0"/>
        </a:spcAft>
        <a:defRPr sz="2800" b="1">
          <a:solidFill>
            <a:schemeClr val="tx1"/>
          </a:solidFill>
          <a:latin typeface="Arial" pitchFamily="34" charset="0"/>
          <a:cs typeface="Arial" pitchFamily="34" charset="0"/>
        </a:defRPr>
      </a:lvl4pPr>
      <a:lvl5pPr algn="l" rtl="0" eaLnBrk="0" fontAlgn="base" hangingPunct="0">
        <a:lnSpc>
          <a:spcPct val="90000"/>
        </a:lnSpc>
        <a:spcBef>
          <a:spcPct val="0"/>
        </a:spcBef>
        <a:spcAft>
          <a:spcPct val="0"/>
        </a:spcAft>
        <a:defRPr sz="2800" b="1">
          <a:solidFill>
            <a:schemeClr val="tx1"/>
          </a:solidFill>
          <a:latin typeface="Arial" pitchFamily="34" charset="0"/>
          <a:cs typeface="Arial" pitchFamily="34" charset="0"/>
        </a:defRPr>
      </a:lvl5pPr>
      <a:lvl6pPr marL="457200" algn="l" rtl="0" fontAlgn="base">
        <a:lnSpc>
          <a:spcPct val="90000"/>
        </a:lnSpc>
        <a:spcBef>
          <a:spcPct val="0"/>
        </a:spcBef>
        <a:spcAft>
          <a:spcPct val="0"/>
        </a:spcAft>
        <a:defRPr sz="2800" b="1">
          <a:solidFill>
            <a:schemeClr val="tx1"/>
          </a:solidFill>
          <a:latin typeface="Arial" pitchFamily="34" charset="0"/>
          <a:cs typeface="Arial" pitchFamily="34" charset="0"/>
        </a:defRPr>
      </a:lvl6pPr>
      <a:lvl7pPr marL="914400" algn="l" rtl="0" fontAlgn="base">
        <a:lnSpc>
          <a:spcPct val="90000"/>
        </a:lnSpc>
        <a:spcBef>
          <a:spcPct val="0"/>
        </a:spcBef>
        <a:spcAft>
          <a:spcPct val="0"/>
        </a:spcAft>
        <a:defRPr sz="2800" b="1">
          <a:solidFill>
            <a:schemeClr val="tx1"/>
          </a:solidFill>
          <a:latin typeface="Arial" pitchFamily="34" charset="0"/>
          <a:cs typeface="Arial" pitchFamily="34" charset="0"/>
        </a:defRPr>
      </a:lvl7pPr>
      <a:lvl8pPr marL="1371600" algn="l" rtl="0" fontAlgn="base">
        <a:lnSpc>
          <a:spcPct val="90000"/>
        </a:lnSpc>
        <a:spcBef>
          <a:spcPct val="0"/>
        </a:spcBef>
        <a:spcAft>
          <a:spcPct val="0"/>
        </a:spcAft>
        <a:defRPr sz="2800" b="1">
          <a:solidFill>
            <a:schemeClr val="tx1"/>
          </a:solidFill>
          <a:latin typeface="Arial" pitchFamily="34" charset="0"/>
          <a:cs typeface="Arial" pitchFamily="34" charset="0"/>
        </a:defRPr>
      </a:lvl8pPr>
      <a:lvl9pPr marL="1828800" algn="l" rtl="0" fontAlgn="base">
        <a:lnSpc>
          <a:spcPct val="90000"/>
        </a:lnSpc>
        <a:spcBef>
          <a:spcPct val="0"/>
        </a:spcBef>
        <a:spcAft>
          <a:spcPct val="0"/>
        </a:spcAft>
        <a:defRPr sz="2800" b="1">
          <a:solidFill>
            <a:schemeClr val="tx1"/>
          </a:solidFill>
          <a:latin typeface="Arial" pitchFamily="34" charset="0"/>
          <a:cs typeface="Arial" pitchFamily="34" charset="0"/>
        </a:defRPr>
      </a:lvl9pPr>
    </p:titleStyle>
    <p:bodyStyle>
      <a:lvl1pPr marL="228600" indent="-168275" algn="l" defTabSz="228600" rtl="0" eaLnBrk="0" fontAlgn="base" hangingPunct="0">
        <a:spcBef>
          <a:spcPct val="0"/>
        </a:spcBef>
        <a:spcAft>
          <a:spcPts val="600"/>
        </a:spcAft>
        <a:buClr>
          <a:srgbClr val="FF0000"/>
        </a:buClr>
        <a:buSzPct val="85000"/>
        <a:buFont typeface="Wingdings" pitchFamily="2" charset="2"/>
        <a:buChar char="§"/>
        <a:defRPr sz="2000" kern="1200">
          <a:solidFill>
            <a:schemeClr val="tx1"/>
          </a:solidFill>
          <a:latin typeface="Arial" pitchFamily="34" charset="0"/>
          <a:ea typeface="+mn-ea"/>
          <a:cs typeface="Arial" pitchFamily="34" charset="0"/>
        </a:defRPr>
      </a:lvl1pPr>
      <a:lvl2pPr marL="631825" indent="-228600" algn="l" defTabSz="228600" rtl="0" eaLnBrk="0" fontAlgn="base" hangingPunct="0">
        <a:spcBef>
          <a:spcPct val="0"/>
        </a:spcBef>
        <a:spcAft>
          <a:spcPts val="600"/>
        </a:spcAft>
        <a:buSzPct val="85000"/>
        <a:buFont typeface="Arial" charset="0"/>
        <a:buChar char="–"/>
        <a:defRPr kern="1200">
          <a:solidFill>
            <a:schemeClr val="tx1"/>
          </a:solidFill>
          <a:latin typeface="Arial" pitchFamily="34" charset="0"/>
          <a:ea typeface="+mn-ea"/>
          <a:cs typeface="Arial" pitchFamily="34" charset="0"/>
        </a:defRPr>
      </a:lvl2pPr>
      <a:lvl3pPr marL="974725" indent="-174625" algn="l" defTabSz="228600" rtl="0" eaLnBrk="0" fontAlgn="base" hangingPunct="0">
        <a:spcBef>
          <a:spcPct val="0"/>
        </a:spcBef>
        <a:spcAft>
          <a:spcPts val="600"/>
        </a:spcAft>
        <a:buClr>
          <a:srgbClr val="FF0000"/>
        </a:buClr>
        <a:buSzPct val="85000"/>
        <a:buFont typeface="Wingdings" pitchFamily="2" charset="2"/>
        <a:buChar char="§"/>
        <a:defRPr kern="1200">
          <a:solidFill>
            <a:schemeClr val="tx1"/>
          </a:solidFill>
          <a:latin typeface="Arial" pitchFamily="34" charset="0"/>
          <a:ea typeface="+mn-ea"/>
          <a:cs typeface="Arial" pitchFamily="34" charset="0"/>
        </a:defRPr>
      </a:lvl3pPr>
      <a:lvl4pPr marL="1431925" indent="-228600" algn="l" defTabSz="228600" rtl="0" eaLnBrk="0" fontAlgn="base" hangingPunct="0">
        <a:spcBef>
          <a:spcPct val="0"/>
        </a:spcBef>
        <a:spcAft>
          <a:spcPts val="600"/>
        </a:spcAft>
        <a:buSzPct val="85000"/>
        <a:buFont typeface="Arial" charset="0"/>
        <a:buChar char="–"/>
        <a:defRPr kern="1200">
          <a:solidFill>
            <a:schemeClr val="tx1"/>
          </a:solidFill>
          <a:latin typeface="Arial" pitchFamily="34" charset="0"/>
          <a:ea typeface="+mn-ea"/>
          <a:cs typeface="Arial" pitchFamily="34" charset="0"/>
        </a:defRPr>
      </a:lvl4pPr>
      <a:lvl5pPr marL="1828800" indent="-168275" algn="l" rtl="0" eaLnBrk="0" fontAlgn="base" hangingPunct="0">
        <a:spcBef>
          <a:spcPct val="0"/>
        </a:spcBef>
        <a:spcAft>
          <a:spcPts val="600"/>
        </a:spcAft>
        <a:buClr>
          <a:srgbClr val="FF0000"/>
        </a:buClr>
        <a:buFont typeface="Arial"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421556"/>
          </a:xfrm>
          <a:prstGeom prst="rect">
            <a:avLst/>
          </a:prstGeom>
        </p:spPr>
        <p:txBody>
          <a:bodyPr vert="horz" lIns="91431" tIns="45716" rIns="91431" bIns="45716"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735546"/>
            <a:ext cx="8229600" cy="4050450"/>
          </a:xfrm>
          <a:prstGeom prst="rect">
            <a:avLst/>
          </a:prstGeom>
        </p:spPr>
        <p:txBody>
          <a:bodyPr vert="horz" lIns="91431" tIns="45716" rIns="91431" bIns="45716"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865989"/>
            <a:ext cx="2133600" cy="273844"/>
          </a:xfrm>
          <a:prstGeom prst="rect">
            <a:avLst/>
          </a:prstGeom>
        </p:spPr>
        <p:txBody>
          <a:bodyPr vert="horz" lIns="91431" tIns="45716" rIns="91431" bIns="45716" rtlCol="0" anchor="ctr"/>
          <a:lstStyle>
            <a:lvl1pPr algn="l">
              <a:defRPr sz="1200">
                <a:solidFill>
                  <a:schemeClr val="tx1">
                    <a:tint val="75000"/>
                  </a:schemeClr>
                </a:solidFill>
              </a:defRPr>
            </a:lvl1pPr>
          </a:lstStyle>
          <a:p>
            <a:pPr defTabSz="914306"/>
            <a:fld id="{532A548F-CF34-4B50-B370-B3732F5B80E4}" type="datetimeFigureOut">
              <a:rPr lang="zh-CN" altLang="en-US" smtClean="0">
                <a:solidFill>
                  <a:prstClr val="black">
                    <a:tint val="75000"/>
                  </a:prstClr>
                </a:solidFill>
                <a:cs typeface="Arial" charset="0"/>
              </a:rPr>
              <a:pPr defTabSz="914306"/>
              <a:t>2018/1/5</a:t>
            </a:fld>
            <a:endParaRPr lang="zh-CN" altLang="en-US">
              <a:solidFill>
                <a:prstClr val="black">
                  <a:tint val="75000"/>
                </a:prstClr>
              </a:solidFill>
              <a:cs typeface="Arial" charset="0"/>
            </a:endParaRPr>
          </a:p>
        </p:txBody>
      </p:sp>
      <p:sp>
        <p:nvSpPr>
          <p:cNvPr id="5" name="页脚占位符 4"/>
          <p:cNvSpPr>
            <a:spLocks noGrp="1"/>
          </p:cNvSpPr>
          <p:nvPr>
            <p:ph type="ftr" sz="quarter" idx="3"/>
          </p:nvPr>
        </p:nvSpPr>
        <p:spPr>
          <a:xfrm>
            <a:off x="3124200" y="4865989"/>
            <a:ext cx="2895600" cy="273844"/>
          </a:xfrm>
          <a:prstGeom prst="rect">
            <a:avLst/>
          </a:prstGeom>
        </p:spPr>
        <p:txBody>
          <a:bodyPr vert="horz" lIns="91431" tIns="45716" rIns="91431" bIns="45716" rtlCol="0" anchor="ctr"/>
          <a:lstStyle>
            <a:lvl1pPr algn="ctr">
              <a:defRPr sz="1200">
                <a:solidFill>
                  <a:schemeClr val="tx1">
                    <a:tint val="75000"/>
                  </a:schemeClr>
                </a:solidFill>
              </a:defRPr>
            </a:lvl1pPr>
          </a:lstStyle>
          <a:p>
            <a:pPr defTabSz="914306"/>
            <a:endParaRPr lang="zh-CN" altLang="en-US">
              <a:solidFill>
                <a:prstClr val="black">
                  <a:tint val="75000"/>
                </a:prstClr>
              </a:solidFill>
              <a:cs typeface="Arial" charset="0"/>
            </a:endParaRPr>
          </a:p>
        </p:txBody>
      </p:sp>
      <p:sp>
        <p:nvSpPr>
          <p:cNvPr id="6" name="灯片编号占位符 5"/>
          <p:cNvSpPr>
            <a:spLocks noGrp="1"/>
          </p:cNvSpPr>
          <p:nvPr>
            <p:ph type="sldNum" sz="quarter" idx="4"/>
          </p:nvPr>
        </p:nvSpPr>
        <p:spPr>
          <a:xfrm>
            <a:off x="6553200" y="4865989"/>
            <a:ext cx="2133600" cy="273844"/>
          </a:xfrm>
          <a:prstGeom prst="rect">
            <a:avLst/>
          </a:prstGeom>
        </p:spPr>
        <p:txBody>
          <a:bodyPr vert="horz" lIns="91431" tIns="45716" rIns="91431" bIns="45716" rtlCol="0" anchor="ctr"/>
          <a:lstStyle>
            <a:lvl1pPr algn="r">
              <a:defRPr sz="1200">
                <a:solidFill>
                  <a:schemeClr val="tx1">
                    <a:tint val="75000"/>
                  </a:schemeClr>
                </a:solidFill>
              </a:defRPr>
            </a:lvl1pPr>
          </a:lstStyle>
          <a:p>
            <a:pPr defTabSz="914306"/>
            <a:fld id="{E6F7F160-E61C-4897-94C3-BDF1D09C6643}" type="slidenum">
              <a:rPr lang="zh-CN" altLang="en-US" smtClean="0">
                <a:solidFill>
                  <a:prstClr val="black">
                    <a:tint val="75000"/>
                  </a:prstClr>
                </a:solidFill>
                <a:cs typeface="Arial" charset="0"/>
              </a:rPr>
              <a:pPr defTabSz="914306"/>
              <a:t>‹#›</a:t>
            </a:fld>
            <a:endParaRPr lang="zh-CN" altLang="en-US">
              <a:solidFill>
                <a:prstClr val="black">
                  <a:tint val="75000"/>
                </a:prstClr>
              </a:solidFill>
              <a:cs typeface="Arial" charset="0"/>
            </a:endParaRPr>
          </a:p>
        </p:txBody>
      </p:sp>
      <p:cxnSp>
        <p:nvCxnSpPr>
          <p:cNvPr id="7" name="直接连接符 6"/>
          <p:cNvCxnSpPr/>
          <p:nvPr userDrawn="1"/>
        </p:nvCxnSpPr>
        <p:spPr>
          <a:xfrm>
            <a:off x="431632" y="68154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534544"/>
      </p:ext>
    </p:extLst>
  </p:cSld>
  <p:clrMap bg1="lt1" tx1="dk1" bg2="lt2" tx2="dk2" accent1="accent1" accent2="accent2" accent3="accent3" accent4="accent4" accent5="accent5" accent6="accent6" hlink="hlink" folHlink="folHlink"/>
  <p:sldLayoutIdLst>
    <p:sldLayoutId id="2147484236" r:id="rId1"/>
    <p:sldLayoutId id="2147484237" r:id="rId2"/>
    <p:sldLayoutId id="2147484238" r:id="rId3"/>
    <p:sldLayoutId id="2147484239" r:id="rId4"/>
    <p:sldLayoutId id="2147484240" r:id="rId5"/>
    <p:sldLayoutId id="2147484241" r:id="rId6"/>
    <p:sldLayoutId id="2147484242" r:id="rId7"/>
    <p:sldLayoutId id="2147484243" r:id="rId8"/>
    <p:sldLayoutId id="2147484244" r:id="rId9"/>
    <p:sldLayoutId id="2147484245" r:id="rId10"/>
    <p:sldLayoutId id="2147484246" r:id="rId11"/>
    <p:sldLayoutId id="2147484247" r:id="rId12"/>
  </p:sldLayoutIdLst>
  <p:txStyles>
    <p:titleStyle>
      <a:lvl1pPr algn="l" defTabSz="914306"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306" rtl="0" eaLnBrk="1" latinLnBrk="0" hangingPunct="1">
        <a:spcBef>
          <a:spcPct val="20000"/>
        </a:spcBef>
        <a:buFont typeface="Arial" pitchFamily="34" charset="0"/>
        <a:buNone/>
        <a:defRPr sz="1800" kern="1200">
          <a:solidFill>
            <a:schemeClr val="tx1"/>
          </a:solidFill>
          <a:latin typeface="+mn-lt"/>
          <a:ea typeface="+mn-ea"/>
          <a:cs typeface="+mn-cs"/>
        </a:defRPr>
      </a:lvl1pPr>
      <a:lvl2pPr marL="457154" indent="0" algn="l" defTabSz="914306" rtl="0" eaLnBrk="1" latinLnBrk="0" hangingPunct="1">
        <a:spcBef>
          <a:spcPct val="20000"/>
        </a:spcBef>
        <a:buFont typeface="Arial" pitchFamily="34" charset="0"/>
        <a:buNone/>
        <a:defRPr sz="1600" kern="1200">
          <a:solidFill>
            <a:schemeClr val="tx1"/>
          </a:solidFill>
          <a:latin typeface="+mn-lt"/>
          <a:ea typeface="+mn-ea"/>
          <a:cs typeface="+mn-cs"/>
        </a:defRPr>
      </a:lvl2pPr>
      <a:lvl3pPr marL="914306" indent="0" algn="l" defTabSz="914306" rtl="0" eaLnBrk="1" latinLnBrk="0" hangingPunct="1">
        <a:spcBef>
          <a:spcPct val="20000"/>
        </a:spcBef>
        <a:buFont typeface="Arial" pitchFamily="34" charset="0"/>
        <a:buNone/>
        <a:defRPr sz="1400" kern="1200">
          <a:solidFill>
            <a:schemeClr val="tx1"/>
          </a:solidFill>
          <a:latin typeface="+mn-lt"/>
          <a:ea typeface="+mn-ea"/>
          <a:cs typeface="+mn-cs"/>
        </a:defRPr>
      </a:lvl3pPr>
      <a:lvl4pPr marL="1371460" indent="0" algn="l" defTabSz="914306" rtl="0" eaLnBrk="1" latinLnBrk="0" hangingPunct="1">
        <a:spcBef>
          <a:spcPct val="20000"/>
        </a:spcBef>
        <a:buFont typeface="Arial" pitchFamily="34" charset="0"/>
        <a:buNone/>
        <a:defRPr sz="1200" kern="1200">
          <a:solidFill>
            <a:schemeClr val="tx1"/>
          </a:solidFill>
          <a:latin typeface="+mn-lt"/>
          <a:ea typeface="+mn-ea"/>
          <a:cs typeface="+mn-cs"/>
        </a:defRPr>
      </a:lvl4pPr>
      <a:lvl5pPr marL="1828612" indent="0" algn="l" defTabSz="914306" rtl="0" eaLnBrk="1" latinLnBrk="0" hangingPunct="1">
        <a:spcBef>
          <a:spcPct val="20000"/>
        </a:spcBef>
        <a:buFont typeface="Arial" pitchFamily="34" charset="0"/>
        <a:buNone/>
        <a:defRPr sz="1200" kern="1200">
          <a:solidFill>
            <a:schemeClr val="tx1"/>
          </a:solidFill>
          <a:latin typeface="+mn-lt"/>
          <a:ea typeface="+mn-ea"/>
          <a:cs typeface="+mn-cs"/>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5"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49"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2"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306" rtl="0" eaLnBrk="1" latinLnBrk="0" hangingPunct="1">
        <a:defRPr sz="1800" kern="1200">
          <a:solidFill>
            <a:schemeClr val="tx1"/>
          </a:solidFill>
          <a:latin typeface="+mn-lt"/>
          <a:ea typeface="+mn-ea"/>
          <a:cs typeface="+mn-cs"/>
        </a:defRPr>
      </a:lvl1pPr>
      <a:lvl2pPr marL="457154"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2" algn="l" defTabSz="914306" rtl="0" eaLnBrk="1" latinLnBrk="0" hangingPunct="1">
        <a:defRPr sz="1800" kern="1200">
          <a:solidFill>
            <a:schemeClr val="tx1"/>
          </a:solidFill>
          <a:latin typeface="+mn-lt"/>
          <a:ea typeface="+mn-ea"/>
          <a:cs typeface="+mn-cs"/>
        </a:defRPr>
      </a:lvl5pPr>
      <a:lvl6pPr marL="2285766" algn="l" defTabSz="914306" rtl="0" eaLnBrk="1" latinLnBrk="0" hangingPunct="1">
        <a:defRPr sz="1800" kern="1200">
          <a:solidFill>
            <a:schemeClr val="tx1"/>
          </a:solidFill>
          <a:latin typeface="+mn-lt"/>
          <a:ea typeface="+mn-ea"/>
          <a:cs typeface="+mn-cs"/>
        </a:defRPr>
      </a:lvl6pPr>
      <a:lvl7pPr marL="2742919" algn="l" defTabSz="914306" rtl="0" eaLnBrk="1" latinLnBrk="0" hangingPunct="1">
        <a:defRPr sz="1800" kern="1200">
          <a:solidFill>
            <a:schemeClr val="tx1"/>
          </a:solidFill>
          <a:latin typeface="+mn-lt"/>
          <a:ea typeface="+mn-ea"/>
          <a:cs typeface="+mn-cs"/>
        </a:defRPr>
      </a:lvl7pPr>
      <a:lvl8pPr marL="3200072" algn="l" defTabSz="914306" rtl="0" eaLnBrk="1" latinLnBrk="0" hangingPunct="1">
        <a:defRPr sz="1800" kern="1200">
          <a:solidFill>
            <a:schemeClr val="tx1"/>
          </a:solidFill>
          <a:latin typeface="+mn-lt"/>
          <a:ea typeface="+mn-ea"/>
          <a:cs typeface="+mn-cs"/>
        </a:defRPr>
      </a:lvl8pPr>
      <a:lvl9pPr marL="3657226" algn="l" defTabSz="91430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24" cstate="print"/>
          <a:srcRect/>
          <a:stretch>
            <a:fillRect/>
          </a:stretch>
        </p:blipFill>
        <p:spPr bwMode="auto">
          <a:xfrm>
            <a:off x="8015479" y="4668926"/>
            <a:ext cx="704056" cy="88722"/>
          </a:xfrm>
          <a:prstGeom prst="rect">
            <a:avLst/>
          </a:prstGeom>
          <a:noFill/>
          <a:ln w="9525">
            <a:noFill/>
            <a:miter lim="800000"/>
            <a:headEnd/>
            <a:tailEnd/>
          </a:ln>
        </p:spPr>
      </p:pic>
      <p:grpSp>
        <p:nvGrpSpPr>
          <p:cNvPr id="4" name="Group 4"/>
          <p:cNvGrpSpPr/>
          <p:nvPr/>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24"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5" name="Group 13"/>
          <p:cNvGrpSpPr/>
          <p:nvPr/>
        </p:nvGrpSpPr>
        <p:grpSpPr>
          <a:xfrm>
            <a:off x="597807" y="4913973"/>
            <a:ext cx="2539093" cy="218542"/>
            <a:chOff x="597807" y="4913973"/>
            <a:chExt cx="2539093" cy="218542"/>
          </a:xfrm>
        </p:grpSpPr>
        <p:sp>
          <p:nvSpPr>
            <p:cNvPr id="15" name="Text Box 14"/>
            <p:cNvSpPr txBox="1">
              <a:spLocks noChangeArrowheads="1"/>
            </p:cNvSpPr>
            <p:nvPr userDrawn="1"/>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2, Oracle and/or its affiliates. All rights reserved.</a:t>
              </a:r>
            </a:p>
          </p:txBody>
        </p:sp>
        <p:cxnSp>
          <p:nvCxnSpPr>
            <p:cNvPr id="16" name="Straight Connector 15"/>
            <p:cNvCxnSpPr/>
            <p:nvPr userDrawn="1"/>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p:nvPr userDrawn="1"/>
          </p:nvCxnSpPr>
          <p:spPr>
            <a:xfrm flipH="1">
              <a:off x="2893332"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rgbClr val="000000"/>
                </a:solidFill>
                <a:ea typeface="ＭＳ Ｐゴシック" pitchFamily="34" charset="-128"/>
                <a:cs typeface="Arial" pitchFamily="34" charset="0"/>
              </a:rPr>
              <a:pPr algn="r"/>
              <a:t>‹#›</a:t>
            </a:fld>
            <a:endParaRPr lang="en-US" sz="600" dirty="0">
              <a:solidFill>
                <a:srgbClr val="000000"/>
              </a:solidFill>
              <a:ea typeface="ＭＳ Ｐゴシック" pitchFamily="34" charset="-128"/>
              <a:cs typeface="Arial" pitchFamily="34" charset="0"/>
            </a:endParaRPr>
          </a:p>
        </p:txBody>
      </p:sp>
    </p:spTree>
    <p:extLst>
      <p:ext uri="{BB962C8B-B14F-4D97-AF65-F5344CB8AC3E}">
        <p14:creationId xmlns:p14="http://schemas.microsoft.com/office/powerpoint/2010/main" val="317983677"/>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850" r:id="rId19"/>
    <p:sldLayoutId id="2147483851" r:id="rId20"/>
    <p:sldLayoutId id="2147484233" r:id="rId21"/>
    <p:sldLayoutId id="214748423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nvGrpSpPr>
          <p:cNvPr id="4" name="Group 4"/>
          <p:cNvGrpSpPr/>
          <p:nvPr/>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5" name="Group 13"/>
          <p:cNvGrpSpPr/>
          <p:nvPr/>
        </p:nvGrpSpPr>
        <p:grpSpPr>
          <a:xfrm>
            <a:off x="597807" y="4913973"/>
            <a:ext cx="2539093" cy="218542"/>
            <a:chOff x="597807" y="4913973"/>
            <a:chExt cx="2539093" cy="218542"/>
          </a:xfrm>
        </p:grpSpPr>
        <p:sp>
          <p:nvSpPr>
            <p:cNvPr id="15" name="Text Box 14"/>
            <p:cNvSpPr txBox="1">
              <a:spLocks noChangeArrowheads="1"/>
            </p:cNvSpPr>
            <p:nvPr userDrawn="1"/>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3, Oracle and/or its affiliates. All rights reserved.</a:t>
              </a:r>
            </a:p>
          </p:txBody>
        </p:sp>
        <p:cxnSp>
          <p:nvCxnSpPr>
            <p:cNvPr id="16" name="Straight Connector 15"/>
            <p:cNvCxnSpPr/>
            <p:nvPr userDrawn="1"/>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rgbClr val="000000"/>
                </a:solidFill>
                <a:ea typeface="ＭＳ Ｐゴシック" pitchFamily="34" charset="-128"/>
                <a:cs typeface="Arial" pitchFamily="34" charset="0"/>
              </a:rPr>
              <a:pPr algn="r"/>
              <a:t>‹#›</a:t>
            </a:fld>
            <a:endParaRPr lang="en-US" sz="600" dirty="0">
              <a:solidFill>
                <a:srgbClr val="000000"/>
              </a:solidFill>
              <a:ea typeface="ＭＳ Ｐゴシック" pitchFamily="34" charset="-128"/>
              <a:cs typeface="Arial" pitchFamily="34" charset="0"/>
            </a:endParaRPr>
          </a:p>
        </p:txBody>
      </p:sp>
      <p:sp>
        <p:nvSpPr>
          <p:cNvPr id="21" name="Rectangle 20"/>
          <p:cNvSpPr/>
          <p:nvPr/>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17983677"/>
      </p:ext>
    </p:extLst>
  </p:cSld>
  <p:clrMap bg1="lt1" tx1="dk1" bg2="lt2" tx2="dk2" accent1="accent1" accent2="accent2" accent3="accent3" accent4="accent4" accent5="accent5" accent6="accent6" hlink="hlink" folHlink="folHlink"/>
  <p:sldLayoutIdLst>
    <p:sldLayoutId id="2147483988"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nvGrpSpPr>
          <p:cNvPr id="4" name="Group 4"/>
          <p:cNvGrpSpPr/>
          <p:nvPr/>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5" name="Group 13"/>
          <p:cNvGrpSpPr/>
          <p:nvPr/>
        </p:nvGrpSpPr>
        <p:grpSpPr>
          <a:xfrm>
            <a:off x="597807" y="4913973"/>
            <a:ext cx="2539093" cy="218542"/>
            <a:chOff x="597807" y="4913973"/>
            <a:chExt cx="2539093" cy="218542"/>
          </a:xfrm>
        </p:grpSpPr>
        <p:sp>
          <p:nvSpPr>
            <p:cNvPr id="15" name="Text Box 14"/>
            <p:cNvSpPr txBox="1">
              <a:spLocks noChangeArrowheads="1"/>
            </p:cNvSpPr>
            <p:nvPr userDrawn="1"/>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3, Oracle and/or its affiliates. All rights reserved.</a:t>
              </a:r>
            </a:p>
          </p:txBody>
        </p:sp>
        <p:cxnSp>
          <p:nvCxnSpPr>
            <p:cNvPr id="16" name="Straight Connector 15"/>
            <p:cNvCxnSpPr/>
            <p:nvPr userDrawn="1"/>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rgbClr val="000000"/>
                </a:solidFill>
                <a:ea typeface="ＭＳ Ｐゴシック" pitchFamily="34" charset="-128"/>
                <a:cs typeface="Arial" pitchFamily="34" charset="0"/>
              </a:rPr>
              <a:pPr algn="r"/>
              <a:t>‹#›</a:t>
            </a:fld>
            <a:endParaRPr lang="en-US" sz="600" dirty="0">
              <a:solidFill>
                <a:srgbClr val="000000"/>
              </a:solidFill>
              <a:ea typeface="ＭＳ Ｐゴシック" pitchFamily="34" charset="-128"/>
              <a:cs typeface="Arial" pitchFamily="34" charset="0"/>
            </a:endParaRPr>
          </a:p>
        </p:txBody>
      </p:sp>
      <p:sp>
        <p:nvSpPr>
          <p:cNvPr id="21" name="Rectangle 20"/>
          <p:cNvSpPr/>
          <p:nvPr/>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17983677"/>
      </p:ext>
    </p:extLst>
  </p:cSld>
  <p:clrMap bg1="lt1" tx1="dk1" bg2="lt2" tx2="dk2" accent1="accent1" accent2="accent2" accent3="accent3" accent4="accent4" accent5="accent5" accent6="accent6" hlink="hlink" folHlink="folHlink"/>
  <p:sldLayoutIdLst>
    <p:sldLayoutId id="214748399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808038" y="201613"/>
            <a:ext cx="8132762"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123" name="Text Placeholder 2"/>
          <p:cNvSpPr>
            <a:spLocks noGrp="1"/>
          </p:cNvSpPr>
          <p:nvPr>
            <p:ph type="body" idx="1"/>
          </p:nvPr>
        </p:nvSpPr>
        <p:spPr bwMode="auto">
          <a:xfrm>
            <a:off x="808038" y="1163638"/>
            <a:ext cx="8126412" cy="34782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5124" name="Picture 24" descr="Small Red Square"/>
          <p:cNvPicPr>
            <a:picLocks noChangeAspect="1" noChangeArrowheads="1"/>
          </p:cNvPicPr>
          <p:nvPr/>
        </p:nvPicPr>
        <p:blipFill>
          <a:blip r:embed="rId19" cstate="print"/>
          <a:srcRect/>
          <a:stretch>
            <a:fillRect/>
          </a:stretch>
        </p:blipFill>
        <p:spPr bwMode="auto">
          <a:xfrm>
            <a:off x="0" y="0"/>
            <a:ext cx="573088" cy="550863"/>
          </a:xfrm>
          <a:prstGeom prst="rect">
            <a:avLst/>
          </a:prstGeom>
          <a:solidFill>
            <a:schemeClr val="tx2"/>
          </a:solidFill>
          <a:ln w="9525">
            <a:noFill/>
            <a:miter lim="800000"/>
            <a:headEnd/>
            <a:tailEnd/>
          </a:ln>
        </p:spPr>
      </p:pic>
      <p:grpSp>
        <p:nvGrpSpPr>
          <p:cNvPr id="2" name="Group 5"/>
          <p:cNvGrpSpPr>
            <a:grpSpLocks/>
          </p:cNvGrpSpPr>
          <p:nvPr/>
        </p:nvGrpSpPr>
        <p:grpSpPr bwMode="auto">
          <a:xfrm>
            <a:off x="0" y="4629150"/>
            <a:ext cx="9144000" cy="168275"/>
            <a:chOff x="0" y="4629150"/>
            <a:chExt cx="9144000" cy="168275"/>
          </a:xfrm>
        </p:grpSpPr>
        <p:pic>
          <p:nvPicPr>
            <p:cNvPr id="5128" name="Picture 25" descr="Red Bar"/>
            <p:cNvPicPr>
              <a:picLocks noChangeAspect="1" noChangeArrowheads="1"/>
            </p:cNvPicPr>
            <p:nvPr/>
          </p:nvPicPr>
          <p:blipFill>
            <a:blip r:embed="rId20" cstate="print"/>
            <a:srcRect/>
            <a:stretch>
              <a:fillRect/>
            </a:stretch>
          </p:blipFill>
          <p:spPr bwMode="auto">
            <a:xfrm>
              <a:off x="0" y="4629150"/>
              <a:ext cx="9144000" cy="168275"/>
            </a:xfrm>
            <a:prstGeom prst="rect">
              <a:avLst/>
            </a:prstGeom>
            <a:noFill/>
            <a:ln w="9525">
              <a:noFill/>
              <a:miter lim="800000"/>
              <a:headEnd/>
              <a:tailEnd/>
            </a:ln>
          </p:spPr>
        </p:pic>
        <p:pic>
          <p:nvPicPr>
            <p:cNvPr id="5129" name="Picture 3" descr="O_redbox_clr_rgb.jpg"/>
            <p:cNvPicPr>
              <a:picLocks noChangeAspect="1"/>
            </p:cNvPicPr>
            <p:nvPr/>
          </p:nvPicPr>
          <p:blipFill>
            <a:blip r:embed="rId21" cstate="print"/>
            <a:srcRect/>
            <a:stretch>
              <a:fillRect/>
            </a:stretch>
          </p:blipFill>
          <p:spPr bwMode="auto">
            <a:xfrm>
              <a:off x="7989654" y="4651456"/>
              <a:ext cx="755707" cy="118628"/>
            </a:xfrm>
            <a:prstGeom prst="rect">
              <a:avLst/>
            </a:prstGeom>
            <a:noFill/>
            <a:ln w="9525">
              <a:noFill/>
              <a:miter lim="800000"/>
              <a:headEnd/>
              <a:tailEnd/>
            </a:ln>
          </p:spPr>
        </p:pic>
      </p:grpSp>
      <p:sp>
        <p:nvSpPr>
          <p:cNvPr id="9" name="Text Box 14"/>
          <p:cNvSpPr txBox="1">
            <a:spLocks noChangeArrowheads="1"/>
          </p:cNvSpPr>
          <p:nvPr userDrawn="1"/>
        </p:nvSpPr>
        <p:spPr bwMode="auto">
          <a:xfrm>
            <a:off x="8277225" y="4943475"/>
            <a:ext cx="685800" cy="117475"/>
          </a:xfrm>
          <a:prstGeom prst="rect">
            <a:avLst/>
          </a:prstGeom>
          <a:noFill/>
          <a:ln w="9525">
            <a:noFill/>
            <a:miter lim="800000"/>
            <a:headEnd/>
            <a:tailEnd/>
          </a:ln>
          <a:effectLst/>
        </p:spPr>
        <p:txBody>
          <a:bodyPr lIns="34199" tIns="17088" rIns="34199" bIns="17088"/>
          <a:lstStyle/>
          <a:p>
            <a:pPr algn="r" fontAlgn="base">
              <a:lnSpc>
                <a:spcPct val="90000"/>
              </a:lnSpc>
              <a:spcBef>
                <a:spcPct val="50000"/>
              </a:spcBef>
              <a:spcAft>
                <a:spcPct val="0"/>
              </a:spcAft>
              <a:buClr>
                <a:srgbClr val="667263"/>
              </a:buClr>
              <a:defRPr/>
            </a:pPr>
            <a:fld id="{4ED480E9-2410-4EDB-86D1-B98DA198F0B6}" type="slidenum">
              <a:rPr lang="en-US" sz="900" b="1">
                <a:solidFill>
                  <a:srgbClr val="B8B8B8"/>
                </a:solidFill>
                <a:latin typeface="Arial" charset="0"/>
                <a:ea typeface="ＭＳ Ｐゴシック" pitchFamily="1" charset="-128"/>
                <a:cs typeface="Arial" pitchFamily="34" charset="0"/>
              </a:rPr>
              <a:pPr algn="r" fontAlgn="base">
                <a:lnSpc>
                  <a:spcPct val="90000"/>
                </a:lnSpc>
                <a:spcBef>
                  <a:spcPct val="50000"/>
                </a:spcBef>
                <a:spcAft>
                  <a:spcPct val="0"/>
                </a:spcAft>
                <a:buClr>
                  <a:srgbClr val="667263"/>
                </a:buClr>
                <a:defRPr/>
              </a:pPr>
              <a:t>‹#›</a:t>
            </a:fld>
            <a:endParaRPr lang="en-US" sz="900" b="1" dirty="0">
              <a:solidFill>
                <a:srgbClr val="B8B8B8"/>
              </a:solidFill>
              <a:latin typeface="Arial" charset="0"/>
              <a:ea typeface="ＭＳ Ｐゴシック" pitchFamily="1" charset="-128"/>
              <a:cs typeface="Arial" pitchFamily="34" charset="0"/>
            </a:endParaRPr>
          </a:p>
        </p:txBody>
      </p:sp>
      <p:sp>
        <p:nvSpPr>
          <p:cNvPr id="10" name="Text Box 14"/>
          <p:cNvSpPr txBox="1">
            <a:spLocks noChangeArrowheads="1"/>
          </p:cNvSpPr>
          <p:nvPr userDrawn="1"/>
        </p:nvSpPr>
        <p:spPr bwMode="auto">
          <a:xfrm>
            <a:off x="858838" y="4875213"/>
            <a:ext cx="3141662" cy="219075"/>
          </a:xfrm>
          <a:prstGeom prst="rect">
            <a:avLst/>
          </a:prstGeom>
          <a:noFill/>
          <a:ln>
            <a:noFill/>
          </a:ln>
          <a:extLst/>
        </p:spPr>
        <p:txBody>
          <a:bodyPr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spTree>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Lst>
  <p:transition>
    <p:wipe dir="r"/>
  </p:transition>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5pPr>
      <a:lvl6pPr marL="283228" algn="l" rtl="0" eaLnBrk="1" fontAlgn="base" hangingPunct="1">
        <a:spcBef>
          <a:spcPct val="0"/>
        </a:spcBef>
        <a:spcAft>
          <a:spcPct val="0"/>
        </a:spcAft>
        <a:defRPr sz="2200" b="1">
          <a:solidFill>
            <a:schemeClr val="tx1"/>
          </a:solidFill>
          <a:latin typeface="Arial" charset="0"/>
          <a:cs typeface="Arial" charset="0"/>
        </a:defRPr>
      </a:lvl6pPr>
      <a:lvl7pPr marL="566464" algn="l" rtl="0" eaLnBrk="1" fontAlgn="base" hangingPunct="1">
        <a:spcBef>
          <a:spcPct val="0"/>
        </a:spcBef>
        <a:spcAft>
          <a:spcPct val="0"/>
        </a:spcAft>
        <a:defRPr sz="2200" b="1">
          <a:solidFill>
            <a:schemeClr val="tx1"/>
          </a:solidFill>
          <a:latin typeface="Arial" charset="0"/>
          <a:cs typeface="Arial" charset="0"/>
        </a:defRPr>
      </a:lvl7pPr>
      <a:lvl8pPr marL="849694" algn="l" rtl="0" eaLnBrk="1" fontAlgn="base" hangingPunct="1">
        <a:spcBef>
          <a:spcPct val="0"/>
        </a:spcBef>
        <a:spcAft>
          <a:spcPct val="0"/>
        </a:spcAft>
        <a:defRPr sz="2200" b="1">
          <a:solidFill>
            <a:schemeClr val="tx1"/>
          </a:solidFill>
          <a:latin typeface="Arial" charset="0"/>
          <a:cs typeface="Arial" charset="0"/>
        </a:defRPr>
      </a:lvl8pPr>
      <a:lvl9pPr marL="1132923" algn="l" rtl="0" eaLnBrk="1" fontAlgn="base" hangingPunct="1">
        <a:spcBef>
          <a:spcPct val="0"/>
        </a:spcBef>
        <a:spcAft>
          <a:spcPct val="0"/>
        </a:spcAft>
        <a:defRPr sz="2200" b="1">
          <a:solidFill>
            <a:schemeClr val="tx1"/>
          </a:solidFill>
          <a:latin typeface="Arial" charset="0"/>
          <a:cs typeface="Arial" charset="0"/>
        </a:defRPr>
      </a:lvl9pPr>
    </p:titleStyle>
    <p:bodyStyle>
      <a:lvl1pPr marL="207963" indent="-207963"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06413" indent="-222250"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04850" indent="-138113" algn="l" rtl="0" eaLnBrk="0" fontAlgn="base" hangingPunct="0">
        <a:spcBef>
          <a:spcPts val="200"/>
        </a:spcBef>
        <a:spcAft>
          <a:spcPts val="200"/>
        </a:spcAft>
        <a:buClr>
          <a:schemeClr val="tx2"/>
        </a:buClr>
        <a:buFont typeface="Arial" pitchFamily="34" charset="0"/>
        <a:buChar char="•"/>
        <a:defRPr kern="1200">
          <a:solidFill>
            <a:schemeClr val="tx1"/>
          </a:solidFill>
          <a:latin typeface="Arial" pitchFamily="34" charset="0"/>
          <a:ea typeface="ＭＳ Ｐゴシック" pitchFamily="127" charset="-128"/>
          <a:cs typeface="ＭＳ Ｐゴシック" pitchFamily="127" charset="-128"/>
        </a:defRPr>
      </a:lvl3pPr>
      <a:lvl4pPr marL="1074738" indent="-223838" algn="l" rtl="0" eaLnBrk="0" fontAlgn="base" hangingPunct="0">
        <a:spcBef>
          <a:spcPts val="200"/>
        </a:spcBef>
        <a:spcAft>
          <a:spcPts val="200"/>
        </a:spcAft>
        <a:buFont typeface="Arial" pitchFamily="34" charset="0"/>
        <a:buChar char="–"/>
        <a:defRPr kern="1200">
          <a:solidFill>
            <a:schemeClr val="tx1"/>
          </a:solidFill>
          <a:latin typeface="Arial" pitchFamily="34" charset="0"/>
          <a:ea typeface="ＭＳ Ｐゴシック" pitchFamily="127" charset="-128"/>
          <a:cs typeface="ＭＳ Ｐゴシック" pitchFamily="127" charset="-128"/>
        </a:defRPr>
      </a:lvl4pPr>
      <a:lvl5pPr marL="1362075" indent="-227013" algn="l" rtl="0" eaLnBrk="0" fontAlgn="base" hangingPunct="0">
        <a:spcBef>
          <a:spcPts val="200"/>
        </a:spcBef>
        <a:spcAft>
          <a:spcPts val="200"/>
        </a:spcAft>
        <a:buClr>
          <a:schemeClr val="tx2"/>
        </a:buClr>
        <a:buFont typeface="Arial" pitchFamily="34" charset="0"/>
        <a:buChar char="•"/>
        <a:defRPr kern="1200">
          <a:solidFill>
            <a:schemeClr val="tx1"/>
          </a:solidFill>
          <a:latin typeface="Arial" pitchFamily="34" charset="0"/>
          <a:ea typeface="ＭＳ Ｐゴシック" pitchFamily="127" charset="-128"/>
          <a:cs typeface="ＭＳ Ｐゴシック" pitchFamily="127" charset="-128"/>
        </a:defRPr>
      </a:lvl5pPr>
      <a:lvl6pPr marL="1557767"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41001"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24233"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07462"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66464" rtl="0" eaLnBrk="1" latinLnBrk="0" hangingPunct="1">
        <a:defRPr sz="1100" kern="1200">
          <a:solidFill>
            <a:schemeClr val="tx1"/>
          </a:solidFill>
          <a:latin typeface="+mn-lt"/>
          <a:ea typeface="+mn-ea"/>
          <a:cs typeface="+mn-cs"/>
        </a:defRPr>
      </a:lvl1pPr>
      <a:lvl2pPr marL="283228" algn="l" defTabSz="566464" rtl="0" eaLnBrk="1" latinLnBrk="0" hangingPunct="1">
        <a:defRPr sz="1100" kern="1200">
          <a:solidFill>
            <a:schemeClr val="tx1"/>
          </a:solidFill>
          <a:latin typeface="+mn-lt"/>
          <a:ea typeface="+mn-ea"/>
          <a:cs typeface="+mn-cs"/>
        </a:defRPr>
      </a:lvl2pPr>
      <a:lvl3pPr marL="566464" algn="l" defTabSz="566464" rtl="0" eaLnBrk="1" latinLnBrk="0" hangingPunct="1">
        <a:defRPr sz="1100" kern="1200">
          <a:solidFill>
            <a:schemeClr val="tx1"/>
          </a:solidFill>
          <a:latin typeface="+mn-lt"/>
          <a:ea typeface="+mn-ea"/>
          <a:cs typeface="+mn-cs"/>
        </a:defRPr>
      </a:lvl3pPr>
      <a:lvl4pPr marL="849694" algn="l" defTabSz="566464" rtl="0" eaLnBrk="1" latinLnBrk="0" hangingPunct="1">
        <a:defRPr sz="1100" kern="1200">
          <a:solidFill>
            <a:schemeClr val="tx1"/>
          </a:solidFill>
          <a:latin typeface="+mn-lt"/>
          <a:ea typeface="+mn-ea"/>
          <a:cs typeface="+mn-cs"/>
        </a:defRPr>
      </a:lvl4pPr>
      <a:lvl5pPr marL="1132923" algn="l" defTabSz="566464" rtl="0" eaLnBrk="1" latinLnBrk="0" hangingPunct="1">
        <a:defRPr sz="1100" kern="1200">
          <a:solidFill>
            <a:schemeClr val="tx1"/>
          </a:solidFill>
          <a:latin typeface="+mn-lt"/>
          <a:ea typeface="+mn-ea"/>
          <a:cs typeface="+mn-cs"/>
        </a:defRPr>
      </a:lvl5pPr>
      <a:lvl6pPr marL="1416155" algn="l" defTabSz="566464" rtl="0" eaLnBrk="1" latinLnBrk="0" hangingPunct="1">
        <a:defRPr sz="1100" kern="1200">
          <a:solidFill>
            <a:schemeClr val="tx1"/>
          </a:solidFill>
          <a:latin typeface="+mn-lt"/>
          <a:ea typeface="+mn-ea"/>
          <a:cs typeface="+mn-cs"/>
        </a:defRPr>
      </a:lvl6pPr>
      <a:lvl7pPr marL="1699385" algn="l" defTabSz="566464" rtl="0" eaLnBrk="1" latinLnBrk="0" hangingPunct="1">
        <a:defRPr sz="1100" kern="1200">
          <a:solidFill>
            <a:schemeClr val="tx1"/>
          </a:solidFill>
          <a:latin typeface="+mn-lt"/>
          <a:ea typeface="+mn-ea"/>
          <a:cs typeface="+mn-cs"/>
        </a:defRPr>
      </a:lvl7pPr>
      <a:lvl8pPr marL="1982616" algn="l" defTabSz="566464" rtl="0" eaLnBrk="1" latinLnBrk="0" hangingPunct="1">
        <a:defRPr sz="1100" kern="1200">
          <a:solidFill>
            <a:schemeClr val="tx1"/>
          </a:solidFill>
          <a:latin typeface="+mn-lt"/>
          <a:ea typeface="+mn-ea"/>
          <a:cs typeface="+mn-cs"/>
        </a:defRPr>
      </a:lvl8pPr>
      <a:lvl9pPr marL="2265848" algn="l" defTabSz="566464" rtl="0" eaLnBrk="1" latinLnBrk="0" hangingPunct="1">
        <a:defRPr sz="1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804863" y="246063"/>
            <a:ext cx="8229600" cy="406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804863" y="1524000"/>
            <a:ext cx="8229600" cy="2928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3076" name="Picture 20" descr="Oracle WHITE"/>
          <p:cNvPicPr>
            <a:picLocks noChangeArrowheads="1"/>
          </p:cNvPicPr>
          <p:nvPr/>
        </p:nvPicPr>
        <p:blipFill>
          <a:blip r:embed="rId21" cstate="print"/>
          <a:srcRect/>
          <a:stretch>
            <a:fillRect/>
          </a:stretch>
        </p:blipFill>
        <p:spPr bwMode="auto">
          <a:xfrm>
            <a:off x="8015288" y="4668838"/>
            <a:ext cx="704850" cy="88900"/>
          </a:xfrm>
          <a:prstGeom prst="rect">
            <a:avLst/>
          </a:prstGeom>
          <a:noFill/>
          <a:ln w="9525">
            <a:noFill/>
            <a:miter lim="800000"/>
            <a:headEnd/>
            <a:tailEnd/>
          </a:ln>
        </p:spPr>
      </p:pic>
      <p:grpSp>
        <p:nvGrpSpPr>
          <p:cNvPr id="2" name="Group 4"/>
          <p:cNvGrpSpPr>
            <a:grpSpLocks/>
          </p:cNvGrpSpPr>
          <p:nvPr/>
        </p:nvGrpSpPr>
        <p:grpSpPr bwMode="auto">
          <a:xfrm>
            <a:off x="0" y="4629150"/>
            <a:ext cx="9144000" cy="168275"/>
            <a:chOff x="0" y="4629150"/>
            <a:chExt cx="9144000" cy="168275"/>
          </a:xfrm>
        </p:grpSpPr>
        <p:pic>
          <p:nvPicPr>
            <p:cNvPr id="3082" name="Picture 25" descr="Red Bar"/>
            <p:cNvPicPr>
              <a:picLocks noChangeAspect="1" noChangeArrowheads="1"/>
            </p:cNvPicPr>
            <p:nvPr/>
          </p:nvPicPr>
          <p:blipFill>
            <a:blip r:embed="rId2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3083" name="Picture 20" descr="Oracle WHITE"/>
            <p:cNvPicPr>
              <a:picLocks noChangeArrowheads="1"/>
            </p:cNvPicPr>
            <p:nvPr userDrawn="1"/>
          </p:nvPicPr>
          <p:blipFill>
            <a:blip r:embed="rId21"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3" name="Group 13"/>
          <p:cNvGrpSpPr>
            <a:grpSpLocks/>
          </p:cNvGrpSpPr>
          <p:nvPr/>
        </p:nvGrpSpPr>
        <p:grpSpPr bwMode="auto">
          <a:xfrm>
            <a:off x="598488" y="4913313"/>
            <a:ext cx="2538412" cy="219075"/>
            <a:chOff x="597807" y="4913973"/>
            <a:chExt cx="2539093" cy="218542"/>
          </a:xfrm>
        </p:grpSpPr>
        <p:sp>
          <p:nvSpPr>
            <p:cNvPr id="15" name="Text Box 14"/>
            <p:cNvSpPr txBox="1">
              <a:spLocks noChangeArrowheads="1"/>
            </p:cNvSpPr>
            <p:nvPr userDrawn="1"/>
          </p:nvSpPr>
          <p:spPr bwMode="auto">
            <a:xfrm>
              <a:off x="631153" y="4913973"/>
              <a:ext cx="2505747" cy="218542"/>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4, Oracle and/or its affiliates. All rights reserved.</a:t>
              </a:r>
            </a:p>
          </p:txBody>
        </p:sp>
        <p:cxnSp>
          <p:nvCxnSpPr>
            <p:cNvPr id="16" name="Straight Connector 15"/>
            <p:cNvCxnSpPr/>
            <p:nvPr userDrawn="1"/>
          </p:nvCxnSpPr>
          <p:spPr>
            <a:xfrm flipH="1">
              <a:off x="597807" y="4936144"/>
              <a:ext cx="1587" cy="96601"/>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5600" y="4883150"/>
            <a:ext cx="279400" cy="185738"/>
          </a:xfrm>
          <a:prstGeom prst="rect">
            <a:avLst/>
          </a:prstGeom>
        </p:spPr>
        <p:txBody>
          <a:bodyPr wrap="none">
            <a:spAutoFit/>
          </a:bodyPr>
          <a:lstStyle/>
          <a:p>
            <a:pPr algn="r">
              <a:defRPr/>
            </a:pPr>
            <a:fld id="{BDC7A460-1548-45D3-BF8D-6F2BB3539148}" type="slidenum">
              <a:rPr lang="en-US" sz="600">
                <a:solidFill>
                  <a:srgbClr val="000000"/>
                </a:solidFill>
                <a:cs typeface="Arial" pitchFamily="34" charset="0"/>
              </a:rPr>
              <a:pPr algn="r">
                <a:defRPr/>
              </a:pPr>
              <a:t>‹#›</a:t>
            </a:fld>
            <a:endParaRPr lang="en-US" sz="600" dirty="0">
              <a:solidFill>
                <a:srgbClr val="000000"/>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148" r:id="rId19"/>
  </p:sldLayoutIdLst>
  <p:transition spd="med">
    <p:fade/>
  </p:transition>
  <p:timing>
    <p:tnLst>
      <p:par>
        <p:cTn id="1" dur="indefinite" restart="never" nodeType="tmRoot"/>
      </p:par>
    </p:tnLst>
  </p:timing>
  <p:hf hdr="0" ftr="0" dt="0"/>
  <p:txStyles>
    <p:titleStyle>
      <a:lvl1pPr algn="l" rtl="0" fontAlgn="base">
        <a:lnSpc>
          <a:spcPct val="90000"/>
        </a:lnSpc>
        <a:spcBef>
          <a:spcPct val="0"/>
        </a:spcBef>
        <a:spcAft>
          <a:spcPct val="0"/>
        </a:spcAft>
        <a:defRPr sz="2800" b="1" kern="1200">
          <a:solidFill>
            <a:schemeClr val="tx1"/>
          </a:solidFill>
          <a:latin typeface="Arial" pitchFamily="34" charset="0"/>
          <a:ea typeface="+mj-ea"/>
          <a:cs typeface="Arial" pitchFamily="34" charset="0"/>
        </a:defRPr>
      </a:lvl1pPr>
      <a:lvl2pPr algn="l" rtl="0" fontAlgn="base">
        <a:lnSpc>
          <a:spcPct val="90000"/>
        </a:lnSpc>
        <a:spcBef>
          <a:spcPct val="0"/>
        </a:spcBef>
        <a:spcAft>
          <a:spcPct val="0"/>
        </a:spcAft>
        <a:defRPr sz="2800" b="1">
          <a:solidFill>
            <a:schemeClr val="tx1"/>
          </a:solidFill>
          <a:latin typeface="Arial" pitchFamily="34" charset="0"/>
          <a:cs typeface="Arial" pitchFamily="34" charset="0"/>
        </a:defRPr>
      </a:lvl2pPr>
      <a:lvl3pPr algn="l" rtl="0" fontAlgn="base">
        <a:lnSpc>
          <a:spcPct val="90000"/>
        </a:lnSpc>
        <a:spcBef>
          <a:spcPct val="0"/>
        </a:spcBef>
        <a:spcAft>
          <a:spcPct val="0"/>
        </a:spcAft>
        <a:defRPr sz="2800" b="1">
          <a:solidFill>
            <a:schemeClr val="tx1"/>
          </a:solidFill>
          <a:latin typeface="Arial" pitchFamily="34" charset="0"/>
          <a:cs typeface="Arial" pitchFamily="34" charset="0"/>
        </a:defRPr>
      </a:lvl3pPr>
      <a:lvl4pPr algn="l" rtl="0" fontAlgn="base">
        <a:lnSpc>
          <a:spcPct val="90000"/>
        </a:lnSpc>
        <a:spcBef>
          <a:spcPct val="0"/>
        </a:spcBef>
        <a:spcAft>
          <a:spcPct val="0"/>
        </a:spcAft>
        <a:defRPr sz="2800" b="1">
          <a:solidFill>
            <a:schemeClr val="tx1"/>
          </a:solidFill>
          <a:latin typeface="Arial" pitchFamily="34" charset="0"/>
          <a:cs typeface="Arial" pitchFamily="34" charset="0"/>
        </a:defRPr>
      </a:lvl4pPr>
      <a:lvl5pPr algn="l" rtl="0" fontAlgn="base">
        <a:lnSpc>
          <a:spcPct val="90000"/>
        </a:lnSpc>
        <a:spcBef>
          <a:spcPct val="0"/>
        </a:spcBef>
        <a:spcAft>
          <a:spcPct val="0"/>
        </a:spcAft>
        <a:defRPr sz="2800" b="1">
          <a:solidFill>
            <a:schemeClr val="tx1"/>
          </a:solidFill>
          <a:latin typeface="Arial" pitchFamily="34" charset="0"/>
          <a:cs typeface="Arial" pitchFamily="34" charset="0"/>
        </a:defRPr>
      </a:lvl5pPr>
      <a:lvl6pPr marL="457200" algn="l" rtl="0" fontAlgn="base">
        <a:lnSpc>
          <a:spcPct val="90000"/>
        </a:lnSpc>
        <a:spcBef>
          <a:spcPct val="0"/>
        </a:spcBef>
        <a:spcAft>
          <a:spcPct val="0"/>
        </a:spcAft>
        <a:defRPr sz="2800" b="1">
          <a:solidFill>
            <a:schemeClr val="tx1"/>
          </a:solidFill>
          <a:latin typeface="Arial" pitchFamily="34" charset="0"/>
          <a:cs typeface="Arial" pitchFamily="34" charset="0"/>
        </a:defRPr>
      </a:lvl6pPr>
      <a:lvl7pPr marL="914400" algn="l" rtl="0" fontAlgn="base">
        <a:lnSpc>
          <a:spcPct val="90000"/>
        </a:lnSpc>
        <a:spcBef>
          <a:spcPct val="0"/>
        </a:spcBef>
        <a:spcAft>
          <a:spcPct val="0"/>
        </a:spcAft>
        <a:defRPr sz="2800" b="1">
          <a:solidFill>
            <a:schemeClr val="tx1"/>
          </a:solidFill>
          <a:latin typeface="Arial" pitchFamily="34" charset="0"/>
          <a:cs typeface="Arial" pitchFamily="34" charset="0"/>
        </a:defRPr>
      </a:lvl7pPr>
      <a:lvl8pPr marL="1371600" algn="l" rtl="0" fontAlgn="base">
        <a:lnSpc>
          <a:spcPct val="90000"/>
        </a:lnSpc>
        <a:spcBef>
          <a:spcPct val="0"/>
        </a:spcBef>
        <a:spcAft>
          <a:spcPct val="0"/>
        </a:spcAft>
        <a:defRPr sz="2800" b="1">
          <a:solidFill>
            <a:schemeClr val="tx1"/>
          </a:solidFill>
          <a:latin typeface="Arial" pitchFamily="34" charset="0"/>
          <a:cs typeface="Arial" pitchFamily="34" charset="0"/>
        </a:defRPr>
      </a:lvl8pPr>
      <a:lvl9pPr marL="1828800" algn="l" rtl="0" fontAlgn="base">
        <a:lnSpc>
          <a:spcPct val="90000"/>
        </a:lnSpc>
        <a:spcBef>
          <a:spcPct val="0"/>
        </a:spcBef>
        <a:spcAft>
          <a:spcPct val="0"/>
        </a:spcAft>
        <a:defRPr sz="2800" b="1">
          <a:solidFill>
            <a:schemeClr val="tx1"/>
          </a:solidFill>
          <a:latin typeface="Arial" pitchFamily="34" charset="0"/>
          <a:cs typeface="Arial" pitchFamily="34" charset="0"/>
        </a:defRPr>
      </a:lvl9pPr>
    </p:titleStyle>
    <p:bodyStyle>
      <a:lvl1pPr marL="228600" indent="-168275" algn="l" defTabSz="228600" rtl="0" fontAlgn="base">
        <a:spcBef>
          <a:spcPct val="0"/>
        </a:spcBef>
        <a:spcAft>
          <a:spcPts val="600"/>
        </a:spcAft>
        <a:buClr>
          <a:srgbClr val="FF0000"/>
        </a:buClr>
        <a:buSzPct val="85000"/>
        <a:buFont typeface="Wingdings" pitchFamily="2" charset="2"/>
        <a:buChar char="§"/>
        <a:defRPr sz="2000" kern="1200">
          <a:solidFill>
            <a:schemeClr val="tx1"/>
          </a:solidFill>
          <a:latin typeface="Arial" pitchFamily="34" charset="0"/>
          <a:ea typeface="+mn-ea"/>
          <a:cs typeface="Arial" pitchFamily="34" charset="0"/>
        </a:defRPr>
      </a:lvl1pPr>
      <a:lvl2pPr marL="6318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2pPr>
      <a:lvl3pPr marL="974725" indent="-174625" algn="l" defTabSz="228600" rtl="0" fontAlgn="base">
        <a:spcBef>
          <a:spcPct val="0"/>
        </a:spcBef>
        <a:spcAft>
          <a:spcPts val="600"/>
        </a:spcAft>
        <a:buClr>
          <a:srgbClr val="FF0000"/>
        </a:buClr>
        <a:buSzPct val="85000"/>
        <a:buFont typeface="Wingdings" pitchFamily="2" charset="2"/>
        <a:buChar char="§"/>
        <a:defRPr kern="1200">
          <a:solidFill>
            <a:schemeClr val="tx1"/>
          </a:solidFill>
          <a:latin typeface="Arial" pitchFamily="34" charset="0"/>
          <a:ea typeface="+mn-ea"/>
          <a:cs typeface="Arial" pitchFamily="34" charset="0"/>
        </a:defRPr>
      </a:lvl3pPr>
      <a:lvl4pPr marL="14319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4pPr>
      <a:lvl5pPr marL="1828800" indent="-168275" algn="l" rtl="0" fontAlgn="base">
        <a:spcBef>
          <a:spcPct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7170" name="Title Placeholder 1"/>
          <p:cNvSpPr>
            <a:spLocks noGrp="1"/>
          </p:cNvSpPr>
          <p:nvPr>
            <p:ph type="title"/>
          </p:nvPr>
        </p:nvSpPr>
        <p:spPr bwMode="auto">
          <a:xfrm>
            <a:off x="804863" y="246063"/>
            <a:ext cx="8229600" cy="406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171" name="Text Placeholder 2"/>
          <p:cNvSpPr>
            <a:spLocks noGrp="1"/>
          </p:cNvSpPr>
          <p:nvPr>
            <p:ph type="body" idx="1"/>
          </p:nvPr>
        </p:nvSpPr>
        <p:spPr bwMode="auto">
          <a:xfrm>
            <a:off x="804863" y="1524000"/>
            <a:ext cx="8229600" cy="2928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7172" name="Picture 20" descr="Oracle WHITE"/>
          <p:cNvPicPr>
            <a:picLocks noChangeArrowheads="1"/>
          </p:cNvPicPr>
          <p:nvPr/>
        </p:nvPicPr>
        <p:blipFill>
          <a:blip r:embed="rId19" cstate="print"/>
          <a:srcRect/>
          <a:stretch>
            <a:fillRect/>
          </a:stretch>
        </p:blipFill>
        <p:spPr bwMode="auto">
          <a:xfrm>
            <a:off x="8015288" y="4668838"/>
            <a:ext cx="704850" cy="88900"/>
          </a:xfrm>
          <a:prstGeom prst="rect">
            <a:avLst/>
          </a:prstGeom>
          <a:noFill/>
          <a:ln w="9525">
            <a:noFill/>
            <a:miter lim="800000"/>
            <a:headEnd/>
            <a:tailEnd/>
          </a:ln>
        </p:spPr>
      </p:pic>
      <p:grpSp>
        <p:nvGrpSpPr>
          <p:cNvPr id="2" name="Group 4"/>
          <p:cNvGrpSpPr>
            <a:grpSpLocks/>
          </p:cNvGrpSpPr>
          <p:nvPr/>
        </p:nvGrpSpPr>
        <p:grpSpPr bwMode="auto">
          <a:xfrm>
            <a:off x="0" y="4629150"/>
            <a:ext cx="9144000" cy="168275"/>
            <a:chOff x="0" y="4629150"/>
            <a:chExt cx="9144000" cy="168275"/>
          </a:xfrm>
        </p:grpSpPr>
        <p:pic>
          <p:nvPicPr>
            <p:cNvPr id="7179" name="Picture 25" descr="Red Bar"/>
            <p:cNvPicPr>
              <a:picLocks noChangeAspect="1" noChangeArrowheads="1"/>
            </p:cNvPicPr>
            <p:nvPr/>
          </p:nvPicPr>
          <p:blipFill>
            <a:blip r:embed="rId20"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180" name="Picture 20" descr="Oracle WHITE"/>
            <p:cNvPicPr>
              <a:picLocks noChangeArrowheads="1"/>
            </p:cNvPicPr>
            <p:nvPr userDrawn="1"/>
          </p:nvPicPr>
          <p:blipFill>
            <a:blip r:embed="rId19"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3" name="Group 13"/>
          <p:cNvGrpSpPr>
            <a:grpSpLocks/>
          </p:cNvGrpSpPr>
          <p:nvPr/>
        </p:nvGrpSpPr>
        <p:grpSpPr bwMode="auto">
          <a:xfrm>
            <a:off x="598488" y="4913313"/>
            <a:ext cx="2538412" cy="219075"/>
            <a:chOff x="597807" y="4913973"/>
            <a:chExt cx="2539093" cy="218542"/>
          </a:xfrm>
        </p:grpSpPr>
        <p:sp>
          <p:nvSpPr>
            <p:cNvPr id="15" name="Text Box 14"/>
            <p:cNvSpPr txBox="1">
              <a:spLocks noChangeArrowheads="1"/>
            </p:cNvSpPr>
            <p:nvPr userDrawn="1"/>
          </p:nvSpPr>
          <p:spPr bwMode="auto">
            <a:xfrm>
              <a:off x="631153" y="4913973"/>
              <a:ext cx="2505747" cy="218542"/>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4, Oracle and/or its affiliates. All rights reserved.</a:t>
              </a:r>
            </a:p>
          </p:txBody>
        </p:sp>
        <p:cxnSp>
          <p:nvCxnSpPr>
            <p:cNvPr id="16" name="Straight Connector 15"/>
            <p:cNvCxnSpPr/>
            <p:nvPr userDrawn="1"/>
          </p:nvCxnSpPr>
          <p:spPr>
            <a:xfrm flipH="1">
              <a:off x="597807" y="4936144"/>
              <a:ext cx="1587" cy="96601"/>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5600" y="4883150"/>
            <a:ext cx="279400" cy="185738"/>
          </a:xfrm>
          <a:prstGeom prst="rect">
            <a:avLst/>
          </a:prstGeom>
        </p:spPr>
        <p:txBody>
          <a:bodyPr wrap="none">
            <a:spAutoFit/>
          </a:bodyPr>
          <a:lstStyle/>
          <a:p>
            <a:pPr algn="r">
              <a:defRPr/>
            </a:pPr>
            <a:fld id="{F2D6668F-07BD-4FE2-89C1-D08EC479ECB2}" type="slidenum">
              <a:rPr lang="en-US" sz="600">
                <a:solidFill>
                  <a:srgbClr val="000000"/>
                </a:solidFill>
                <a:cs typeface="Arial" pitchFamily="34" charset="0"/>
              </a:rPr>
              <a:pPr algn="r">
                <a:defRPr/>
              </a:pPr>
              <a:t>‹#›</a:t>
            </a:fld>
            <a:endParaRPr lang="en-US" sz="600" dirty="0">
              <a:solidFill>
                <a:srgbClr val="000000"/>
              </a:solidFill>
              <a:cs typeface="Arial" pitchFamily="34" charset="0"/>
            </a:endParaRPr>
          </a:p>
        </p:txBody>
      </p:sp>
      <p:sp>
        <p:nvSpPr>
          <p:cNvPr id="21" name="Rectangle 20"/>
          <p:cNvSpPr/>
          <p:nvPr/>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 id="2147484079" r:id="rId12"/>
    <p:sldLayoutId id="2147484080" r:id="rId13"/>
    <p:sldLayoutId id="2147484081" r:id="rId14"/>
    <p:sldLayoutId id="2147484082" r:id="rId15"/>
    <p:sldLayoutId id="2147484083" r:id="rId16"/>
    <p:sldLayoutId id="2147484084" r:id="rId17"/>
  </p:sldLayoutIdLst>
  <p:transition spd="med">
    <p:fade/>
  </p:transition>
  <p:timing>
    <p:tnLst>
      <p:par>
        <p:cTn id="1" dur="indefinite" restart="never" nodeType="tmRoot"/>
      </p:par>
    </p:tnLst>
  </p:timing>
  <p:hf hdr="0" ftr="0" dt="0"/>
  <p:txStyles>
    <p:titleStyle>
      <a:lvl1pPr algn="l" rtl="0" fontAlgn="base">
        <a:lnSpc>
          <a:spcPct val="90000"/>
        </a:lnSpc>
        <a:spcBef>
          <a:spcPct val="0"/>
        </a:spcBef>
        <a:spcAft>
          <a:spcPct val="0"/>
        </a:spcAft>
        <a:defRPr sz="2800" b="1" kern="1200">
          <a:solidFill>
            <a:schemeClr val="tx1"/>
          </a:solidFill>
          <a:latin typeface="Arial" pitchFamily="34" charset="0"/>
          <a:ea typeface="+mj-ea"/>
          <a:cs typeface="Arial" pitchFamily="34" charset="0"/>
        </a:defRPr>
      </a:lvl1pPr>
      <a:lvl2pPr algn="l" rtl="0" fontAlgn="base">
        <a:lnSpc>
          <a:spcPct val="90000"/>
        </a:lnSpc>
        <a:spcBef>
          <a:spcPct val="0"/>
        </a:spcBef>
        <a:spcAft>
          <a:spcPct val="0"/>
        </a:spcAft>
        <a:defRPr sz="2800" b="1">
          <a:solidFill>
            <a:schemeClr val="tx1"/>
          </a:solidFill>
          <a:latin typeface="Arial" pitchFamily="34" charset="0"/>
          <a:cs typeface="Arial" pitchFamily="34" charset="0"/>
        </a:defRPr>
      </a:lvl2pPr>
      <a:lvl3pPr algn="l" rtl="0" fontAlgn="base">
        <a:lnSpc>
          <a:spcPct val="90000"/>
        </a:lnSpc>
        <a:spcBef>
          <a:spcPct val="0"/>
        </a:spcBef>
        <a:spcAft>
          <a:spcPct val="0"/>
        </a:spcAft>
        <a:defRPr sz="2800" b="1">
          <a:solidFill>
            <a:schemeClr val="tx1"/>
          </a:solidFill>
          <a:latin typeface="Arial" pitchFamily="34" charset="0"/>
          <a:cs typeface="Arial" pitchFamily="34" charset="0"/>
        </a:defRPr>
      </a:lvl3pPr>
      <a:lvl4pPr algn="l" rtl="0" fontAlgn="base">
        <a:lnSpc>
          <a:spcPct val="90000"/>
        </a:lnSpc>
        <a:spcBef>
          <a:spcPct val="0"/>
        </a:spcBef>
        <a:spcAft>
          <a:spcPct val="0"/>
        </a:spcAft>
        <a:defRPr sz="2800" b="1">
          <a:solidFill>
            <a:schemeClr val="tx1"/>
          </a:solidFill>
          <a:latin typeface="Arial" pitchFamily="34" charset="0"/>
          <a:cs typeface="Arial" pitchFamily="34" charset="0"/>
        </a:defRPr>
      </a:lvl4pPr>
      <a:lvl5pPr algn="l" rtl="0" fontAlgn="base">
        <a:lnSpc>
          <a:spcPct val="90000"/>
        </a:lnSpc>
        <a:spcBef>
          <a:spcPct val="0"/>
        </a:spcBef>
        <a:spcAft>
          <a:spcPct val="0"/>
        </a:spcAft>
        <a:defRPr sz="2800" b="1">
          <a:solidFill>
            <a:schemeClr val="tx1"/>
          </a:solidFill>
          <a:latin typeface="Arial" pitchFamily="34" charset="0"/>
          <a:cs typeface="Arial" pitchFamily="34" charset="0"/>
        </a:defRPr>
      </a:lvl5pPr>
      <a:lvl6pPr marL="457200" algn="l" rtl="0" fontAlgn="base">
        <a:lnSpc>
          <a:spcPct val="90000"/>
        </a:lnSpc>
        <a:spcBef>
          <a:spcPct val="0"/>
        </a:spcBef>
        <a:spcAft>
          <a:spcPct val="0"/>
        </a:spcAft>
        <a:defRPr sz="2800" b="1">
          <a:solidFill>
            <a:schemeClr val="tx1"/>
          </a:solidFill>
          <a:latin typeface="Arial" pitchFamily="34" charset="0"/>
          <a:cs typeface="Arial" pitchFamily="34" charset="0"/>
        </a:defRPr>
      </a:lvl6pPr>
      <a:lvl7pPr marL="914400" algn="l" rtl="0" fontAlgn="base">
        <a:lnSpc>
          <a:spcPct val="90000"/>
        </a:lnSpc>
        <a:spcBef>
          <a:spcPct val="0"/>
        </a:spcBef>
        <a:spcAft>
          <a:spcPct val="0"/>
        </a:spcAft>
        <a:defRPr sz="2800" b="1">
          <a:solidFill>
            <a:schemeClr val="tx1"/>
          </a:solidFill>
          <a:latin typeface="Arial" pitchFamily="34" charset="0"/>
          <a:cs typeface="Arial" pitchFamily="34" charset="0"/>
        </a:defRPr>
      </a:lvl7pPr>
      <a:lvl8pPr marL="1371600" algn="l" rtl="0" fontAlgn="base">
        <a:lnSpc>
          <a:spcPct val="90000"/>
        </a:lnSpc>
        <a:spcBef>
          <a:spcPct val="0"/>
        </a:spcBef>
        <a:spcAft>
          <a:spcPct val="0"/>
        </a:spcAft>
        <a:defRPr sz="2800" b="1">
          <a:solidFill>
            <a:schemeClr val="tx1"/>
          </a:solidFill>
          <a:latin typeface="Arial" pitchFamily="34" charset="0"/>
          <a:cs typeface="Arial" pitchFamily="34" charset="0"/>
        </a:defRPr>
      </a:lvl8pPr>
      <a:lvl9pPr marL="1828800" algn="l" rtl="0" fontAlgn="base">
        <a:lnSpc>
          <a:spcPct val="90000"/>
        </a:lnSpc>
        <a:spcBef>
          <a:spcPct val="0"/>
        </a:spcBef>
        <a:spcAft>
          <a:spcPct val="0"/>
        </a:spcAft>
        <a:defRPr sz="2800" b="1">
          <a:solidFill>
            <a:schemeClr val="tx1"/>
          </a:solidFill>
          <a:latin typeface="Arial" pitchFamily="34" charset="0"/>
          <a:cs typeface="Arial" pitchFamily="34" charset="0"/>
        </a:defRPr>
      </a:lvl9pPr>
    </p:titleStyle>
    <p:bodyStyle>
      <a:lvl1pPr marL="228600" indent="-168275" algn="l" defTabSz="228600" rtl="0" fontAlgn="base">
        <a:spcBef>
          <a:spcPct val="0"/>
        </a:spcBef>
        <a:spcAft>
          <a:spcPts val="600"/>
        </a:spcAft>
        <a:buClr>
          <a:srgbClr val="FF0000"/>
        </a:buClr>
        <a:buSzPct val="85000"/>
        <a:buFont typeface="Wingdings" pitchFamily="2" charset="2"/>
        <a:buChar char="§"/>
        <a:defRPr sz="2000" kern="1200">
          <a:solidFill>
            <a:schemeClr val="tx1"/>
          </a:solidFill>
          <a:latin typeface="Arial" pitchFamily="34" charset="0"/>
          <a:ea typeface="+mn-ea"/>
          <a:cs typeface="Arial" pitchFamily="34" charset="0"/>
        </a:defRPr>
      </a:lvl1pPr>
      <a:lvl2pPr marL="6318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2pPr>
      <a:lvl3pPr marL="974725" indent="-174625" algn="l" defTabSz="228600" rtl="0" fontAlgn="base">
        <a:spcBef>
          <a:spcPct val="0"/>
        </a:spcBef>
        <a:spcAft>
          <a:spcPts val="600"/>
        </a:spcAft>
        <a:buClr>
          <a:srgbClr val="FF0000"/>
        </a:buClr>
        <a:buSzPct val="85000"/>
        <a:buFont typeface="Wingdings" pitchFamily="2" charset="2"/>
        <a:buChar char="§"/>
        <a:defRPr kern="1200">
          <a:solidFill>
            <a:schemeClr val="tx1"/>
          </a:solidFill>
          <a:latin typeface="Arial" pitchFamily="34" charset="0"/>
          <a:ea typeface="+mn-ea"/>
          <a:cs typeface="Arial" pitchFamily="34" charset="0"/>
        </a:defRPr>
      </a:lvl3pPr>
      <a:lvl4pPr marL="14319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4pPr>
      <a:lvl5pPr marL="1828800" indent="-168275" algn="l" rtl="0" fontAlgn="base">
        <a:spcBef>
          <a:spcPct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21" cstate="print"/>
          <a:srcRect/>
          <a:stretch>
            <a:fillRect/>
          </a:stretch>
        </p:blipFill>
        <p:spPr bwMode="auto">
          <a:xfrm>
            <a:off x="8015479" y="4668926"/>
            <a:ext cx="704056" cy="88722"/>
          </a:xfrm>
          <a:prstGeom prst="rect">
            <a:avLst/>
          </a:prstGeom>
          <a:noFill/>
          <a:ln w="9525">
            <a:noFill/>
            <a:miter lim="800000"/>
            <a:headEnd/>
            <a:tailEnd/>
          </a:ln>
        </p:spPr>
      </p:pic>
      <p:grpSp>
        <p:nvGrpSpPr>
          <p:cNvPr id="4" name="Group 4"/>
          <p:cNvGrpSpPr/>
          <p:nvPr/>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21"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5" name="Group 13"/>
          <p:cNvGrpSpPr/>
          <p:nvPr/>
        </p:nvGrpSpPr>
        <p:grpSpPr>
          <a:xfrm>
            <a:off x="597807" y="4913973"/>
            <a:ext cx="2539093" cy="218542"/>
            <a:chOff x="597807" y="4913973"/>
            <a:chExt cx="2539093" cy="218542"/>
          </a:xfrm>
        </p:grpSpPr>
        <p:sp>
          <p:nvSpPr>
            <p:cNvPr id="15" name="Text Box 14"/>
            <p:cNvSpPr txBox="1">
              <a:spLocks noChangeArrowheads="1"/>
            </p:cNvSpPr>
            <p:nvPr userDrawn="1"/>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3, Oracle and/or its affiliates. All rights reserved.</a:t>
              </a:r>
            </a:p>
          </p:txBody>
        </p:sp>
        <p:cxnSp>
          <p:nvCxnSpPr>
            <p:cNvPr id="16" name="Straight Connector 15"/>
            <p:cNvCxnSpPr/>
            <p:nvPr userDrawn="1"/>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rgbClr val="000000"/>
                </a:solidFill>
                <a:ea typeface="ＭＳ Ｐゴシック" pitchFamily="34" charset="-128"/>
                <a:cs typeface="Arial" pitchFamily="34" charset="0"/>
              </a:rPr>
              <a:pPr algn="r"/>
              <a:t>‹#›</a:t>
            </a:fld>
            <a:endParaRPr lang="en-US" sz="600" dirty="0">
              <a:solidFill>
                <a:srgbClr val="000000"/>
              </a:solidFill>
              <a:ea typeface="ＭＳ Ｐゴシック" pitchFamily="34" charset="-128"/>
              <a:cs typeface="Arial" pitchFamily="34" charset="0"/>
            </a:endParaRPr>
          </a:p>
        </p:txBody>
      </p:sp>
    </p:spTree>
    <p:extLst>
      <p:ext uri="{BB962C8B-B14F-4D97-AF65-F5344CB8AC3E}">
        <p14:creationId xmlns:p14="http://schemas.microsoft.com/office/powerpoint/2010/main" val="1307030965"/>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804863" y="246063"/>
            <a:ext cx="8229600" cy="406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4099" name="Text Placeholder 2"/>
          <p:cNvSpPr>
            <a:spLocks noGrp="1"/>
          </p:cNvSpPr>
          <p:nvPr>
            <p:ph type="body" idx="1"/>
          </p:nvPr>
        </p:nvSpPr>
        <p:spPr bwMode="auto">
          <a:xfrm>
            <a:off x="804863" y="1524000"/>
            <a:ext cx="8229600" cy="2928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4100" name="Picture 20" descr="Oracle WHITE"/>
          <p:cNvPicPr>
            <a:picLocks noChangeArrowheads="1"/>
          </p:cNvPicPr>
          <p:nvPr/>
        </p:nvPicPr>
        <p:blipFill>
          <a:blip r:embed="rId20" cstate="print"/>
          <a:srcRect/>
          <a:stretch>
            <a:fillRect/>
          </a:stretch>
        </p:blipFill>
        <p:spPr bwMode="auto">
          <a:xfrm>
            <a:off x="8015288" y="4668838"/>
            <a:ext cx="704850" cy="88900"/>
          </a:xfrm>
          <a:prstGeom prst="rect">
            <a:avLst/>
          </a:prstGeom>
          <a:noFill/>
          <a:ln w="9525">
            <a:noFill/>
            <a:miter lim="800000"/>
            <a:headEnd/>
            <a:tailEnd/>
          </a:ln>
        </p:spPr>
      </p:pic>
      <p:grpSp>
        <p:nvGrpSpPr>
          <p:cNvPr id="2" name="Group 4"/>
          <p:cNvGrpSpPr>
            <a:grpSpLocks/>
          </p:cNvGrpSpPr>
          <p:nvPr/>
        </p:nvGrpSpPr>
        <p:grpSpPr bwMode="auto">
          <a:xfrm>
            <a:off x="0" y="4629150"/>
            <a:ext cx="9144000" cy="168275"/>
            <a:chOff x="0" y="4629150"/>
            <a:chExt cx="9144000" cy="168275"/>
          </a:xfrm>
        </p:grpSpPr>
        <p:pic>
          <p:nvPicPr>
            <p:cNvPr id="4107" name="Picture 25" descr="Red Bar"/>
            <p:cNvPicPr>
              <a:picLocks noChangeAspect="1" noChangeArrowheads="1"/>
            </p:cNvPicPr>
            <p:nvPr/>
          </p:nvPicPr>
          <p:blipFill>
            <a:blip r:embed="rId21"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4108" name="Picture 20" descr="Oracle WHITE"/>
            <p:cNvPicPr>
              <a:picLocks noChangeArrowheads="1"/>
            </p:cNvPicPr>
            <p:nvPr userDrawn="1"/>
          </p:nvPicPr>
          <p:blipFill>
            <a:blip r:embed="rId20"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3" name="Group 13"/>
          <p:cNvGrpSpPr>
            <a:grpSpLocks/>
          </p:cNvGrpSpPr>
          <p:nvPr/>
        </p:nvGrpSpPr>
        <p:grpSpPr bwMode="auto">
          <a:xfrm>
            <a:off x="598488" y="4913313"/>
            <a:ext cx="2538412" cy="219075"/>
            <a:chOff x="597807" y="4913973"/>
            <a:chExt cx="2539093" cy="218542"/>
          </a:xfrm>
        </p:grpSpPr>
        <p:sp>
          <p:nvSpPr>
            <p:cNvPr id="15" name="Text Box 14"/>
            <p:cNvSpPr txBox="1">
              <a:spLocks noChangeArrowheads="1"/>
            </p:cNvSpPr>
            <p:nvPr userDrawn="1"/>
          </p:nvSpPr>
          <p:spPr bwMode="auto">
            <a:xfrm>
              <a:off x="631153" y="4913973"/>
              <a:ext cx="2505747" cy="218542"/>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FF1414"/>
                </a:buClr>
                <a:buFont typeface="Arial"/>
                <a:buNone/>
                <a:defRPr/>
              </a:pPr>
              <a:r>
                <a:rPr lang="en-US" sz="600" dirty="0" smtClean="0">
                  <a:solidFill>
                    <a:srgbClr val="000000"/>
                  </a:solidFill>
                  <a:cs typeface="Arial" pitchFamily="34" charset="0"/>
                </a:rPr>
                <a:t>Copyright © 2014, Oracle and/or its affiliates. All rights reserved.</a:t>
              </a:r>
            </a:p>
          </p:txBody>
        </p:sp>
        <p:cxnSp>
          <p:nvCxnSpPr>
            <p:cNvPr id="16" name="Straight Connector 15"/>
            <p:cNvCxnSpPr/>
            <p:nvPr userDrawn="1"/>
          </p:nvCxnSpPr>
          <p:spPr>
            <a:xfrm flipH="1">
              <a:off x="597807" y="4936144"/>
              <a:ext cx="1587" cy="96601"/>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p:nvPr userDrawn="1"/>
          </p:nvCxnSpPr>
          <p:spPr>
            <a:xfrm flipH="1">
              <a:off x="2893948" y="4936144"/>
              <a:ext cx="0" cy="96601"/>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5600" y="4883150"/>
            <a:ext cx="279400" cy="185738"/>
          </a:xfrm>
          <a:prstGeom prst="rect">
            <a:avLst/>
          </a:prstGeom>
        </p:spPr>
        <p:txBody>
          <a:bodyPr wrap="none">
            <a:spAutoFit/>
          </a:bodyPr>
          <a:lstStyle/>
          <a:p>
            <a:pPr algn="r">
              <a:defRPr/>
            </a:pPr>
            <a:fld id="{19B02899-685E-4C3A-9D45-4A0E774DA95F}" type="slidenum">
              <a:rPr lang="en-US" sz="600">
                <a:solidFill>
                  <a:srgbClr val="000000"/>
                </a:solidFill>
                <a:ea typeface="ＭＳ Ｐゴシック" pitchFamily="34" charset="-128"/>
                <a:cs typeface="Arial" pitchFamily="34" charset="0"/>
              </a:rPr>
              <a:pPr algn="r">
                <a:defRPr/>
              </a:pPr>
              <a:t>‹#›</a:t>
            </a:fld>
            <a:endParaRPr lang="en-US" sz="600" dirty="0">
              <a:solidFill>
                <a:srgbClr val="000000"/>
              </a:solidFill>
              <a:ea typeface="ＭＳ Ｐゴシック" pitchFamily="34"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7" r:id="rId12"/>
    <p:sldLayoutId id="2147484118" r:id="rId13"/>
    <p:sldLayoutId id="2147484119" r:id="rId14"/>
    <p:sldLayoutId id="2147484120" r:id="rId15"/>
    <p:sldLayoutId id="2147484121" r:id="rId16"/>
    <p:sldLayoutId id="2147484122" r:id="rId17"/>
    <p:sldLayoutId id="2147484123" r:id="rId18"/>
  </p:sldLayoutIdLst>
  <p:transition spd="med">
    <p:fade/>
  </p:transition>
  <p:timing>
    <p:tnLst>
      <p:par>
        <p:cTn id="1" dur="indefinite" restart="never" nodeType="tmRoot"/>
      </p:par>
    </p:tnLst>
  </p:timing>
  <p:hf hdr="0" ftr="0" dt="0"/>
  <p:txStyles>
    <p:titleStyle>
      <a:lvl1pPr algn="l" rtl="0" fontAlgn="base">
        <a:lnSpc>
          <a:spcPct val="90000"/>
        </a:lnSpc>
        <a:spcBef>
          <a:spcPct val="0"/>
        </a:spcBef>
        <a:spcAft>
          <a:spcPct val="0"/>
        </a:spcAft>
        <a:defRPr sz="2800" b="1" kern="1200">
          <a:solidFill>
            <a:schemeClr val="tx1"/>
          </a:solidFill>
          <a:latin typeface="Arial" pitchFamily="34" charset="0"/>
          <a:ea typeface="+mj-ea"/>
          <a:cs typeface="Arial" pitchFamily="34" charset="0"/>
        </a:defRPr>
      </a:lvl1pPr>
      <a:lvl2pPr algn="l" rtl="0" fontAlgn="base">
        <a:lnSpc>
          <a:spcPct val="90000"/>
        </a:lnSpc>
        <a:spcBef>
          <a:spcPct val="0"/>
        </a:spcBef>
        <a:spcAft>
          <a:spcPct val="0"/>
        </a:spcAft>
        <a:defRPr sz="2800" b="1">
          <a:solidFill>
            <a:schemeClr val="tx1"/>
          </a:solidFill>
          <a:latin typeface="Arial" pitchFamily="34" charset="0"/>
          <a:cs typeface="Arial" pitchFamily="34" charset="0"/>
        </a:defRPr>
      </a:lvl2pPr>
      <a:lvl3pPr algn="l" rtl="0" fontAlgn="base">
        <a:lnSpc>
          <a:spcPct val="90000"/>
        </a:lnSpc>
        <a:spcBef>
          <a:spcPct val="0"/>
        </a:spcBef>
        <a:spcAft>
          <a:spcPct val="0"/>
        </a:spcAft>
        <a:defRPr sz="2800" b="1">
          <a:solidFill>
            <a:schemeClr val="tx1"/>
          </a:solidFill>
          <a:latin typeface="Arial" pitchFamily="34" charset="0"/>
          <a:cs typeface="Arial" pitchFamily="34" charset="0"/>
        </a:defRPr>
      </a:lvl3pPr>
      <a:lvl4pPr algn="l" rtl="0" fontAlgn="base">
        <a:lnSpc>
          <a:spcPct val="90000"/>
        </a:lnSpc>
        <a:spcBef>
          <a:spcPct val="0"/>
        </a:spcBef>
        <a:spcAft>
          <a:spcPct val="0"/>
        </a:spcAft>
        <a:defRPr sz="2800" b="1">
          <a:solidFill>
            <a:schemeClr val="tx1"/>
          </a:solidFill>
          <a:latin typeface="Arial" pitchFamily="34" charset="0"/>
          <a:cs typeface="Arial" pitchFamily="34" charset="0"/>
        </a:defRPr>
      </a:lvl4pPr>
      <a:lvl5pPr algn="l" rtl="0" fontAlgn="base">
        <a:lnSpc>
          <a:spcPct val="90000"/>
        </a:lnSpc>
        <a:spcBef>
          <a:spcPct val="0"/>
        </a:spcBef>
        <a:spcAft>
          <a:spcPct val="0"/>
        </a:spcAft>
        <a:defRPr sz="2800" b="1">
          <a:solidFill>
            <a:schemeClr val="tx1"/>
          </a:solidFill>
          <a:latin typeface="Arial" pitchFamily="34" charset="0"/>
          <a:cs typeface="Arial" pitchFamily="34" charset="0"/>
        </a:defRPr>
      </a:lvl5pPr>
      <a:lvl6pPr marL="457200" algn="l" rtl="0" fontAlgn="base">
        <a:lnSpc>
          <a:spcPct val="90000"/>
        </a:lnSpc>
        <a:spcBef>
          <a:spcPct val="0"/>
        </a:spcBef>
        <a:spcAft>
          <a:spcPct val="0"/>
        </a:spcAft>
        <a:defRPr sz="2800" b="1">
          <a:solidFill>
            <a:schemeClr val="tx1"/>
          </a:solidFill>
          <a:latin typeface="Arial" pitchFamily="34" charset="0"/>
          <a:cs typeface="Arial" pitchFamily="34" charset="0"/>
        </a:defRPr>
      </a:lvl6pPr>
      <a:lvl7pPr marL="914400" algn="l" rtl="0" fontAlgn="base">
        <a:lnSpc>
          <a:spcPct val="90000"/>
        </a:lnSpc>
        <a:spcBef>
          <a:spcPct val="0"/>
        </a:spcBef>
        <a:spcAft>
          <a:spcPct val="0"/>
        </a:spcAft>
        <a:defRPr sz="2800" b="1">
          <a:solidFill>
            <a:schemeClr val="tx1"/>
          </a:solidFill>
          <a:latin typeface="Arial" pitchFamily="34" charset="0"/>
          <a:cs typeface="Arial" pitchFamily="34" charset="0"/>
        </a:defRPr>
      </a:lvl7pPr>
      <a:lvl8pPr marL="1371600" algn="l" rtl="0" fontAlgn="base">
        <a:lnSpc>
          <a:spcPct val="90000"/>
        </a:lnSpc>
        <a:spcBef>
          <a:spcPct val="0"/>
        </a:spcBef>
        <a:spcAft>
          <a:spcPct val="0"/>
        </a:spcAft>
        <a:defRPr sz="2800" b="1">
          <a:solidFill>
            <a:schemeClr val="tx1"/>
          </a:solidFill>
          <a:latin typeface="Arial" pitchFamily="34" charset="0"/>
          <a:cs typeface="Arial" pitchFamily="34" charset="0"/>
        </a:defRPr>
      </a:lvl8pPr>
      <a:lvl9pPr marL="1828800" algn="l" rtl="0" fontAlgn="base">
        <a:lnSpc>
          <a:spcPct val="90000"/>
        </a:lnSpc>
        <a:spcBef>
          <a:spcPct val="0"/>
        </a:spcBef>
        <a:spcAft>
          <a:spcPct val="0"/>
        </a:spcAft>
        <a:defRPr sz="2800" b="1">
          <a:solidFill>
            <a:schemeClr val="tx1"/>
          </a:solidFill>
          <a:latin typeface="Arial" pitchFamily="34" charset="0"/>
          <a:cs typeface="Arial" pitchFamily="34" charset="0"/>
        </a:defRPr>
      </a:lvl9pPr>
    </p:titleStyle>
    <p:bodyStyle>
      <a:lvl1pPr marL="228600" indent="-168275" algn="l" defTabSz="228600" rtl="0" fontAlgn="base">
        <a:spcBef>
          <a:spcPct val="0"/>
        </a:spcBef>
        <a:spcAft>
          <a:spcPts val="600"/>
        </a:spcAft>
        <a:buClr>
          <a:srgbClr val="FF0000"/>
        </a:buClr>
        <a:buSzPct val="85000"/>
        <a:buFont typeface="Wingdings" pitchFamily="2" charset="2"/>
        <a:buChar char="§"/>
        <a:defRPr sz="2000" kern="1200">
          <a:solidFill>
            <a:schemeClr val="tx1"/>
          </a:solidFill>
          <a:latin typeface="Arial" pitchFamily="34" charset="0"/>
          <a:ea typeface="+mn-ea"/>
          <a:cs typeface="Arial" pitchFamily="34" charset="0"/>
        </a:defRPr>
      </a:lvl1pPr>
      <a:lvl2pPr marL="6318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2pPr>
      <a:lvl3pPr marL="974725" indent="-174625" algn="l" defTabSz="228600" rtl="0" fontAlgn="base">
        <a:spcBef>
          <a:spcPct val="0"/>
        </a:spcBef>
        <a:spcAft>
          <a:spcPts val="600"/>
        </a:spcAft>
        <a:buClr>
          <a:srgbClr val="FF0000"/>
        </a:buClr>
        <a:buSzPct val="85000"/>
        <a:buFont typeface="Wingdings" pitchFamily="2" charset="2"/>
        <a:buChar char="§"/>
        <a:defRPr kern="1200">
          <a:solidFill>
            <a:schemeClr val="tx1"/>
          </a:solidFill>
          <a:latin typeface="Arial" pitchFamily="34" charset="0"/>
          <a:ea typeface="+mn-ea"/>
          <a:cs typeface="Arial" pitchFamily="34" charset="0"/>
        </a:defRPr>
      </a:lvl3pPr>
      <a:lvl4pPr marL="14319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4pPr>
      <a:lvl5pPr marL="1828800" indent="-168275" algn="l" rtl="0" fontAlgn="base">
        <a:spcBef>
          <a:spcPct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10.xml"/><Relationship Id="rId1" Type="http://schemas.openxmlformats.org/officeDocument/2006/relationships/slideLayout" Target="../slideLayouts/slideLayout144.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156.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xml"/><Relationship Id="rId1" Type="http://schemas.openxmlformats.org/officeDocument/2006/relationships/slideLayout" Target="../slideLayouts/slideLayout42.xml"/><Relationship Id="rId4" Type="http://schemas.openxmlformats.org/officeDocument/2006/relationships/image" Target="../media/image17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5.xml"/><Relationship Id="rId1" Type="http://schemas.openxmlformats.org/officeDocument/2006/relationships/slideLayout" Target="../slideLayouts/slideLayout41.xml"/><Relationship Id="rId5" Type="http://schemas.openxmlformats.org/officeDocument/2006/relationships/image" Target="../media/image177.png"/><Relationship Id="rId4" Type="http://schemas.openxmlformats.org/officeDocument/2006/relationships/image" Target="../media/image176.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notesSlide" Target="../notesSlides/notesSlide16.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slideLayout" Target="../slideLayouts/slideLayout5.xml"/><Relationship Id="rId11" Type="http://schemas.openxmlformats.org/officeDocument/2006/relationships/image" Target="../media/image180.png"/><Relationship Id="rId5" Type="http://schemas.openxmlformats.org/officeDocument/2006/relationships/tags" Target="../tags/tag6.xml"/><Relationship Id="rId10" Type="http://schemas.openxmlformats.org/officeDocument/2006/relationships/image" Target="../media/image179.png"/><Relationship Id="rId4" Type="http://schemas.openxmlformats.org/officeDocument/2006/relationships/tags" Target="../tags/tag5.xml"/><Relationship Id="rId9" Type="http://schemas.openxmlformats.org/officeDocument/2006/relationships/image" Target="../media/image178.png"/></Relationships>
</file>

<file path=ppt/slides/_rels/slide1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7.xml"/><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22.xml"/><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6" Type="http://schemas.openxmlformats.org/officeDocument/2006/relationships/image" Target="../media/image56.png"/><Relationship Id="rId21" Type="http://schemas.openxmlformats.org/officeDocument/2006/relationships/image" Target="../media/image51.jpeg"/><Relationship Id="rId34" Type="http://schemas.openxmlformats.org/officeDocument/2006/relationships/image" Target="../media/image64.jpeg"/><Relationship Id="rId42" Type="http://schemas.openxmlformats.org/officeDocument/2006/relationships/image" Target="../media/image72.png"/><Relationship Id="rId47" Type="http://schemas.openxmlformats.org/officeDocument/2006/relationships/image" Target="../media/image77.jpeg"/><Relationship Id="rId50" Type="http://schemas.openxmlformats.org/officeDocument/2006/relationships/image" Target="../media/image80.jpeg"/><Relationship Id="rId55" Type="http://schemas.openxmlformats.org/officeDocument/2006/relationships/image" Target="../media/image85.jpeg"/><Relationship Id="rId63" Type="http://schemas.openxmlformats.org/officeDocument/2006/relationships/image" Target="../media/image93.jpeg"/><Relationship Id="rId68" Type="http://schemas.openxmlformats.org/officeDocument/2006/relationships/image" Target="../media/image98.png"/><Relationship Id="rId76" Type="http://schemas.openxmlformats.org/officeDocument/2006/relationships/image" Target="../media/image106.wmf"/><Relationship Id="rId84" Type="http://schemas.openxmlformats.org/officeDocument/2006/relationships/image" Target="../media/image114.jpeg"/><Relationship Id="rId89" Type="http://schemas.openxmlformats.org/officeDocument/2006/relationships/image" Target="../media/image119.png"/><Relationship Id="rId97" Type="http://schemas.openxmlformats.org/officeDocument/2006/relationships/image" Target="../media/image127.gif"/><Relationship Id="rId7" Type="http://schemas.openxmlformats.org/officeDocument/2006/relationships/image" Target="../media/image37.png"/><Relationship Id="rId71" Type="http://schemas.openxmlformats.org/officeDocument/2006/relationships/image" Target="../media/image101.jpeg"/><Relationship Id="rId92" Type="http://schemas.openxmlformats.org/officeDocument/2006/relationships/image" Target="../media/image122.jpeg"/><Relationship Id="rId2" Type="http://schemas.openxmlformats.org/officeDocument/2006/relationships/notesSlide" Target="../notesSlides/notesSlide4.xml"/><Relationship Id="rId16" Type="http://schemas.openxmlformats.org/officeDocument/2006/relationships/image" Target="../media/image46.png"/><Relationship Id="rId29" Type="http://schemas.openxmlformats.org/officeDocument/2006/relationships/image" Target="../media/image59.png"/><Relationship Id="rId11" Type="http://schemas.openxmlformats.org/officeDocument/2006/relationships/image" Target="../media/image41.png"/><Relationship Id="rId24" Type="http://schemas.openxmlformats.org/officeDocument/2006/relationships/image" Target="../media/image54.png"/><Relationship Id="rId32" Type="http://schemas.openxmlformats.org/officeDocument/2006/relationships/image" Target="../media/image62.png"/><Relationship Id="rId37" Type="http://schemas.openxmlformats.org/officeDocument/2006/relationships/image" Target="../media/image67.jpeg"/><Relationship Id="rId40" Type="http://schemas.openxmlformats.org/officeDocument/2006/relationships/image" Target="../media/image70.png"/><Relationship Id="rId45" Type="http://schemas.openxmlformats.org/officeDocument/2006/relationships/image" Target="../media/image75.png"/><Relationship Id="rId53" Type="http://schemas.openxmlformats.org/officeDocument/2006/relationships/image" Target="../media/image83.jpeg"/><Relationship Id="rId58" Type="http://schemas.openxmlformats.org/officeDocument/2006/relationships/image" Target="../media/image88.gif"/><Relationship Id="rId66" Type="http://schemas.openxmlformats.org/officeDocument/2006/relationships/image" Target="../media/image96.emf"/><Relationship Id="rId74" Type="http://schemas.openxmlformats.org/officeDocument/2006/relationships/image" Target="../media/image104.png"/><Relationship Id="rId79" Type="http://schemas.openxmlformats.org/officeDocument/2006/relationships/image" Target="../media/image109.png"/><Relationship Id="rId87" Type="http://schemas.openxmlformats.org/officeDocument/2006/relationships/image" Target="../media/image117.jpeg"/><Relationship Id="rId5" Type="http://schemas.openxmlformats.org/officeDocument/2006/relationships/image" Target="../media/image35.png"/><Relationship Id="rId61" Type="http://schemas.openxmlformats.org/officeDocument/2006/relationships/image" Target="../media/image91.jpeg"/><Relationship Id="rId82" Type="http://schemas.openxmlformats.org/officeDocument/2006/relationships/image" Target="../media/image112.jpeg"/><Relationship Id="rId90" Type="http://schemas.openxmlformats.org/officeDocument/2006/relationships/image" Target="../media/image120.gif"/><Relationship Id="rId95" Type="http://schemas.openxmlformats.org/officeDocument/2006/relationships/image" Target="../media/image125.jpeg"/><Relationship Id="rId19" Type="http://schemas.openxmlformats.org/officeDocument/2006/relationships/image" Target="../media/image49.png"/><Relationship Id="rId14" Type="http://schemas.openxmlformats.org/officeDocument/2006/relationships/image" Target="../media/image44.png"/><Relationship Id="rId22" Type="http://schemas.openxmlformats.org/officeDocument/2006/relationships/image" Target="../media/image52.wmf"/><Relationship Id="rId27" Type="http://schemas.openxmlformats.org/officeDocument/2006/relationships/image" Target="../media/image57.jpeg"/><Relationship Id="rId30" Type="http://schemas.openxmlformats.org/officeDocument/2006/relationships/image" Target="../media/image60.jpeg"/><Relationship Id="rId35" Type="http://schemas.openxmlformats.org/officeDocument/2006/relationships/image" Target="../media/image65.png"/><Relationship Id="rId43" Type="http://schemas.openxmlformats.org/officeDocument/2006/relationships/image" Target="../media/image73.jpeg"/><Relationship Id="rId48" Type="http://schemas.openxmlformats.org/officeDocument/2006/relationships/image" Target="../media/image78.jpeg"/><Relationship Id="rId56" Type="http://schemas.openxmlformats.org/officeDocument/2006/relationships/image" Target="../media/image86.png"/><Relationship Id="rId64" Type="http://schemas.openxmlformats.org/officeDocument/2006/relationships/image" Target="../media/image94.gif"/><Relationship Id="rId69" Type="http://schemas.openxmlformats.org/officeDocument/2006/relationships/image" Target="../media/image99.gif"/><Relationship Id="rId77" Type="http://schemas.openxmlformats.org/officeDocument/2006/relationships/image" Target="../media/image107.png"/><Relationship Id="rId100" Type="http://schemas.openxmlformats.org/officeDocument/2006/relationships/image" Target="../media/image130.jpeg"/><Relationship Id="rId8" Type="http://schemas.openxmlformats.org/officeDocument/2006/relationships/image" Target="../media/image38.png"/><Relationship Id="rId51" Type="http://schemas.openxmlformats.org/officeDocument/2006/relationships/image" Target="../media/image81.png"/><Relationship Id="rId72" Type="http://schemas.openxmlformats.org/officeDocument/2006/relationships/image" Target="../media/image102.png"/><Relationship Id="rId80" Type="http://schemas.openxmlformats.org/officeDocument/2006/relationships/image" Target="../media/image110.jpeg"/><Relationship Id="rId85" Type="http://schemas.openxmlformats.org/officeDocument/2006/relationships/image" Target="../media/image115.png"/><Relationship Id="rId93" Type="http://schemas.openxmlformats.org/officeDocument/2006/relationships/image" Target="../media/image123.wmf"/><Relationship Id="rId98" Type="http://schemas.openxmlformats.org/officeDocument/2006/relationships/image" Target="../media/image128.jpeg"/><Relationship Id="rId3" Type="http://schemas.openxmlformats.org/officeDocument/2006/relationships/image" Target="../media/image33.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33" Type="http://schemas.openxmlformats.org/officeDocument/2006/relationships/image" Target="../media/image63.jpeg"/><Relationship Id="rId38" Type="http://schemas.openxmlformats.org/officeDocument/2006/relationships/image" Target="../media/image68.png"/><Relationship Id="rId46" Type="http://schemas.openxmlformats.org/officeDocument/2006/relationships/image" Target="../media/image76.png"/><Relationship Id="rId59" Type="http://schemas.openxmlformats.org/officeDocument/2006/relationships/image" Target="../media/image89.jpeg"/><Relationship Id="rId67" Type="http://schemas.openxmlformats.org/officeDocument/2006/relationships/image" Target="../media/image97.jpeg"/><Relationship Id="rId20" Type="http://schemas.openxmlformats.org/officeDocument/2006/relationships/image" Target="../media/image50.jpeg"/><Relationship Id="rId41" Type="http://schemas.openxmlformats.org/officeDocument/2006/relationships/image" Target="../media/image71.png"/><Relationship Id="rId54" Type="http://schemas.openxmlformats.org/officeDocument/2006/relationships/image" Target="../media/image84.png"/><Relationship Id="rId62" Type="http://schemas.openxmlformats.org/officeDocument/2006/relationships/image" Target="../media/image92.png"/><Relationship Id="rId70" Type="http://schemas.openxmlformats.org/officeDocument/2006/relationships/image" Target="../media/image100.png"/><Relationship Id="rId75" Type="http://schemas.openxmlformats.org/officeDocument/2006/relationships/image" Target="../media/image105.png"/><Relationship Id="rId83" Type="http://schemas.openxmlformats.org/officeDocument/2006/relationships/image" Target="../media/image113.png"/><Relationship Id="rId88" Type="http://schemas.openxmlformats.org/officeDocument/2006/relationships/image" Target="../media/image118.png"/><Relationship Id="rId91" Type="http://schemas.openxmlformats.org/officeDocument/2006/relationships/image" Target="../media/image121.png"/><Relationship Id="rId96" Type="http://schemas.openxmlformats.org/officeDocument/2006/relationships/image" Target="../media/image126.png"/><Relationship Id="rId1" Type="http://schemas.openxmlformats.org/officeDocument/2006/relationships/slideLayout" Target="../slideLayouts/slideLayout80.xml"/><Relationship Id="rId6" Type="http://schemas.openxmlformats.org/officeDocument/2006/relationships/image" Target="../media/image36.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jpeg"/><Relationship Id="rId36" Type="http://schemas.openxmlformats.org/officeDocument/2006/relationships/image" Target="../media/image66.png"/><Relationship Id="rId49" Type="http://schemas.openxmlformats.org/officeDocument/2006/relationships/image" Target="../media/image79.png"/><Relationship Id="rId57" Type="http://schemas.openxmlformats.org/officeDocument/2006/relationships/image" Target="../media/image87.jpeg"/><Relationship Id="rId10" Type="http://schemas.openxmlformats.org/officeDocument/2006/relationships/image" Target="../media/image40.jpeg"/><Relationship Id="rId31" Type="http://schemas.openxmlformats.org/officeDocument/2006/relationships/image" Target="../media/image61.png"/><Relationship Id="rId44" Type="http://schemas.openxmlformats.org/officeDocument/2006/relationships/image" Target="../media/image74.png"/><Relationship Id="rId52" Type="http://schemas.openxmlformats.org/officeDocument/2006/relationships/image" Target="../media/image82.jpeg"/><Relationship Id="rId60" Type="http://schemas.openxmlformats.org/officeDocument/2006/relationships/image" Target="../media/image90.png"/><Relationship Id="rId65" Type="http://schemas.openxmlformats.org/officeDocument/2006/relationships/image" Target="../media/image95.jpeg"/><Relationship Id="rId73" Type="http://schemas.openxmlformats.org/officeDocument/2006/relationships/image" Target="../media/image103.png"/><Relationship Id="rId78" Type="http://schemas.openxmlformats.org/officeDocument/2006/relationships/image" Target="../media/image108.jpeg"/><Relationship Id="rId81" Type="http://schemas.openxmlformats.org/officeDocument/2006/relationships/image" Target="../media/image111.png"/><Relationship Id="rId86" Type="http://schemas.openxmlformats.org/officeDocument/2006/relationships/image" Target="../media/image116.jpeg"/><Relationship Id="rId94" Type="http://schemas.openxmlformats.org/officeDocument/2006/relationships/image" Target="../media/image124.jpeg"/><Relationship Id="rId99" Type="http://schemas.openxmlformats.org/officeDocument/2006/relationships/image" Target="../media/image129.jpeg"/><Relationship Id="rId101" Type="http://schemas.openxmlformats.org/officeDocument/2006/relationships/image" Target="../media/image131.png"/><Relationship Id="rId4" Type="http://schemas.openxmlformats.org/officeDocument/2006/relationships/image" Target="../media/image34.png"/><Relationship Id="rId9" Type="http://schemas.openxmlformats.org/officeDocument/2006/relationships/image" Target="../media/image39.png"/><Relationship Id="rId13" Type="http://schemas.openxmlformats.org/officeDocument/2006/relationships/image" Target="../media/image43.png"/><Relationship Id="rId18" Type="http://schemas.openxmlformats.org/officeDocument/2006/relationships/image" Target="../media/image48.jpeg"/><Relationship Id="rId39" Type="http://schemas.openxmlformats.org/officeDocument/2006/relationships/image" Target="../media/image69.jpeg"/></Relationships>
</file>

<file path=ppt/slides/_rels/slide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xml"/><Relationship Id="rId1" Type="http://schemas.openxmlformats.org/officeDocument/2006/relationships/slideLayout" Target="../slideLayouts/slideLayout97.xml"/><Relationship Id="rId4" Type="http://schemas.openxmlformats.org/officeDocument/2006/relationships/image" Target="../media/image131.png"/></Relationships>
</file>

<file path=ppt/slides/_rels/slide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xml"/><Relationship Id="rId1" Type="http://schemas.openxmlformats.org/officeDocument/2006/relationships/slideLayout" Target="../slideLayouts/slideLayout61.xml"/><Relationship Id="rId4" Type="http://schemas.openxmlformats.org/officeDocument/2006/relationships/image" Target="../media/image134.png"/></Relationships>
</file>

<file path=ppt/slides/_rels/slide7.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notesSlide" Target="../notesSlides/notesSlide7.xml"/><Relationship Id="rId1" Type="http://schemas.openxmlformats.org/officeDocument/2006/relationships/slideLayout" Target="../slideLayouts/slideLayout60.xml"/><Relationship Id="rId6" Type="http://schemas.openxmlformats.org/officeDocument/2006/relationships/image" Target="../media/image138.png"/><Relationship Id="rId11" Type="http://schemas.openxmlformats.org/officeDocument/2006/relationships/image" Target="../media/image143.png"/><Relationship Id="rId5" Type="http://schemas.openxmlformats.org/officeDocument/2006/relationships/image" Target="../media/image137.png"/><Relationship Id="rId15" Type="http://schemas.openxmlformats.org/officeDocument/2006/relationships/image" Target="../media/image14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 Id="rId14" Type="http://schemas.openxmlformats.org/officeDocument/2006/relationships/image" Target="../media/image146.png"/></Relationships>
</file>

<file path=ppt/slides/_rels/slide8.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18" Type="http://schemas.openxmlformats.org/officeDocument/2006/relationships/image" Target="../media/image163.png"/><Relationship Id="rId3" Type="http://schemas.openxmlformats.org/officeDocument/2006/relationships/image" Target="../media/image148.jpeg"/><Relationship Id="rId21" Type="http://schemas.openxmlformats.org/officeDocument/2006/relationships/image" Target="../media/image166.png"/><Relationship Id="rId7" Type="http://schemas.openxmlformats.org/officeDocument/2006/relationships/image" Target="../media/image152.png"/><Relationship Id="rId12" Type="http://schemas.openxmlformats.org/officeDocument/2006/relationships/image" Target="../media/image157.png"/><Relationship Id="rId17" Type="http://schemas.openxmlformats.org/officeDocument/2006/relationships/image" Target="../media/image162.png"/><Relationship Id="rId2" Type="http://schemas.openxmlformats.org/officeDocument/2006/relationships/notesSlide" Target="../notesSlides/notesSlide8.xml"/><Relationship Id="rId16" Type="http://schemas.openxmlformats.org/officeDocument/2006/relationships/image" Target="../media/image161.png"/><Relationship Id="rId20" Type="http://schemas.openxmlformats.org/officeDocument/2006/relationships/image" Target="../media/image165.png"/><Relationship Id="rId1" Type="http://schemas.openxmlformats.org/officeDocument/2006/relationships/slideLayout" Target="../slideLayouts/slideLayout78.xml"/><Relationship Id="rId6" Type="http://schemas.openxmlformats.org/officeDocument/2006/relationships/image" Target="../media/image151.jpeg"/><Relationship Id="rId11" Type="http://schemas.openxmlformats.org/officeDocument/2006/relationships/image" Target="../media/image156.png"/><Relationship Id="rId5" Type="http://schemas.openxmlformats.org/officeDocument/2006/relationships/image" Target="../media/image150.jpeg"/><Relationship Id="rId15" Type="http://schemas.openxmlformats.org/officeDocument/2006/relationships/image" Target="../media/image160.png"/><Relationship Id="rId10" Type="http://schemas.openxmlformats.org/officeDocument/2006/relationships/image" Target="../media/image155.png"/><Relationship Id="rId19" Type="http://schemas.openxmlformats.org/officeDocument/2006/relationships/image" Target="../media/image164.png"/><Relationship Id="rId4" Type="http://schemas.openxmlformats.org/officeDocument/2006/relationships/image" Target="../media/image149.jpeg"/><Relationship Id="rId9" Type="http://schemas.openxmlformats.org/officeDocument/2006/relationships/image" Target="../media/image154.png"/><Relationship Id="rId14" Type="http://schemas.openxmlformats.org/officeDocument/2006/relationships/image" Target="../media/image159.png"/></Relationships>
</file>

<file path=ppt/slides/_rels/slide9.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9.xml"/><Relationship Id="rId1" Type="http://schemas.openxmlformats.org/officeDocument/2006/relationships/slideLayout" Target="../slideLayouts/slideLayout134.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2894" y="1160357"/>
            <a:ext cx="5026449" cy="1230657"/>
          </a:xfrm>
        </p:spPr>
        <p:txBody>
          <a:bodyPr/>
          <a:lstStyle/>
          <a:p>
            <a:r>
              <a:rPr lang="en-US" dirty="0" smtClean="0"/>
              <a:t>Oracle PartnerNetwork Opportunities</a:t>
            </a:r>
            <a:endParaRPr lang="en-US" sz="2400" b="0" dirty="0"/>
          </a:p>
        </p:txBody>
      </p:sp>
      <p:sp>
        <p:nvSpPr>
          <p:cNvPr id="6" name="Text Placeholder 5"/>
          <p:cNvSpPr>
            <a:spLocks noGrp="1"/>
          </p:cNvSpPr>
          <p:nvPr>
            <p:ph type="body" sz="quarter" idx="13"/>
          </p:nvPr>
        </p:nvSpPr>
        <p:spPr>
          <a:xfrm>
            <a:off x="274321" y="2691708"/>
            <a:ext cx="5497830" cy="1011611"/>
          </a:xfrm>
        </p:spPr>
        <p:txBody>
          <a:bodyPr/>
          <a:lstStyle/>
          <a:p>
            <a:r>
              <a:rPr lang="en-US" dirty="0" smtClean="0"/>
              <a:t>Jay Messenger</a:t>
            </a:r>
          </a:p>
          <a:p>
            <a:r>
              <a:rPr lang="en-US" sz="1800" dirty="0" smtClean="0"/>
              <a:t>Team Lead, US SLG and Canada Hardware</a:t>
            </a:r>
          </a:p>
          <a:p>
            <a:r>
              <a:rPr lang="en-US" dirty="0" smtClean="0"/>
              <a:t>Oracle Public Sector Channels Organization</a:t>
            </a:r>
          </a:p>
        </p:txBody>
      </p:sp>
      <p:pic>
        <p:nvPicPr>
          <p:cNvPr id="8" name="Picture Placeholder 10" descr="ph_fac_hq_rs_007_cropped.jpg"/>
          <p:cNvPicPr>
            <a:picLocks noGrp="1" noChangeAspect="1"/>
          </p:cNvPicPr>
          <p:nvPr>
            <p:ph type="pic" sz="quarter" idx="14"/>
          </p:nvPr>
        </p:nvPicPr>
        <p:blipFill>
          <a:blip r:embed="rId3" cstate="print"/>
          <a:srcRect l="8487" r="8487"/>
          <a:stretch>
            <a:fillRect/>
          </a:stretch>
        </p:blipFill>
        <p:spPr>
          <a:xfrm>
            <a:off x="5943600" y="0"/>
            <a:ext cx="3200400" cy="5143500"/>
          </a:xfrm>
        </p:spPr>
      </p:pic>
      <p:pic>
        <p:nvPicPr>
          <p:cNvPr id="9" name="Picture 8" descr="OPN_tagline_clr_rgb.png"/>
          <p:cNvPicPr>
            <a:picLocks noChangeAspect="1"/>
          </p:cNvPicPr>
          <p:nvPr/>
        </p:nvPicPr>
        <p:blipFill>
          <a:blip r:embed="rId4" cstate="print"/>
          <a:stretch>
            <a:fillRect/>
          </a:stretch>
        </p:blipFill>
        <p:spPr>
          <a:xfrm>
            <a:off x="451485" y="4332939"/>
            <a:ext cx="1554480" cy="66772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001" y="190103"/>
            <a:ext cx="7581900" cy="642938"/>
          </a:xfrm>
        </p:spPr>
        <p:txBody>
          <a:bodyPr/>
          <a:lstStyle/>
          <a:p>
            <a:r>
              <a:rPr lang="en-US" sz="2800" dirty="0" smtClean="0"/>
              <a:t>Oracle Storage Saves You Time and Money</a:t>
            </a:r>
            <a:endParaRPr lang="en-US" sz="2800" dirty="0"/>
          </a:p>
        </p:txBody>
      </p:sp>
      <p:sp>
        <p:nvSpPr>
          <p:cNvPr id="3" name="Content Placeholder 2"/>
          <p:cNvSpPr>
            <a:spLocks noGrp="1"/>
          </p:cNvSpPr>
          <p:nvPr>
            <p:ph idx="1"/>
          </p:nvPr>
        </p:nvSpPr>
        <p:spPr>
          <a:xfrm>
            <a:off x="579549" y="803306"/>
            <a:ext cx="5164428" cy="3335080"/>
          </a:xfrm>
          <a:ln>
            <a:solidFill>
              <a:schemeClr val="bg1"/>
            </a:solidFill>
          </a:ln>
        </p:spPr>
        <p:txBody>
          <a:bodyPr/>
          <a:lstStyle/>
          <a:p>
            <a:pPr lvl="1">
              <a:lnSpc>
                <a:spcPct val="95000"/>
              </a:lnSpc>
              <a:spcBef>
                <a:spcPts val="600"/>
              </a:spcBef>
              <a:buClr>
                <a:schemeClr val="tx2"/>
              </a:buClr>
              <a:buFont typeface="Arial" pitchFamily="34" charset="0"/>
              <a:buChar char="•"/>
            </a:pPr>
            <a:r>
              <a:rPr lang="en-US" sz="2400" b="1" dirty="0" smtClean="0">
                <a:solidFill>
                  <a:srgbClr val="FF0000"/>
                </a:solidFill>
              </a:rPr>
              <a:t>65% </a:t>
            </a:r>
            <a:r>
              <a:rPr lang="en-US" sz="2400" b="1" dirty="0" smtClean="0"/>
              <a:t>reduction in administration and provisioning</a:t>
            </a:r>
          </a:p>
          <a:p>
            <a:pPr lvl="2">
              <a:lnSpc>
                <a:spcPct val="95000"/>
              </a:lnSpc>
              <a:spcBef>
                <a:spcPts val="400"/>
              </a:spcBef>
              <a:buClr>
                <a:schemeClr val="tx1"/>
              </a:buClr>
              <a:buFont typeface="Arial" pitchFamily="34" charset="0"/>
              <a:buChar char="–"/>
            </a:pPr>
            <a:r>
              <a:rPr lang="en-US" sz="1800" b="1" dirty="0" smtClean="0"/>
              <a:t>Dynamically tuned to optimize database performance</a:t>
            </a:r>
          </a:p>
          <a:p>
            <a:pPr marL="400050" indent="-169863">
              <a:lnSpc>
                <a:spcPct val="95000"/>
              </a:lnSpc>
              <a:spcBef>
                <a:spcPts val="1200"/>
              </a:spcBef>
              <a:buFont typeface="Arial" pitchFamily="34" charset="0"/>
              <a:buChar char="•"/>
            </a:pPr>
            <a:r>
              <a:rPr lang="en-US" sz="2400" b="1" dirty="0" smtClean="0">
                <a:solidFill>
                  <a:srgbClr val="FF0000"/>
                </a:solidFill>
              </a:rPr>
              <a:t>44% </a:t>
            </a:r>
            <a:r>
              <a:rPr lang="en-US" sz="2400" b="1" dirty="0" smtClean="0"/>
              <a:t>faster troubleshooting</a:t>
            </a:r>
          </a:p>
          <a:p>
            <a:pPr lvl="2">
              <a:lnSpc>
                <a:spcPct val="95000"/>
              </a:lnSpc>
              <a:spcBef>
                <a:spcPts val="400"/>
              </a:spcBef>
              <a:buClr>
                <a:schemeClr val="tx1"/>
              </a:buClr>
              <a:buFont typeface="Arial" pitchFamily="34" charset="0"/>
              <a:buChar char="–"/>
            </a:pPr>
            <a:r>
              <a:rPr lang="en-US" sz="1800" b="1" dirty="0" smtClean="0"/>
              <a:t>DTrace storage analytics provides deeper understanding, more quickly</a:t>
            </a:r>
            <a:endParaRPr lang="en-US" sz="2400" b="1" dirty="0" smtClean="0">
              <a:solidFill>
                <a:srgbClr val="FF0000"/>
              </a:solidFill>
            </a:endParaRPr>
          </a:p>
          <a:p>
            <a:pPr lvl="1">
              <a:lnSpc>
                <a:spcPct val="95000"/>
              </a:lnSpc>
              <a:spcBef>
                <a:spcPts val="1200"/>
              </a:spcBef>
              <a:buClr>
                <a:schemeClr val="tx2"/>
              </a:buClr>
              <a:buFont typeface="Arial" pitchFamily="34" charset="0"/>
              <a:buChar char="•"/>
            </a:pPr>
            <a:r>
              <a:rPr lang="en-US" sz="2400" b="1" dirty="0" smtClean="0">
                <a:solidFill>
                  <a:srgbClr val="FF0000"/>
                </a:solidFill>
              </a:rPr>
              <a:t>5 of 10 </a:t>
            </a:r>
            <a:r>
              <a:rPr lang="en-US" sz="2400" b="1" dirty="0" smtClean="0"/>
              <a:t>storage administrators can be repurposed </a:t>
            </a:r>
          </a:p>
          <a:p>
            <a:pPr lvl="2">
              <a:lnSpc>
                <a:spcPct val="95000"/>
              </a:lnSpc>
              <a:spcBef>
                <a:spcPts val="400"/>
              </a:spcBef>
              <a:buClr>
                <a:schemeClr val="tx1"/>
              </a:buClr>
              <a:buFont typeface="Arial" pitchFamily="34" charset="0"/>
              <a:buChar char="–"/>
            </a:pPr>
            <a:r>
              <a:rPr lang="en-US" sz="1800" b="1" dirty="0" smtClean="0"/>
              <a:t>Deliver strategic projects </a:t>
            </a:r>
            <a:r>
              <a:rPr lang="en-US" sz="1800" b="1" dirty="0" smtClean="0">
                <a:solidFill>
                  <a:schemeClr val="tx2"/>
                </a:solidFill>
              </a:rPr>
              <a:t>faster</a:t>
            </a:r>
          </a:p>
          <a:p>
            <a:pPr lvl="2">
              <a:lnSpc>
                <a:spcPct val="95000"/>
              </a:lnSpc>
              <a:spcBef>
                <a:spcPts val="400"/>
              </a:spcBef>
              <a:buClr>
                <a:schemeClr val="tx1"/>
              </a:buClr>
              <a:buFont typeface="Arial" pitchFamily="34" charset="0"/>
              <a:buChar char="–"/>
            </a:pPr>
            <a:r>
              <a:rPr lang="en-US" sz="1800" b="1" dirty="0" smtClean="0">
                <a:solidFill>
                  <a:schemeClr val="tx2"/>
                </a:solidFill>
              </a:rPr>
              <a:t>$1M </a:t>
            </a:r>
            <a:r>
              <a:rPr lang="en-US" sz="1800" b="1" dirty="0" smtClean="0"/>
              <a:t>potential savings annually</a:t>
            </a:r>
          </a:p>
          <a:p>
            <a:pPr>
              <a:lnSpc>
                <a:spcPct val="95000"/>
              </a:lnSpc>
              <a:spcBef>
                <a:spcPts val="600"/>
              </a:spcBef>
              <a:buNone/>
            </a:pPr>
            <a:endParaRPr lang="en-US" sz="2400" dirty="0" smtClean="0"/>
          </a:p>
          <a:p>
            <a:pPr>
              <a:lnSpc>
                <a:spcPct val="95000"/>
              </a:lnSpc>
              <a:spcBef>
                <a:spcPts val="600"/>
              </a:spcBef>
              <a:buNone/>
            </a:pPr>
            <a:endParaRPr lang="en-US" dirty="0"/>
          </a:p>
        </p:txBody>
      </p:sp>
      <p:pic>
        <p:nvPicPr>
          <p:cNvPr id="8" name="Picture Placeholder 13" descr="DB12c_title.jpg"/>
          <p:cNvPicPr>
            <a:picLocks noChangeAspect="1"/>
          </p:cNvPicPr>
          <p:nvPr/>
        </p:nvPicPr>
        <p:blipFill>
          <a:blip r:embed="rId3" cstate="print">
            <a:extLst>
              <a:ext uri="{28A0092B-C50C-407E-A947-70E740481C1C}">
                <a14:useLocalDpi xmlns:a14="http://schemas.microsoft.com/office/drawing/2010/main" val="0"/>
              </a:ext>
            </a:extLst>
          </a:blip>
          <a:srcRect t="3552" b="18650"/>
          <a:stretch>
            <a:fillRect/>
          </a:stretch>
        </p:blipFill>
        <p:spPr>
          <a:xfrm>
            <a:off x="6858000" y="1120456"/>
            <a:ext cx="2133600" cy="2670005"/>
          </a:xfrm>
          <a:prstGeom prst="rect">
            <a:avLst/>
          </a:prstGeom>
        </p:spPr>
      </p:pic>
    </p:spTree>
  </p:cSld>
  <p:clrMapOvr>
    <a:masterClrMapping/>
  </p:clrMapOvr>
  <p:transition>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wipe(left)">
                                      <p:cBhvr>
                                        <p:cTn id="7" dur="500"/>
                                        <p:tgtEl>
                                          <p:spTgt spid="3">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5" end="5"/>
                                            </p:txEl>
                                          </p:spTgt>
                                        </p:tgtEl>
                                        <p:attrNameLst>
                                          <p:attrName>style.visibility</p:attrName>
                                        </p:attrNameLst>
                                      </p:cBhvr>
                                      <p:to>
                                        <p:strVal val="visible"/>
                                      </p:to>
                                    </p:set>
                                    <p:animEffect transition="in" filter="wipe(left)">
                                      <p:cBhvr>
                                        <p:cTn id="12" dur="500"/>
                                        <p:tgtEl>
                                          <p:spTgt spid="3">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wipe(left)">
                                      <p:cBhvr>
                                        <p:cTn id="1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199297" y="1012373"/>
            <a:ext cx="2794815" cy="568840"/>
          </a:xfrm>
          <a:prstGeom prst="rect">
            <a:avLst/>
          </a:prstGeom>
          <a:solidFill>
            <a:srgbClr val="FD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spcBef>
                <a:spcPct val="0"/>
              </a:spcBef>
              <a:spcAft>
                <a:spcPct val="0"/>
              </a:spcAft>
            </a:pPr>
            <a:r>
              <a:rPr lang="en-US" sz="1600" b="1" dirty="0" smtClean="0">
                <a:solidFill>
                  <a:srgbClr val="FFFFFF"/>
                </a:solidFill>
                <a:ea typeface="ＭＳ Ｐゴシック" charset="0"/>
                <a:cs typeface="ＭＳ Ｐゴシック" charset="0"/>
              </a:rPr>
              <a:t>Increased Query Speed</a:t>
            </a:r>
            <a:endParaRPr lang="en-US" sz="1600" b="1" dirty="0">
              <a:solidFill>
                <a:srgbClr val="FFFFFF"/>
              </a:solidFill>
              <a:ea typeface="ＭＳ Ｐゴシック" charset="0"/>
              <a:cs typeface="ＭＳ Ｐゴシック" charset="0"/>
            </a:endParaRPr>
          </a:p>
        </p:txBody>
      </p:sp>
      <p:sp>
        <p:nvSpPr>
          <p:cNvPr id="33" name="Rectangle 32"/>
          <p:cNvSpPr/>
          <p:nvPr/>
        </p:nvSpPr>
        <p:spPr>
          <a:xfrm>
            <a:off x="3181760" y="1014836"/>
            <a:ext cx="2931774" cy="796558"/>
          </a:xfrm>
          <a:prstGeom prst="rect">
            <a:avLst/>
          </a:prstGeom>
          <a:solidFill>
            <a:srgbClr val="FD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fontAlgn="base">
              <a:spcBef>
                <a:spcPct val="0"/>
              </a:spcBef>
              <a:spcAft>
                <a:spcPct val="0"/>
              </a:spcAft>
              <a:defRPr/>
            </a:pPr>
            <a:endParaRPr lang="en-US" sz="1600" dirty="0">
              <a:solidFill>
                <a:srgbClr val="FFFFFF"/>
              </a:solidFill>
              <a:cs typeface="Arial" pitchFamily="34" charset="0"/>
            </a:endParaRPr>
          </a:p>
        </p:txBody>
      </p:sp>
      <p:sp>
        <p:nvSpPr>
          <p:cNvPr id="30" name="Rectangle 29"/>
          <p:cNvSpPr/>
          <p:nvPr/>
        </p:nvSpPr>
        <p:spPr>
          <a:xfrm>
            <a:off x="6206218" y="1587317"/>
            <a:ext cx="2794000" cy="24182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fontAlgn="base">
              <a:spcBef>
                <a:spcPct val="0"/>
              </a:spcBef>
              <a:spcAft>
                <a:spcPct val="0"/>
              </a:spcAft>
              <a:defRPr/>
            </a:pPr>
            <a:endParaRPr lang="en-US" sz="1600" dirty="0">
              <a:solidFill>
                <a:srgbClr val="000000"/>
              </a:solidFill>
              <a:cs typeface="Arial" pitchFamily="34" charset="0"/>
            </a:endParaRPr>
          </a:p>
        </p:txBody>
      </p:sp>
      <p:sp>
        <p:nvSpPr>
          <p:cNvPr id="60" name="Content Placeholder 31"/>
          <p:cNvSpPr txBox="1">
            <a:spLocks/>
          </p:cNvSpPr>
          <p:nvPr/>
        </p:nvSpPr>
        <p:spPr bwMode="auto">
          <a:xfrm>
            <a:off x="3313031" y="1101456"/>
            <a:ext cx="2662237" cy="368639"/>
          </a:xfrm>
          <a:prstGeom prst="rect">
            <a:avLst/>
          </a:prstGeom>
          <a:solidFill>
            <a:srgbClr val="FD0000"/>
          </a:solidFill>
          <a:ln w="9525">
            <a:noFill/>
            <a:miter lim="800000"/>
            <a:headEnd/>
            <a:tailEnd/>
          </a:ln>
        </p:spPr>
        <p:txBody>
          <a:bodyPr vert="horz" wrap="square" lIns="0" tIns="0" rIns="0" bIns="0" numCol="1" anchor="ctr" anchorCtr="0" compatLnSpc="1">
            <a:prstTxWarp prst="textNoShape">
              <a:avLst/>
            </a:prstTxWarp>
          </a:bodyPr>
          <a:lstStyle/>
          <a:p>
            <a:pPr algn="ctr" defTabSz="228600" eaLnBrk="0" fontAlgn="base" hangingPunct="0">
              <a:spcBef>
                <a:spcPct val="0"/>
              </a:spcBef>
              <a:spcAft>
                <a:spcPts val="600"/>
              </a:spcAft>
              <a:buClr>
                <a:srgbClr val="FF0000"/>
              </a:buClr>
              <a:buSzPct val="85000"/>
              <a:buFont typeface="Wingdings" pitchFamily="2" charset="2"/>
              <a:buNone/>
              <a:defRPr/>
            </a:pPr>
            <a:r>
              <a:rPr lang="en-US" sz="1600" b="1" dirty="0" smtClean="0">
                <a:solidFill>
                  <a:srgbClr val="FFFFFF"/>
                </a:solidFill>
                <a:ea typeface="ＭＳ Ｐゴシック" charset="0"/>
                <a:cs typeface="ＭＳ Ｐゴシック" charset="0"/>
              </a:rPr>
              <a:t>Compression Ratio</a:t>
            </a:r>
            <a:endParaRPr lang="en-US" sz="1600" b="1" dirty="0">
              <a:solidFill>
                <a:srgbClr val="FFFFFF"/>
              </a:solidFill>
              <a:ea typeface="ＭＳ Ｐゴシック" charset="0"/>
              <a:cs typeface="ＭＳ Ｐゴシック" charset="0"/>
            </a:endParaRPr>
          </a:p>
        </p:txBody>
      </p:sp>
      <p:sp>
        <p:nvSpPr>
          <p:cNvPr id="51" name="Rectangle 50"/>
          <p:cNvSpPr/>
          <p:nvPr/>
        </p:nvSpPr>
        <p:spPr>
          <a:xfrm>
            <a:off x="3163627" y="1545676"/>
            <a:ext cx="2953265" cy="2482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56325" name="Title 1"/>
          <p:cNvSpPr>
            <a:spLocks noGrp="1"/>
          </p:cNvSpPr>
          <p:nvPr>
            <p:ph type="title"/>
          </p:nvPr>
        </p:nvSpPr>
        <p:spPr>
          <a:xfrm>
            <a:off x="804347" y="301685"/>
            <a:ext cx="8229586" cy="406395"/>
          </a:xfrm>
        </p:spPr>
        <p:txBody>
          <a:bodyPr/>
          <a:lstStyle/>
          <a:p>
            <a:pPr>
              <a:lnSpc>
                <a:spcPts val="2379"/>
              </a:lnSpc>
            </a:pPr>
            <a:r>
              <a:rPr lang="en-US" dirty="0">
                <a:latin typeface="Arial" charset="0"/>
                <a:ea typeface="ＭＳ Ｐゴシック" charset="0"/>
                <a:cs typeface="ＭＳ Ｐゴシック" charset="0"/>
              </a:rPr>
              <a:t>Oracle Database Runs Best on Oracle Storage</a:t>
            </a:r>
            <a:r>
              <a:rPr lang="en-US" sz="2400" dirty="0">
                <a:latin typeface="Arial" charset="0"/>
                <a:ea typeface="ＭＳ Ｐゴシック" charset="0"/>
                <a:cs typeface="ＭＳ Ｐゴシック" charset="0"/>
              </a:rPr>
              <a:t/>
            </a:r>
            <a:br>
              <a:rPr lang="en-US" sz="2400" dirty="0">
                <a:latin typeface="Arial" charset="0"/>
                <a:ea typeface="ＭＳ Ｐゴシック" charset="0"/>
                <a:cs typeface="ＭＳ Ｐゴシック" charset="0"/>
              </a:rPr>
            </a:br>
            <a:r>
              <a:rPr lang="en-US" sz="2000" u="sng" dirty="0" smtClean="0">
                <a:solidFill>
                  <a:srgbClr val="FF0000"/>
                </a:solidFill>
                <a:latin typeface="Arial" charset="0"/>
                <a:ea typeface="ＭＳ Ｐゴシック" charset="0"/>
                <a:cs typeface="ＭＳ Ｐゴシック" charset="0"/>
              </a:rPr>
              <a:t>Only on Oracle:</a:t>
            </a:r>
            <a:r>
              <a:rPr lang="en-US" sz="2000" dirty="0" smtClean="0">
                <a:solidFill>
                  <a:srgbClr val="FF0000"/>
                </a:solidFill>
                <a:latin typeface="Arial" charset="0"/>
                <a:ea typeface="ＭＳ Ｐゴシック" charset="0"/>
                <a:cs typeface="ＭＳ Ｐゴシック" charset="0"/>
              </a:rPr>
              <a:t> </a:t>
            </a:r>
            <a:r>
              <a:rPr lang="en-US" sz="2000" dirty="0" smtClean="0">
                <a:solidFill>
                  <a:schemeClr val="accent1"/>
                </a:solidFill>
                <a:latin typeface="Arial" charset="0"/>
                <a:ea typeface="ＭＳ Ｐゴシック" charset="0"/>
                <a:cs typeface="ＭＳ Ｐゴシック" charset="0"/>
              </a:rPr>
              <a:t>Hybrid </a:t>
            </a:r>
            <a:r>
              <a:rPr lang="en-US" sz="2000" dirty="0">
                <a:solidFill>
                  <a:schemeClr val="accent1"/>
                </a:solidFill>
                <a:latin typeface="Arial" charset="0"/>
                <a:ea typeface="ＭＳ Ｐゴシック" charset="0"/>
                <a:cs typeface="ＭＳ Ｐゴシック" charset="0"/>
              </a:rPr>
              <a:t>Columnar Compression (HCC</a:t>
            </a:r>
            <a:r>
              <a:rPr lang="en-US" sz="2000" dirty="0" smtClean="0">
                <a:solidFill>
                  <a:schemeClr val="accent1"/>
                </a:solidFill>
                <a:latin typeface="Arial" charset="0"/>
                <a:ea typeface="ＭＳ Ｐゴシック" charset="0"/>
                <a:cs typeface="ＭＳ Ｐゴシック" charset="0"/>
              </a:rPr>
              <a:t>)</a:t>
            </a:r>
            <a:endParaRPr lang="en-US" sz="2400" dirty="0">
              <a:latin typeface="Arial" charset="0"/>
              <a:ea typeface="ＭＳ Ｐゴシック" charset="0"/>
              <a:cs typeface="ＭＳ Ｐゴシック" charset="0"/>
            </a:endParaRPr>
          </a:p>
        </p:txBody>
      </p:sp>
      <p:graphicFrame>
        <p:nvGraphicFramePr>
          <p:cNvPr id="40" name="Chart 39"/>
          <p:cNvGraphicFramePr/>
          <p:nvPr/>
        </p:nvGraphicFramePr>
        <p:xfrm>
          <a:off x="6402098" y="1654631"/>
          <a:ext cx="2525353" cy="2152579"/>
        </p:xfrm>
        <a:graphic>
          <a:graphicData uri="http://schemas.openxmlformats.org/drawingml/2006/chart">
            <c:chart xmlns:c="http://schemas.openxmlformats.org/drawingml/2006/chart" xmlns:r="http://schemas.openxmlformats.org/officeDocument/2006/relationships" r:id="rId3"/>
          </a:graphicData>
        </a:graphic>
      </p:graphicFrame>
      <p:sp>
        <p:nvSpPr>
          <p:cNvPr id="27688" name="TextBox 14"/>
          <p:cNvSpPr txBox="1">
            <a:spLocks noChangeArrowheads="1"/>
          </p:cNvSpPr>
          <p:nvPr/>
        </p:nvSpPr>
        <p:spPr bwMode="auto">
          <a:xfrm rot="-5400000">
            <a:off x="5923644" y="2627058"/>
            <a:ext cx="9144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700">
                <a:solidFill>
                  <a:schemeClr val="tx1"/>
                </a:solidFill>
                <a:latin typeface="Arial" charset="0"/>
                <a:ea typeface="ＭＳ Ｐゴシック" charset="0"/>
                <a:cs typeface="ＭＳ Ｐゴシック" charset="0"/>
              </a:defRPr>
            </a:lvl1pPr>
            <a:lvl2pPr marL="37931725" indent="-37474525" eaLnBrk="0" hangingPunct="0">
              <a:defRPr sz="700">
                <a:solidFill>
                  <a:schemeClr val="tx1"/>
                </a:solidFill>
                <a:latin typeface="Arial" charset="0"/>
                <a:ea typeface="ＭＳ Ｐゴシック" charset="0"/>
              </a:defRPr>
            </a:lvl2pPr>
            <a:lvl3pPr eaLnBrk="0" hangingPunct="0">
              <a:defRPr sz="700">
                <a:solidFill>
                  <a:schemeClr val="tx1"/>
                </a:solidFill>
                <a:latin typeface="Arial" charset="0"/>
                <a:ea typeface="ＭＳ Ｐゴシック" charset="0"/>
              </a:defRPr>
            </a:lvl3pPr>
            <a:lvl4pPr eaLnBrk="0" hangingPunct="0">
              <a:defRPr sz="700">
                <a:solidFill>
                  <a:schemeClr val="tx1"/>
                </a:solidFill>
                <a:latin typeface="Arial" charset="0"/>
                <a:ea typeface="ＭＳ Ｐゴシック" charset="0"/>
              </a:defRPr>
            </a:lvl4pPr>
            <a:lvl5pPr eaLnBrk="0" hangingPunct="0">
              <a:defRPr sz="700">
                <a:solidFill>
                  <a:schemeClr val="tx1"/>
                </a:solidFill>
                <a:latin typeface="Arial" charset="0"/>
                <a:ea typeface="ＭＳ Ｐゴシック" charset="0"/>
              </a:defRPr>
            </a:lvl5pPr>
            <a:lvl6pPr marL="457200" eaLnBrk="0" fontAlgn="base" hangingPunct="0">
              <a:spcBef>
                <a:spcPct val="0"/>
              </a:spcBef>
              <a:spcAft>
                <a:spcPct val="0"/>
              </a:spcAft>
              <a:defRPr sz="700">
                <a:solidFill>
                  <a:schemeClr val="tx1"/>
                </a:solidFill>
                <a:latin typeface="Arial" charset="0"/>
                <a:ea typeface="ＭＳ Ｐゴシック" charset="0"/>
              </a:defRPr>
            </a:lvl6pPr>
            <a:lvl7pPr marL="914400" eaLnBrk="0" fontAlgn="base" hangingPunct="0">
              <a:spcBef>
                <a:spcPct val="0"/>
              </a:spcBef>
              <a:spcAft>
                <a:spcPct val="0"/>
              </a:spcAft>
              <a:defRPr sz="700">
                <a:solidFill>
                  <a:schemeClr val="tx1"/>
                </a:solidFill>
                <a:latin typeface="Arial" charset="0"/>
                <a:ea typeface="ＭＳ Ｐゴシック" charset="0"/>
              </a:defRPr>
            </a:lvl7pPr>
            <a:lvl8pPr marL="1371600" eaLnBrk="0" fontAlgn="base" hangingPunct="0">
              <a:spcBef>
                <a:spcPct val="0"/>
              </a:spcBef>
              <a:spcAft>
                <a:spcPct val="0"/>
              </a:spcAft>
              <a:defRPr sz="700">
                <a:solidFill>
                  <a:schemeClr val="tx1"/>
                </a:solidFill>
                <a:latin typeface="Arial" charset="0"/>
                <a:ea typeface="ＭＳ Ｐゴシック" charset="0"/>
              </a:defRPr>
            </a:lvl8pPr>
            <a:lvl9pPr marL="1828800" eaLnBrk="0" fontAlgn="base" hangingPunct="0">
              <a:spcBef>
                <a:spcPct val="0"/>
              </a:spcBef>
              <a:spcAft>
                <a:spcPct val="0"/>
              </a:spcAft>
              <a:defRPr sz="700">
                <a:solidFill>
                  <a:schemeClr val="tx1"/>
                </a:solidFill>
                <a:latin typeface="Arial" charset="0"/>
                <a:ea typeface="ＭＳ Ｐゴシック" charset="0"/>
              </a:defRPr>
            </a:lvl9pPr>
          </a:lstStyle>
          <a:p>
            <a:pPr algn="ctr" eaLnBrk="1" fontAlgn="base" hangingPunct="1">
              <a:spcBef>
                <a:spcPct val="0"/>
              </a:spcBef>
              <a:spcAft>
                <a:spcPct val="0"/>
              </a:spcAft>
            </a:pPr>
            <a:r>
              <a:rPr lang="en-US" sz="1000" dirty="0">
                <a:solidFill>
                  <a:srgbClr val="000000"/>
                </a:solidFill>
              </a:rPr>
              <a:t>11g query time</a:t>
            </a:r>
          </a:p>
        </p:txBody>
      </p:sp>
      <p:sp>
        <p:nvSpPr>
          <p:cNvPr id="2" name="TextBox 1"/>
          <p:cNvSpPr txBox="1"/>
          <p:nvPr/>
        </p:nvSpPr>
        <p:spPr>
          <a:xfrm>
            <a:off x="10048351" y="4330586"/>
            <a:ext cx="138518" cy="176982"/>
          </a:xfrm>
          <a:prstGeom prst="rect">
            <a:avLst/>
          </a:prstGeom>
          <a:noFill/>
        </p:spPr>
        <p:txBody>
          <a:bodyPr wrap="none" lIns="68589" tIns="34295" rIns="68589" bIns="34295" rtlCol="0">
            <a:spAutoFit/>
          </a:bodyPr>
          <a:lstStyle/>
          <a:p>
            <a:pPr fontAlgn="base">
              <a:spcBef>
                <a:spcPct val="0"/>
              </a:spcBef>
              <a:spcAft>
                <a:spcPct val="0"/>
              </a:spcAft>
            </a:pPr>
            <a:endParaRPr lang="en-US" sz="700" dirty="0">
              <a:solidFill>
                <a:srgbClr val="000000"/>
              </a:solidFill>
              <a:ea typeface="ＭＳ Ｐゴシック" pitchFamily="34" charset="-128"/>
              <a:cs typeface="Arial" pitchFamily="34" charset="0"/>
            </a:endParaRPr>
          </a:p>
        </p:txBody>
      </p:sp>
      <p:sp>
        <p:nvSpPr>
          <p:cNvPr id="3" name="Rectangle 2"/>
          <p:cNvSpPr/>
          <p:nvPr/>
        </p:nvSpPr>
        <p:spPr>
          <a:xfrm>
            <a:off x="0" y="4124856"/>
            <a:ext cx="9144000" cy="36904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12700" cmpd="sng"/>
        </p:spPr>
        <p:style>
          <a:lnRef idx="3">
            <a:schemeClr val="lt1"/>
          </a:lnRef>
          <a:fillRef idx="1">
            <a:schemeClr val="dk1"/>
          </a:fillRef>
          <a:effectRef idx="1">
            <a:schemeClr val="dk1"/>
          </a:effectRef>
          <a:fontRef idx="minor">
            <a:schemeClr val="lt1"/>
          </a:fontRef>
        </p:style>
        <p:txBody>
          <a:bodyPr lIns="0" tIns="0" rIns="0" bIns="0" rtlCol="0" anchor="ctr" anchorCtr="0"/>
          <a:lstStyle/>
          <a:p>
            <a:pPr algn="ctr" fontAlgn="base">
              <a:spcBef>
                <a:spcPct val="0"/>
              </a:spcBef>
              <a:spcAft>
                <a:spcPct val="0"/>
              </a:spcAft>
            </a:pPr>
            <a:r>
              <a:rPr lang="en-US" b="1" dirty="0" smtClean="0">
                <a:solidFill>
                  <a:srgbClr val="FFFFFF"/>
                </a:solidFill>
                <a:cs typeface="Arial" pitchFamily="34" charset="0"/>
              </a:rPr>
              <a:t>Available with Oracle Database 12c, and Only with Oracle Storage</a:t>
            </a:r>
            <a:r>
              <a:rPr lang="en-US" sz="2000" b="1" dirty="0" smtClean="0">
                <a:solidFill>
                  <a:srgbClr val="FFFFFF"/>
                </a:solidFill>
                <a:cs typeface="Arial" pitchFamily="34" charset="0"/>
              </a:rPr>
              <a:t> </a:t>
            </a:r>
          </a:p>
        </p:txBody>
      </p:sp>
      <p:sp>
        <p:nvSpPr>
          <p:cNvPr id="56" name="Text Placeholder 4"/>
          <p:cNvSpPr txBox="1">
            <a:spLocks/>
          </p:cNvSpPr>
          <p:nvPr/>
        </p:nvSpPr>
        <p:spPr>
          <a:xfrm>
            <a:off x="141518" y="1059044"/>
            <a:ext cx="3037114" cy="2430068"/>
          </a:xfrm>
          <a:prstGeom prst="rect">
            <a:avLst/>
          </a:prstGeom>
        </p:spPr>
        <p:txBody>
          <a:bodyPr/>
          <a:lstStyle/>
          <a:p>
            <a:pPr marL="212514" indent="-212514" fontAlgn="base">
              <a:spcBef>
                <a:spcPts val="1200"/>
              </a:spcBef>
              <a:buClr>
                <a:srgbClr val="FF1414"/>
              </a:buClr>
              <a:defRPr/>
            </a:pPr>
            <a:r>
              <a:rPr lang="en-US" b="1" dirty="0" smtClean="0">
                <a:solidFill>
                  <a:srgbClr val="000000"/>
                </a:solidFill>
                <a:ea typeface="ＭＳ Ｐゴシック" pitchFamily="34" charset="-128"/>
                <a:cs typeface="ＭＳ Ｐゴシック" pitchFamily="127" charset="-128"/>
              </a:rPr>
              <a:t>Real World Results</a:t>
            </a:r>
          </a:p>
          <a:p>
            <a:pPr marL="212514" indent="-212514" fontAlgn="base">
              <a:spcBef>
                <a:spcPts val="1200"/>
              </a:spcBef>
              <a:buClr>
                <a:srgbClr val="FF1414"/>
              </a:buClr>
              <a:buFont typeface="Arial" pitchFamily="34" charset="0"/>
              <a:buChar char="•"/>
              <a:defRPr/>
            </a:pPr>
            <a:r>
              <a:rPr lang="en-US" sz="1600" dirty="0" smtClean="0">
                <a:solidFill>
                  <a:srgbClr val="000000"/>
                </a:solidFill>
                <a:ea typeface="ＭＳ Ｐゴシック" pitchFamily="34" charset="-128"/>
                <a:cs typeface="ＭＳ Ｐゴシック" pitchFamily="127" charset="-128"/>
              </a:rPr>
              <a:t>Trials on queries and large customer tables in retail, financial and telco</a:t>
            </a:r>
          </a:p>
          <a:p>
            <a:pPr marL="212514" indent="-212514" fontAlgn="base">
              <a:spcBef>
                <a:spcPts val="1200"/>
              </a:spcBef>
              <a:buClr>
                <a:srgbClr val="FF1414"/>
              </a:buClr>
              <a:buFont typeface="Arial" pitchFamily="34" charset="0"/>
              <a:buChar char="•"/>
              <a:defRPr/>
            </a:pPr>
            <a:r>
              <a:rPr lang="en-US" sz="1600" dirty="0" smtClean="0">
                <a:solidFill>
                  <a:srgbClr val="000000"/>
                </a:solidFill>
                <a:ea typeface="ＭＳ Ｐゴシック" pitchFamily="34" charset="-128"/>
                <a:cs typeface="ＭＳ Ｐゴシック" pitchFamily="127" charset="-128"/>
              </a:rPr>
              <a:t>Up to 50x compression</a:t>
            </a:r>
          </a:p>
          <a:p>
            <a:pPr marL="212514" indent="-212514" fontAlgn="base">
              <a:spcBef>
                <a:spcPts val="1200"/>
              </a:spcBef>
              <a:buClr>
                <a:srgbClr val="FF1414"/>
              </a:buClr>
              <a:buFont typeface="Arial" pitchFamily="34" charset="0"/>
              <a:buChar char="•"/>
              <a:defRPr/>
            </a:pPr>
            <a:r>
              <a:rPr lang="en-US" sz="1600" dirty="0" smtClean="0">
                <a:solidFill>
                  <a:srgbClr val="000000"/>
                </a:solidFill>
                <a:ea typeface="ＭＳ Ｐゴシック" pitchFamily="34" charset="-128"/>
                <a:cs typeface="ＭＳ Ｐゴシック" pitchFamily="127" charset="-128"/>
              </a:rPr>
              <a:t>3x to 8x faster queries</a:t>
            </a:r>
          </a:p>
          <a:p>
            <a:pPr marL="212514" indent="-212514" fontAlgn="base">
              <a:spcBef>
                <a:spcPts val="1200"/>
              </a:spcBef>
              <a:buClr>
                <a:srgbClr val="FF1414"/>
              </a:buClr>
              <a:buFont typeface="Arial" pitchFamily="34" charset="0"/>
              <a:buChar char="•"/>
              <a:defRPr/>
            </a:pPr>
            <a:r>
              <a:rPr lang="en-US" sz="1600" dirty="0" smtClean="0">
                <a:solidFill>
                  <a:srgbClr val="000000"/>
                </a:solidFill>
                <a:ea typeface="ＭＳ Ｐゴシック" pitchFamily="34" charset="-128"/>
                <a:cs typeface="ＭＳ Ｐゴシック" pitchFamily="127" charset="-128"/>
              </a:rPr>
              <a:t>Increased performance for most data warehouse and data protection workloads</a:t>
            </a:r>
            <a:endParaRPr lang="en-US" sz="1050" dirty="0" smtClean="0">
              <a:solidFill>
                <a:srgbClr val="000000"/>
              </a:solidFill>
              <a:ea typeface="ＭＳ Ｐゴシック" pitchFamily="34" charset="-128"/>
              <a:cs typeface="ＭＳ Ｐゴシック" pitchFamily="127" charset="-128"/>
            </a:endParaRPr>
          </a:p>
        </p:txBody>
      </p:sp>
      <p:sp>
        <p:nvSpPr>
          <p:cNvPr id="66562" name="AutoShape 2"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64" name="AutoShape 4"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66" name="AutoShape 6"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68" name="AutoShape 8"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70" name="AutoShape 10"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72" name="AutoShape 12"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74" name="AutoShape 14"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6576" name="AutoShape 16" descr="imap://m%2Ebrown%40oracle%2Ecom@stbeehive.oracle.com:993/fetch%3EUID%3E/INBOX%3E77829?part=1.2.2&amp;filename=ccdidicb.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pitchFamily="34" charset="0"/>
            </a:endParaRPr>
          </a:p>
        </p:txBody>
      </p:sp>
      <p:sp>
        <p:nvSpPr>
          <p:cNvPr id="62" name="TextBox 1"/>
          <p:cNvSpPr txBox="1"/>
          <p:nvPr/>
        </p:nvSpPr>
        <p:spPr>
          <a:xfrm>
            <a:off x="7427622" y="3802255"/>
            <a:ext cx="567784"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en-US" dirty="0" smtClean="0">
                <a:solidFill>
                  <a:srgbClr val="424545"/>
                </a:solidFill>
              </a:rPr>
              <a:t>Query</a:t>
            </a:r>
          </a:p>
        </p:txBody>
      </p:sp>
      <p:graphicFrame>
        <p:nvGraphicFramePr>
          <p:cNvPr id="50" name="Chart 49"/>
          <p:cNvGraphicFramePr/>
          <p:nvPr/>
        </p:nvGraphicFramePr>
        <p:xfrm>
          <a:off x="3211286" y="1219202"/>
          <a:ext cx="2928257" cy="27758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08290671"/>
      </p:ext>
    </p:extLst>
  </p:cSld>
  <p:clrMapOvr>
    <a:masterClrMapping/>
  </p:clrMapOvr>
  <p:transition spd="med">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2761" y="1571843"/>
            <a:ext cx="4061339" cy="1100723"/>
          </a:xfrm>
        </p:spPr>
        <p:txBody>
          <a:bodyPr/>
          <a:lstStyle/>
          <a:p>
            <a:r>
              <a:rPr lang="en-US" dirty="0" smtClean="0"/>
              <a:t>Oracle PartnerNetwork</a:t>
            </a:r>
            <a:br>
              <a:rPr lang="en-US" dirty="0" smtClean="0"/>
            </a:br>
            <a:r>
              <a:rPr lang="en-US" dirty="0" smtClean="0">
                <a:solidFill>
                  <a:schemeClr val="accent1"/>
                </a:solidFill>
              </a:rPr>
              <a:t>Delivering Value </a:t>
            </a:r>
            <a:endParaRPr lang="en-US" dirty="0">
              <a:solidFill>
                <a:schemeClr val="accent1"/>
              </a:solidFill>
            </a:endParaRPr>
          </a:p>
        </p:txBody>
      </p:sp>
      <p:pic>
        <p:nvPicPr>
          <p:cNvPr id="5" name="Picture Placeholder 4" descr="ph_ind_buslife_005_cropped.jpg"/>
          <p:cNvPicPr>
            <a:picLocks noGrp="1" noChangeAspect="1"/>
          </p:cNvPicPr>
          <p:nvPr>
            <p:ph type="pic" sz="quarter" idx="12"/>
          </p:nvPr>
        </p:nvPicPr>
        <p:blipFill>
          <a:blip r:embed="rId3" cstate="print"/>
          <a:srcRect l="22222" r="22222"/>
          <a:stretch>
            <a:fillRect/>
          </a:stretch>
        </p:blipFill>
        <p:spPr/>
      </p:pic>
    </p:spTree>
    <p:extLst>
      <p:ext uri="{BB962C8B-B14F-4D97-AF65-F5344CB8AC3E}">
        <p14:creationId xmlns:p14="http://schemas.microsoft.com/office/powerpoint/2010/main" val="169607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3"/>
          <p:cNvGrpSpPr/>
          <p:nvPr/>
        </p:nvGrpSpPr>
        <p:grpSpPr>
          <a:xfrm>
            <a:off x="490724" y="1060825"/>
            <a:ext cx="2361955" cy="3120314"/>
            <a:chOff x="10156353" y="1891271"/>
            <a:chExt cx="2711671" cy="3582314"/>
          </a:xfrm>
        </p:grpSpPr>
        <p:sp>
          <p:nvSpPr>
            <p:cNvPr id="45" name="Freeform 72"/>
            <p:cNvSpPr>
              <a:spLocks/>
            </p:cNvSpPr>
            <p:nvPr/>
          </p:nvSpPr>
          <p:spPr bwMode="auto">
            <a:xfrm>
              <a:off x="11185732" y="2204865"/>
              <a:ext cx="2118" cy="7412"/>
            </a:xfrm>
            <a:custGeom>
              <a:avLst/>
              <a:gdLst>
                <a:gd name="T0" fmla="*/ 0 w 1"/>
                <a:gd name="T1" fmla="*/ 0 h 3"/>
                <a:gd name="T2" fmla="*/ 1 w 1"/>
                <a:gd name="T3" fmla="*/ 2 h 3"/>
                <a:gd name="T4" fmla="*/ 1 w 1"/>
                <a:gd name="T5" fmla="*/ 2 h 3"/>
                <a:gd name="T6" fmla="*/ 1 w 1"/>
                <a:gd name="T7" fmla="*/ 1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1"/>
                    <a:pt x="0" y="1"/>
                    <a:pt x="1" y="2"/>
                  </a:cubicBezTo>
                  <a:cubicBezTo>
                    <a:pt x="1" y="3"/>
                    <a:pt x="1" y="3"/>
                    <a:pt x="1" y="2"/>
                  </a:cubicBezTo>
                  <a:cubicBezTo>
                    <a:pt x="1" y="2"/>
                    <a:pt x="1" y="2"/>
                    <a:pt x="1" y="1"/>
                  </a:cubicBezTo>
                  <a:cubicBezTo>
                    <a:pt x="0" y="0"/>
                    <a:pt x="0" y="0"/>
                    <a:pt x="0" y="0"/>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46" name="Freeform 76"/>
            <p:cNvSpPr>
              <a:spLocks/>
            </p:cNvSpPr>
            <p:nvPr/>
          </p:nvSpPr>
          <p:spPr bwMode="auto">
            <a:xfrm>
              <a:off x="11240789" y="2114867"/>
              <a:ext cx="2118" cy="10588"/>
            </a:xfrm>
            <a:custGeom>
              <a:avLst/>
              <a:gdLst>
                <a:gd name="T0" fmla="*/ 1 w 1"/>
                <a:gd name="T1" fmla="*/ 1 h 4"/>
                <a:gd name="T2" fmla="*/ 1 w 1"/>
                <a:gd name="T3" fmla="*/ 4 h 4"/>
                <a:gd name="T4" fmla="*/ 1 w 1"/>
                <a:gd name="T5" fmla="*/ 3 h 4"/>
                <a:gd name="T6" fmla="*/ 1 w 1"/>
                <a:gd name="T7" fmla="*/ 1 h 4"/>
                <a:gd name="T8" fmla="*/ 1 w 1"/>
                <a:gd name="T9" fmla="*/ 1 h 4"/>
              </a:gdLst>
              <a:ahLst/>
              <a:cxnLst>
                <a:cxn ang="0">
                  <a:pos x="T0" y="T1"/>
                </a:cxn>
                <a:cxn ang="0">
                  <a:pos x="T2" y="T3"/>
                </a:cxn>
                <a:cxn ang="0">
                  <a:pos x="T4" y="T5"/>
                </a:cxn>
                <a:cxn ang="0">
                  <a:pos x="T6" y="T7"/>
                </a:cxn>
                <a:cxn ang="0">
                  <a:pos x="T8" y="T9"/>
                </a:cxn>
              </a:cxnLst>
              <a:rect l="0" t="0" r="r" b="b"/>
              <a:pathLst>
                <a:path w="1" h="4">
                  <a:moveTo>
                    <a:pt x="1" y="1"/>
                  </a:moveTo>
                  <a:cubicBezTo>
                    <a:pt x="1" y="1"/>
                    <a:pt x="1" y="2"/>
                    <a:pt x="1" y="4"/>
                  </a:cubicBezTo>
                  <a:cubicBezTo>
                    <a:pt x="0" y="4"/>
                    <a:pt x="1" y="4"/>
                    <a:pt x="1" y="3"/>
                  </a:cubicBezTo>
                  <a:cubicBezTo>
                    <a:pt x="1" y="2"/>
                    <a:pt x="1" y="1"/>
                    <a:pt x="1" y="1"/>
                  </a:cubicBezTo>
                  <a:cubicBezTo>
                    <a:pt x="1" y="0"/>
                    <a:pt x="1" y="0"/>
                    <a:pt x="1" y="1"/>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47" name="Freeform 77"/>
            <p:cNvSpPr>
              <a:spLocks/>
            </p:cNvSpPr>
            <p:nvPr/>
          </p:nvSpPr>
          <p:spPr bwMode="auto">
            <a:xfrm>
              <a:off x="11250318" y="2114867"/>
              <a:ext cx="0" cy="211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48" name="Freeform 79"/>
            <p:cNvSpPr>
              <a:spLocks/>
            </p:cNvSpPr>
            <p:nvPr/>
          </p:nvSpPr>
          <p:spPr bwMode="auto">
            <a:xfrm>
              <a:off x="10652098" y="2026987"/>
              <a:ext cx="18000" cy="100586"/>
            </a:xfrm>
            <a:custGeom>
              <a:avLst/>
              <a:gdLst>
                <a:gd name="T0" fmla="*/ 7 w 7"/>
                <a:gd name="T1" fmla="*/ 2 h 40"/>
                <a:gd name="T2" fmla="*/ 5 w 7"/>
                <a:gd name="T3" fmla="*/ 1 h 40"/>
                <a:gd name="T4" fmla="*/ 4 w 7"/>
                <a:gd name="T5" fmla="*/ 1 h 40"/>
                <a:gd name="T6" fmla="*/ 3 w 7"/>
                <a:gd name="T7" fmla="*/ 6 h 40"/>
                <a:gd name="T8" fmla="*/ 3 w 7"/>
                <a:gd name="T9" fmla="*/ 9 h 40"/>
                <a:gd name="T10" fmla="*/ 3 w 7"/>
                <a:gd name="T11" fmla="*/ 17 h 40"/>
                <a:gd name="T12" fmla="*/ 1 w 7"/>
                <a:gd name="T13" fmla="*/ 23 h 40"/>
                <a:gd name="T14" fmla="*/ 2 w 7"/>
                <a:gd name="T15" fmla="*/ 25 h 40"/>
                <a:gd name="T16" fmla="*/ 4 w 7"/>
                <a:gd name="T17" fmla="*/ 35 h 40"/>
                <a:gd name="T18" fmla="*/ 4 w 7"/>
                <a:gd name="T19" fmla="*/ 37 h 40"/>
                <a:gd name="T20" fmla="*/ 5 w 7"/>
                <a:gd name="T21" fmla="*/ 39 h 40"/>
                <a:gd name="T22" fmla="*/ 6 w 7"/>
                <a:gd name="T23" fmla="*/ 39 h 40"/>
                <a:gd name="T24" fmla="*/ 6 w 7"/>
                <a:gd name="T25" fmla="*/ 30 h 40"/>
                <a:gd name="T26" fmla="*/ 6 w 7"/>
                <a:gd name="T27" fmla="*/ 25 h 40"/>
                <a:gd name="T28" fmla="*/ 5 w 7"/>
                <a:gd name="T29" fmla="*/ 20 h 40"/>
                <a:gd name="T30" fmla="*/ 6 w 7"/>
                <a:gd name="T31" fmla="*/ 13 h 40"/>
                <a:gd name="T32" fmla="*/ 7 w 7"/>
                <a:gd name="T33" fmla="*/ 9 h 40"/>
                <a:gd name="T34" fmla="*/ 6 w 7"/>
                <a:gd name="T35" fmla="*/ 7 h 40"/>
                <a:gd name="T36" fmla="*/ 6 w 7"/>
                <a:gd name="T37" fmla="*/ 5 h 40"/>
                <a:gd name="T38" fmla="*/ 7 w 7"/>
                <a:gd name="T39" fmla="*/ 2 h 40"/>
                <a:gd name="T40" fmla="*/ 7 w 7"/>
                <a:gd name="T41"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40">
                  <a:moveTo>
                    <a:pt x="7" y="2"/>
                  </a:moveTo>
                  <a:cubicBezTo>
                    <a:pt x="6" y="2"/>
                    <a:pt x="5" y="2"/>
                    <a:pt x="5" y="1"/>
                  </a:cubicBezTo>
                  <a:cubicBezTo>
                    <a:pt x="4" y="0"/>
                    <a:pt x="4" y="0"/>
                    <a:pt x="4" y="1"/>
                  </a:cubicBezTo>
                  <a:cubicBezTo>
                    <a:pt x="4" y="3"/>
                    <a:pt x="5" y="4"/>
                    <a:pt x="3" y="6"/>
                  </a:cubicBezTo>
                  <a:cubicBezTo>
                    <a:pt x="3" y="7"/>
                    <a:pt x="3" y="7"/>
                    <a:pt x="3" y="9"/>
                  </a:cubicBezTo>
                  <a:cubicBezTo>
                    <a:pt x="3" y="9"/>
                    <a:pt x="4" y="10"/>
                    <a:pt x="3" y="17"/>
                  </a:cubicBezTo>
                  <a:cubicBezTo>
                    <a:pt x="3" y="18"/>
                    <a:pt x="4" y="18"/>
                    <a:pt x="1" y="23"/>
                  </a:cubicBezTo>
                  <a:cubicBezTo>
                    <a:pt x="0" y="24"/>
                    <a:pt x="3" y="24"/>
                    <a:pt x="2" y="25"/>
                  </a:cubicBezTo>
                  <a:cubicBezTo>
                    <a:pt x="2" y="26"/>
                    <a:pt x="2" y="26"/>
                    <a:pt x="4" y="35"/>
                  </a:cubicBezTo>
                  <a:cubicBezTo>
                    <a:pt x="4" y="36"/>
                    <a:pt x="3" y="35"/>
                    <a:pt x="4" y="37"/>
                  </a:cubicBezTo>
                  <a:cubicBezTo>
                    <a:pt x="4" y="37"/>
                    <a:pt x="5" y="38"/>
                    <a:pt x="5" y="39"/>
                  </a:cubicBezTo>
                  <a:cubicBezTo>
                    <a:pt x="6" y="40"/>
                    <a:pt x="6" y="40"/>
                    <a:pt x="6" y="39"/>
                  </a:cubicBezTo>
                  <a:cubicBezTo>
                    <a:pt x="6" y="37"/>
                    <a:pt x="6" y="31"/>
                    <a:pt x="6" y="30"/>
                  </a:cubicBezTo>
                  <a:cubicBezTo>
                    <a:pt x="6" y="30"/>
                    <a:pt x="5" y="27"/>
                    <a:pt x="6" y="25"/>
                  </a:cubicBezTo>
                  <a:cubicBezTo>
                    <a:pt x="6" y="24"/>
                    <a:pt x="5" y="24"/>
                    <a:pt x="5" y="20"/>
                  </a:cubicBezTo>
                  <a:cubicBezTo>
                    <a:pt x="6" y="19"/>
                    <a:pt x="6" y="14"/>
                    <a:pt x="6" y="13"/>
                  </a:cubicBezTo>
                  <a:cubicBezTo>
                    <a:pt x="7" y="12"/>
                    <a:pt x="7" y="9"/>
                    <a:pt x="7" y="9"/>
                  </a:cubicBezTo>
                  <a:cubicBezTo>
                    <a:pt x="7" y="8"/>
                    <a:pt x="6" y="8"/>
                    <a:pt x="6" y="7"/>
                  </a:cubicBezTo>
                  <a:cubicBezTo>
                    <a:pt x="6" y="6"/>
                    <a:pt x="6" y="7"/>
                    <a:pt x="6" y="5"/>
                  </a:cubicBezTo>
                  <a:cubicBezTo>
                    <a:pt x="6" y="4"/>
                    <a:pt x="7" y="3"/>
                    <a:pt x="7" y="2"/>
                  </a:cubicBezTo>
                  <a:cubicBezTo>
                    <a:pt x="7" y="2"/>
                    <a:pt x="7" y="2"/>
                    <a:pt x="7" y="2"/>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49" name="Freeform 80"/>
            <p:cNvSpPr>
              <a:spLocks/>
            </p:cNvSpPr>
            <p:nvPr/>
          </p:nvSpPr>
          <p:spPr bwMode="auto">
            <a:xfrm>
              <a:off x="10667980" y="2032281"/>
              <a:ext cx="7412" cy="14823"/>
            </a:xfrm>
            <a:custGeom>
              <a:avLst/>
              <a:gdLst>
                <a:gd name="T0" fmla="*/ 2 w 3"/>
                <a:gd name="T1" fmla="*/ 0 h 6"/>
                <a:gd name="T2" fmla="*/ 0 w 3"/>
                <a:gd name="T3" fmla="*/ 3 h 6"/>
                <a:gd name="T4" fmla="*/ 1 w 3"/>
                <a:gd name="T5" fmla="*/ 5 h 6"/>
                <a:gd name="T6" fmla="*/ 1 w 3"/>
                <a:gd name="T7" fmla="*/ 6 h 6"/>
                <a:gd name="T8" fmla="*/ 2 w 3"/>
                <a:gd name="T9" fmla="*/ 4 h 6"/>
                <a:gd name="T10" fmla="*/ 2 w 3"/>
                <a:gd name="T11" fmla="*/ 3 h 6"/>
                <a:gd name="T12" fmla="*/ 2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2" y="0"/>
                  </a:moveTo>
                  <a:cubicBezTo>
                    <a:pt x="1" y="0"/>
                    <a:pt x="1" y="0"/>
                    <a:pt x="0" y="3"/>
                  </a:cubicBezTo>
                  <a:cubicBezTo>
                    <a:pt x="0" y="4"/>
                    <a:pt x="1" y="5"/>
                    <a:pt x="1" y="5"/>
                  </a:cubicBezTo>
                  <a:cubicBezTo>
                    <a:pt x="0" y="6"/>
                    <a:pt x="1" y="6"/>
                    <a:pt x="1" y="6"/>
                  </a:cubicBezTo>
                  <a:cubicBezTo>
                    <a:pt x="1" y="6"/>
                    <a:pt x="2" y="5"/>
                    <a:pt x="2" y="4"/>
                  </a:cubicBezTo>
                  <a:cubicBezTo>
                    <a:pt x="3" y="4"/>
                    <a:pt x="2" y="4"/>
                    <a:pt x="2" y="3"/>
                  </a:cubicBezTo>
                  <a:cubicBezTo>
                    <a:pt x="3" y="0"/>
                    <a:pt x="3" y="0"/>
                    <a:pt x="2" y="0"/>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50" name="Freeform 81"/>
            <p:cNvSpPr>
              <a:spLocks/>
            </p:cNvSpPr>
            <p:nvPr/>
          </p:nvSpPr>
          <p:spPr bwMode="auto">
            <a:xfrm>
              <a:off x="11062911" y="2375331"/>
              <a:ext cx="12706" cy="7412"/>
            </a:xfrm>
            <a:custGeom>
              <a:avLst/>
              <a:gdLst>
                <a:gd name="T0" fmla="*/ 4 w 5"/>
                <a:gd name="T1" fmla="*/ 2 h 3"/>
                <a:gd name="T2" fmla="*/ 1 w 5"/>
                <a:gd name="T3" fmla="*/ 1 h 3"/>
                <a:gd name="T4" fmla="*/ 1 w 5"/>
                <a:gd name="T5" fmla="*/ 1 h 3"/>
                <a:gd name="T6" fmla="*/ 4 w 5"/>
                <a:gd name="T7" fmla="*/ 3 h 3"/>
                <a:gd name="T8" fmla="*/ 4 w 5"/>
                <a:gd name="T9" fmla="*/ 2 h 3"/>
              </a:gdLst>
              <a:ahLst/>
              <a:cxnLst>
                <a:cxn ang="0">
                  <a:pos x="T0" y="T1"/>
                </a:cxn>
                <a:cxn ang="0">
                  <a:pos x="T2" y="T3"/>
                </a:cxn>
                <a:cxn ang="0">
                  <a:pos x="T4" y="T5"/>
                </a:cxn>
                <a:cxn ang="0">
                  <a:pos x="T6" y="T7"/>
                </a:cxn>
                <a:cxn ang="0">
                  <a:pos x="T8" y="T9"/>
                </a:cxn>
              </a:cxnLst>
              <a:rect l="0" t="0" r="r" b="b"/>
              <a:pathLst>
                <a:path w="5" h="3">
                  <a:moveTo>
                    <a:pt x="4" y="2"/>
                  </a:moveTo>
                  <a:cubicBezTo>
                    <a:pt x="4" y="1"/>
                    <a:pt x="2" y="1"/>
                    <a:pt x="1" y="1"/>
                  </a:cubicBezTo>
                  <a:cubicBezTo>
                    <a:pt x="0" y="0"/>
                    <a:pt x="0" y="1"/>
                    <a:pt x="1" y="1"/>
                  </a:cubicBezTo>
                  <a:cubicBezTo>
                    <a:pt x="2" y="2"/>
                    <a:pt x="3" y="3"/>
                    <a:pt x="4" y="3"/>
                  </a:cubicBezTo>
                  <a:cubicBezTo>
                    <a:pt x="4" y="3"/>
                    <a:pt x="5" y="2"/>
                    <a:pt x="4" y="2"/>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59" name="Freeform 82"/>
            <p:cNvSpPr>
              <a:spLocks/>
            </p:cNvSpPr>
            <p:nvPr/>
          </p:nvSpPr>
          <p:spPr bwMode="auto">
            <a:xfrm>
              <a:off x="10927385" y="2388037"/>
              <a:ext cx="8470" cy="7412"/>
            </a:xfrm>
            <a:custGeom>
              <a:avLst/>
              <a:gdLst>
                <a:gd name="T0" fmla="*/ 3 w 3"/>
                <a:gd name="T1" fmla="*/ 0 h 3"/>
                <a:gd name="T2" fmla="*/ 1 w 3"/>
                <a:gd name="T3" fmla="*/ 2 h 3"/>
                <a:gd name="T4" fmla="*/ 2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0"/>
                    <a:pt x="1" y="2"/>
                    <a:pt x="1" y="2"/>
                  </a:cubicBezTo>
                  <a:cubicBezTo>
                    <a:pt x="1" y="3"/>
                    <a:pt x="0" y="3"/>
                    <a:pt x="2" y="2"/>
                  </a:cubicBezTo>
                  <a:cubicBezTo>
                    <a:pt x="3" y="1"/>
                    <a:pt x="3" y="0"/>
                    <a:pt x="3" y="0"/>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0" name="Freeform 83"/>
            <p:cNvSpPr>
              <a:spLocks/>
            </p:cNvSpPr>
            <p:nvPr/>
          </p:nvSpPr>
          <p:spPr bwMode="auto">
            <a:xfrm>
              <a:off x="10923150" y="2395449"/>
              <a:ext cx="4235" cy="2118"/>
            </a:xfrm>
            <a:custGeom>
              <a:avLst/>
              <a:gdLst>
                <a:gd name="T0" fmla="*/ 1 w 2"/>
                <a:gd name="T1" fmla="*/ 0 h 1"/>
                <a:gd name="T2" fmla="*/ 0 w 2"/>
                <a:gd name="T3" fmla="*/ 1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0" y="1"/>
                    <a:pt x="0" y="1"/>
                  </a:cubicBezTo>
                  <a:cubicBezTo>
                    <a:pt x="1" y="1"/>
                    <a:pt x="1" y="1"/>
                    <a:pt x="1" y="1"/>
                  </a:cubicBezTo>
                  <a:cubicBezTo>
                    <a:pt x="2" y="0"/>
                    <a:pt x="2" y="0"/>
                    <a:pt x="1" y="0"/>
                  </a:cubicBezTo>
                  <a:close/>
                </a:path>
              </a:pathLst>
            </a:custGeom>
            <a:solidFill>
              <a:srgbClr val="000000">
                <a:lumMod val="65000"/>
                <a:lumOff val="35000"/>
              </a:srgbClr>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1" name="Freeform 8"/>
            <p:cNvSpPr>
              <a:spLocks/>
            </p:cNvSpPr>
            <p:nvPr/>
          </p:nvSpPr>
          <p:spPr bwMode="auto">
            <a:xfrm>
              <a:off x="10156353" y="1891271"/>
              <a:ext cx="1041406" cy="3427194"/>
            </a:xfrm>
            <a:custGeom>
              <a:avLst/>
              <a:gdLst>
                <a:gd name="T0" fmla="*/ 819 w 855"/>
                <a:gd name="T1" fmla="*/ 1149 h 2825"/>
                <a:gd name="T2" fmla="*/ 835 w 855"/>
                <a:gd name="T3" fmla="*/ 1072 h 2825"/>
                <a:gd name="T4" fmla="*/ 800 w 855"/>
                <a:gd name="T5" fmla="*/ 845 h 2825"/>
                <a:gd name="T6" fmla="*/ 743 w 855"/>
                <a:gd name="T7" fmla="*/ 576 h 2825"/>
                <a:gd name="T8" fmla="*/ 546 w 855"/>
                <a:gd name="T9" fmla="*/ 456 h 2825"/>
                <a:gd name="T10" fmla="*/ 591 w 855"/>
                <a:gd name="T11" fmla="*/ 306 h 2825"/>
                <a:gd name="T12" fmla="*/ 584 w 855"/>
                <a:gd name="T13" fmla="*/ 238 h 2825"/>
                <a:gd name="T14" fmla="*/ 557 w 855"/>
                <a:gd name="T15" fmla="*/ 131 h 2825"/>
                <a:gd name="T16" fmla="*/ 342 w 855"/>
                <a:gd name="T17" fmla="*/ 268 h 2825"/>
                <a:gd name="T18" fmla="*/ 360 w 855"/>
                <a:gd name="T19" fmla="*/ 348 h 2825"/>
                <a:gd name="T20" fmla="*/ 349 w 855"/>
                <a:gd name="T21" fmla="*/ 459 h 2825"/>
                <a:gd name="T22" fmla="*/ 75 w 855"/>
                <a:gd name="T23" fmla="*/ 654 h 2825"/>
                <a:gd name="T24" fmla="*/ 4 w 855"/>
                <a:gd name="T25" fmla="*/ 1036 h 2825"/>
                <a:gd name="T26" fmla="*/ 48 w 855"/>
                <a:gd name="T27" fmla="*/ 1248 h 2825"/>
                <a:gd name="T28" fmla="*/ 167 w 855"/>
                <a:gd name="T29" fmla="*/ 1405 h 2825"/>
                <a:gd name="T30" fmla="*/ 161 w 855"/>
                <a:gd name="T31" fmla="*/ 1752 h 2825"/>
                <a:gd name="T32" fmla="*/ 133 w 855"/>
                <a:gd name="T33" fmla="*/ 2300 h 2825"/>
                <a:gd name="T34" fmla="*/ 150 w 855"/>
                <a:gd name="T35" fmla="*/ 2437 h 2825"/>
                <a:gd name="T36" fmla="*/ 166 w 855"/>
                <a:gd name="T37" fmla="*/ 2583 h 2825"/>
                <a:gd name="T38" fmla="*/ 188 w 855"/>
                <a:gd name="T39" fmla="*/ 2725 h 2825"/>
                <a:gd name="T40" fmla="*/ 344 w 855"/>
                <a:gd name="T41" fmla="*/ 2776 h 2825"/>
                <a:gd name="T42" fmla="*/ 312 w 855"/>
                <a:gd name="T43" fmla="*/ 2682 h 2825"/>
                <a:gd name="T44" fmla="*/ 313 w 855"/>
                <a:gd name="T45" fmla="*/ 2571 h 2825"/>
                <a:gd name="T46" fmla="*/ 321 w 855"/>
                <a:gd name="T47" fmla="*/ 2399 h 2825"/>
                <a:gd name="T48" fmla="*/ 322 w 855"/>
                <a:gd name="T49" fmla="*/ 2115 h 2825"/>
                <a:gd name="T50" fmla="*/ 368 w 855"/>
                <a:gd name="T51" fmla="*/ 1935 h 2825"/>
                <a:gd name="T52" fmla="*/ 461 w 855"/>
                <a:gd name="T53" fmla="*/ 1755 h 2825"/>
                <a:gd name="T54" fmla="*/ 465 w 855"/>
                <a:gd name="T55" fmla="*/ 1796 h 2825"/>
                <a:gd name="T56" fmla="*/ 474 w 855"/>
                <a:gd name="T57" fmla="*/ 2055 h 2825"/>
                <a:gd name="T58" fmla="*/ 473 w 855"/>
                <a:gd name="T59" fmla="*/ 2181 h 2825"/>
                <a:gd name="T60" fmla="*/ 464 w 855"/>
                <a:gd name="T61" fmla="*/ 2557 h 2825"/>
                <a:gd name="T62" fmla="*/ 470 w 855"/>
                <a:gd name="T63" fmla="*/ 2695 h 2825"/>
                <a:gd name="T64" fmla="*/ 612 w 855"/>
                <a:gd name="T65" fmla="*/ 2782 h 2825"/>
                <a:gd name="T66" fmla="*/ 725 w 855"/>
                <a:gd name="T67" fmla="*/ 2720 h 2825"/>
                <a:gd name="T68" fmla="*/ 626 w 855"/>
                <a:gd name="T69" fmla="*/ 2633 h 2825"/>
                <a:gd name="T70" fmla="*/ 635 w 855"/>
                <a:gd name="T71" fmla="*/ 2486 h 2825"/>
                <a:gd name="T72" fmla="*/ 672 w 855"/>
                <a:gd name="T73" fmla="*/ 2350 h 2825"/>
                <a:gd name="T74" fmla="*/ 663 w 855"/>
                <a:gd name="T75" fmla="*/ 2192 h 2825"/>
                <a:gd name="T76" fmla="*/ 663 w 855"/>
                <a:gd name="T77" fmla="*/ 2185 h 2825"/>
                <a:gd name="T78" fmla="*/ 728 w 855"/>
                <a:gd name="T79" fmla="*/ 1680 h 2825"/>
                <a:gd name="T80" fmla="*/ 812 w 855"/>
                <a:gd name="T81" fmla="*/ 1264 h 2825"/>
                <a:gd name="T82" fmla="*/ 832 w 855"/>
                <a:gd name="T83" fmla="*/ 1172 h 2825"/>
                <a:gd name="connsiteX0" fmla="*/ 9688 w 9768"/>
                <a:gd name="connsiteY0" fmla="*/ 3893 h 9730"/>
                <a:gd name="connsiteX1" fmla="*/ 9536 w 9768"/>
                <a:gd name="connsiteY1" fmla="*/ 3811 h 9730"/>
                <a:gd name="connsiteX2" fmla="*/ 9700 w 9768"/>
                <a:gd name="connsiteY2" fmla="*/ 3631 h 9730"/>
                <a:gd name="connsiteX3" fmla="*/ 9723 w 9768"/>
                <a:gd name="connsiteY3" fmla="*/ 3539 h 9730"/>
                <a:gd name="connsiteX4" fmla="*/ 9536 w 9768"/>
                <a:gd name="connsiteY4" fmla="*/ 3256 h 9730"/>
                <a:gd name="connsiteX5" fmla="*/ 9314 w 9768"/>
                <a:gd name="connsiteY5" fmla="*/ 2735 h 9730"/>
                <a:gd name="connsiteX6" fmla="*/ 9068 w 9768"/>
                <a:gd name="connsiteY6" fmla="*/ 2070 h 9730"/>
                <a:gd name="connsiteX7" fmla="*/ 8647 w 9768"/>
                <a:gd name="connsiteY7" fmla="*/ 1783 h 9730"/>
                <a:gd name="connsiteX8" fmla="*/ 7641 w 9768"/>
                <a:gd name="connsiteY8" fmla="*/ 1656 h 9730"/>
                <a:gd name="connsiteX9" fmla="*/ 6343 w 9768"/>
                <a:gd name="connsiteY9" fmla="*/ 1358 h 9730"/>
                <a:gd name="connsiteX10" fmla="*/ 6542 w 9768"/>
                <a:gd name="connsiteY10" fmla="*/ 919 h 9730"/>
                <a:gd name="connsiteX11" fmla="*/ 6869 w 9768"/>
                <a:gd name="connsiteY11" fmla="*/ 827 h 9730"/>
                <a:gd name="connsiteX12" fmla="*/ 6787 w 9768"/>
                <a:gd name="connsiteY12" fmla="*/ 668 h 9730"/>
                <a:gd name="connsiteX13" fmla="*/ 6787 w 9768"/>
                <a:gd name="connsiteY13" fmla="*/ 586 h 9730"/>
                <a:gd name="connsiteX14" fmla="*/ 6401 w 9768"/>
                <a:gd name="connsiteY14" fmla="*/ 225 h 9730"/>
                <a:gd name="connsiteX15" fmla="*/ 6472 w 9768"/>
                <a:gd name="connsiteY15" fmla="*/ 208 h 9730"/>
                <a:gd name="connsiteX16" fmla="*/ 4074 w 9768"/>
                <a:gd name="connsiteY16" fmla="*/ 204 h 9730"/>
                <a:gd name="connsiteX17" fmla="*/ 3957 w 9768"/>
                <a:gd name="connsiteY17" fmla="*/ 693 h 9730"/>
                <a:gd name="connsiteX18" fmla="*/ 3828 w 9768"/>
                <a:gd name="connsiteY18" fmla="*/ 891 h 9730"/>
                <a:gd name="connsiteX19" fmla="*/ 4168 w 9768"/>
                <a:gd name="connsiteY19" fmla="*/ 976 h 9730"/>
                <a:gd name="connsiteX20" fmla="*/ 4214 w 9768"/>
                <a:gd name="connsiteY20" fmla="*/ 1195 h 9730"/>
                <a:gd name="connsiteX21" fmla="*/ 4039 w 9768"/>
                <a:gd name="connsiteY21" fmla="*/ 1369 h 9730"/>
                <a:gd name="connsiteX22" fmla="*/ 1583 w 9768"/>
                <a:gd name="connsiteY22" fmla="*/ 1620 h 9730"/>
                <a:gd name="connsiteX23" fmla="*/ 834 w 9768"/>
                <a:gd name="connsiteY23" fmla="*/ 2059 h 9730"/>
                <a:gd name="connsiteX24" fmla="*/ 296 w 9768"/>
                <a:gd name="connsiteY24" fmla="*/ 2877 h 9730"/>
                <a:gd name="connsiteX25" fmla="*/ 4 w 9768"/>
                <a:gd name="connsiteY25" fmla="*/ 3411 h 9730"/>
                <a:gd name="connsiteX26" fmla="*/ 378 w 9768"/>
                <a:gd name="connsiteY26" fmla="*/ 3942 h 9730"/>
                <a:gd name="connsiteX27" fmla="*/ 518 w 9768"/>
                <a:gd name="connsiteY27" fmla="*/ 4162 h 9730"/>
                <a:gd name="connsiteX28" fmla="*/ 1419 w 9768"/>
                <a:gd name="connsiteY28" fmla="*/ 4671 h 9730"/>
                <a:gd name="connsiteX29" fmla="*/ 1910 w 9768"/>
                <a:gd name="connsiteY29" fmla="*/ 4717 h 9730"/>
                <a:gd name="connsiteX30" fmla="*/ 2004 w 9768"/>
                <a:gd name="connsiteY30" fmla="*/ 4848 h 9730"/>
                <a:gd name="connsiteX31" fmla="*/ 1840 w 9768"/>
                <a:gd name="connsiteY31" fmla="*/ 5946 h 9730"/>
                <a:gd name="connsiteX32" fmla="*/ 1501 w 9768"/>
                <a:gd name="connsiteY32" fmla="*/ 7889 h 9730"/>
                <a:gd name="connsiteX33" fmla="*/ 1513 w 9768"/>
                <a:gd name="connsiteY33" fmla="*/ 7886 h 9730"/>
                <a:gd name="connsiteX34" fmla="*/ 1501 w 9768"/>
                <a:gd name="connsiteY34" fmla="*/ 8059 h 9730"/>
                <a:gd name="connsiteX35" fmla="*/ 1711 w 9768"/>
                <a:gd name="connsiteY35" fmla="*/ 8371 h 9730"/>
                <a:gd name="connsiteX36" fmla="*/ 1805 w 9768"/>
                <a:gd name="connsiteY36" fmla="*/ 8632 h 9730"/>
                <a:gd name="connsiteX37" fmla="*/ 1899 w 9768"/>
                <a:gd name="connsiteY37" fmla="*/ 8887 h 9730"/>
                <a:gd name="connsiteX38" fmla="*/ 2086 w 9768"/>
                <a:gd name="connsiteY38" fmla="*/ 9089 h 9730"/>
                <a:gd name="connsiteX39" fmla="*/ 2156 w 9768"/>
                <a:gd name="connsiteY39" fmla="*/ 9390 h 9730"/>
                <a:gd name="connsiteX40" fmla="*/ 2939 w 9768"/>
                <a:gd name="connsiteY40" fmla="*/ 9719 h 9730"/>
                <a:gd name="connsiteX41" fmla="*/ 3980 w 9768"/>
                <a:gd name="connsiteY41" fmla="*/ 9571 h 9730"/>
                <a:gd name="connsiteX42" fmla="*/ 3840 w 9768"/>
                <a:gd name="connsiteY42" fmla="*/ 9386 h 9730"/>
                <a:gd name="connsiteX43" fmla="*/ 3606 w 9768"/>
                <a:gd name="connsiteY43" fmla="*/ 9238 h 9730"/>
                <a:gd name="connsiteX44" fmla="*/ 3630 w 9768"/>
                <a:gd name="connsiteY44" fmla="*/ 9036 h 9730"/>
                <a:gd name="connsiteX45" fmla="*/ 3618 w 9768"/>
                <a:gd name="connsiteY45" fmla="*/ 8845 h 9730"/>
                <a:gd name="connsiteX46" fmla="*/ 3840 w 9768"/>
                <a:gd name="connsiteY46" fmla="*/ 8572 h 9730"/>
                <a:gd name="connsiteX47" fmla="*/ 3711 w 9768"/>
                <a:gd name="connsiteY47" fmla="*/ 8236 h 9730"/>
                <a:gd name="connsiteX48" fmla="*/ 3559 w 9768"/>
                <a:gd name="connsiteY48" fmla="*/ 7797 h 9730"/>
                <a:gd name="connsiteX49" fmla="*/ 3723 w 9768"/>
                <a:gd name="connsiteY49" fmla="*/ 7231 h 9730"/>
                <a:gd name="connsiteX50" fmla="*/ 4179 w 9768"/>
                <a:gd name="connsiteY50" fmla="*/ 6732 h 9730"/>
                <a:gd name="connsiteX51" fmla="*/ 4261 w 9768"/>
                <a:gd name="connsiteY51" fmla="*/ 6594 h 9730"/>
                <a:gd name="connsiteX52" fmla="*/ 5162 w 9768"/>
                <a:gd name="connsiteY52" fmla="*/ 5663 h 9730"/>
                <a:gd name="connsiteX53" fmla="*/ 5349 w 9768"/>
                <a:gd name="connsiteY53" fmla="*/ 5956 h 9730"/>
                <a:gd name="connsiteX54" fmla="*/ 5396 w 9768"/>
                <a:gd name="connsiteY54" fmla="*/ 6102 h 9730"/>
                <a:gd name="connsiteX55" fmla="*/ 5501 w 9768"/>
                <a:gd name="connsiteY55" fmla="*/ 6491 h 9730"/>
                <a:gd name="connsiteX56" fmla="*/ 5501 w 9768"/>
                <a:gd name="connsiteY56" fmla="*/ 7018 h 9730"/>
                <a:gd name="connsiteX57" fmla="*/ 5513 w 9768"/>
                <a:gd name="connsiteY57" fmla="*/ 7036 h 9730"/>
                <a:gd name="connsiteX58" fmla="*/ 5489 w 9768"/>
                <a:gd name="connsiteY58" fmla="*/ 7464 h 9730"/>
                <a:gd name="connsiteX59" fmla="*/ 5361 w 9768"/>
                <a:gd name="connsiteY59" fmla="*/ 8165 h 9730"/>
                <a:gd name="connsiteX60" fmla="*/ 5384 w 9768"/>
                <a:gd name="connsiteY60" fmla="*/ 8795 h 9730"/>
                <a:gd name="connsiteX61" fmla="*/ 5407 w 9768"/>
                <a:gd name="connsiteY61" fmla="*/ 8962 h 9730"/>
                <a:gd name="connsiteX62" fmla="*/ 5454 w 9768"/>
                <a:gd name="connsiteY62" fmla="*/ 9284 h 9730"/>
                <a:gd name="connsiteX63" fmla="*/ 6565 w 9768"/>
                <a:gd name="connsiteY63" fmla="*/ 9461 h 9730"/>
                <a:gd name="connsiteX64" fmla="*/ 7115 w 9768"/>
                <a:gd name="connsiteY64" fmla="*/ 9592 h 9730"/>
                <a:gd name="connsiteX65" fmla="*/ 7980 w 9768"/>
                <a:gd name="connsiteY65" fmla="*/ 9631 h 9730"/>
                <a:gd name="connsiteX66" fmla="*/ 8437 w 9768"/>
                <a:gd name="connsiteY66" fmla="*/ 9372 h 9730"/>
                <a:gd name="connsiteX67" fmla="*/ 7817 w 9768"/>
                <a:gd name="connsiteY67" fmla="*/ 9231 h 9730"/>
                <a:gd name="connsiteX68" fmla="*/ 7279 w 9768"/>
                <a:gd name="connsiteY68" fmla="*/ 9064 h 9730"/>
                <a:gd name="connsiteX69" fmla="*/ 7431 w 9768"/>
                <a:gd name="connsiteY69" fmla="*/ 8760 h 9730"/>
                <a:gd name="connsiteX70" fmla="*/ 7384 w 9768"/>
                <a:gd name="connsiteY70" fmla="*/ 8544 h 9730"/>
                <a:gd name="connsiteX71" fmla="*/ 7501 w 9768"/>
                <a:gd name="connsiteY71" fmla="*/ 8286 h 9730"/>
                <a:gd name="connsiteX72" fmla="*/ 7817 w 9768"/>
                <a:gd name="connsiteY72" fmla="*/ 8063 h 9730"/>
                <a:gd name="connsiteX73" fmla="*/ 7805 w 9768"/>
                <a:gd name="connsiteY73" fmla="*/ 7783 h 9730"/>
                <a:gd name="connsiteX74" fmla="*/ 7711 w 9768"/>
                <a:gd name="connsiteY74" fmla="*/ 7503 h 9730"/>
                <a:gd name="connsiteX75" fmla="*/ 7688 w 9768"/>
                <a:gd name="connsiteY75" fmla="*/ 7479 h 9730"/>
                <a:gd name="connsiteX76" fmla="*/ 7711 w 9768"/>
                <a:gd name="connsiteY76" fmla="*/ 7479 h 9730"/>
                <a:gd name="connsiteX77" fmla="*/ 7969 w 9768"/>
                <a:gd name="connsiteY77" fmla="*/ 6969 h 9730"/>
                <a:gd name="connsiteX78" fmla="*/ 8472 w 9768"/>
                <a:gd name="connsiteY78" fmla="*/ 5691 h 9730"/>
                <a:gd name="connsiteX79" fmla="*/ 8975 w 9768"/>
                <a:gd name="connsiteY79" fmla="*/ 4675 h 9730"/>
                <a:gd name="connsiteX80" fmla="*/ 9454 w 9768"/>
                <a:gd name="connsiteY80" fmla="*/ 4218 h 9730"/>
                <a:gd name="connsiteX81" fmla="*/ 9513 w 9768"/>
                <a:gd name="connsiteY81" fmla="*/ 4109 h 9730"/>
                <a:gd name="connsiteX82" fmla="*/ 9688 w 9768"/>
                <a:gd name="connsiteY82" fmla="*/ 3893 h 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68" h="9730">
                  <a:moveTo>
                    <a:pt x="9688" y="3893"/>
                  </a:moveTo>
                  <a:cubicBezTo>
                    <a:pt x="9536" y="3868"/>
                    <a:pt x="9536" y="3811"/>
                    <a:pt x="9536" y="3811"/>
                  </a:cubicBezTo>
                  <a:cubicBezTo>
                    <a:pt x="9875" y="3772"/>
                    <a:pt x="9700" y="3631"/>
                    <a:pt x="9700" y="3631"/>
                  </a:cubicBezTo>
                  <a:cubicBezTo>
                    <a:pt x="9700" y="3567"/>
                    <a:pt x="9723" y="3539"/>
                    <a:pt x="9723" y="3539"/>
                  </a:cubicBezTo>
                  <a:cubicBezTo>
                    <a:pt x="9887" y="3425"/>
                    <a:pt x="9536" y="3256"/>
                    <a:pt x="9536" y="3256"/>
                  </a:cubicBezTo>
                  <a:cubicBezTo>
                    <a:pt x="9700" y="3188"/>
                    <a:pt x="9314" y="2735"/>
                    <a:pt x="9314" y="2735"/>
                  </a:cubicBezTo>
                  <a:cubicBezTo>
                    <a:pt x="9466" y="2477"/>
                    <a:pt x="9068" y="2070"/>
                    <a:pt x="9068" y="2070"/>
                  </a:cubicBezTo>
                  <a:cubicBezTo>
                    <a:pt x="9045" y="1829"/>
                    <a:pt x="8647" y="1783"/>
                    <a:pt x="8647" y="1783"/>
                  </a:cubicBezTo>
                  <a:lnTo>
                    <a:pt x="7641" y="1656"/>
                  </a:lnTo>
                  <a:cubicBezTo>
                    <a:pt x="6249" y="1517"/>
                    <a:pt x="6343" y="1358"/>
                    <a:pt x="6343" y="1358"/>
                  </a:cubicBezTo>
                  <a:cubicBezTo>
                    <a:pt x="6355" y="1217"/>
                    <a:pt x="6542" y="919"/>
                    <a:pt x="6542" y="919"/>
                  </a:cubicBezTo>
                  <a:cubicBezTo>
                    <a:pt x="6916" y="986"/>
                    <a:pt x="6869" y="827"/>
                    <a:pt x="6869" y="827"/>
                  </a:cubicBezTo>
                  <a:cubicBezTo>
                    <a:pt x="6916" y="625"/>
                    <a:pt x="6787" y="668"/>
                    <a:pt x="6787" y="668"/>
                  </a:cubicBezTo>
                  <a:lnTo>
                    <a:pt x="6787" y="586"/>
                  </a:lnTo>
                  <a:cubicBezTo>
                    <a:pt x="6975" y="328"/>
                    <a:pt x="6401" y="225"/>
                    <a:pt x="6401" y="225"/>
                  </a:cubicBezTo>
                  <a:lnTo>
                    <a:pt x="6472" y="208"/>
                  </a:lnTo>
                  <a:cubicBezTo>
                    <a:pt x="5723" y="-256"/>
                    <a:pt x="4074" y="204"/>
                    <a:pt x="4074" y="204"/>
                  </a:cubicBezTo>
                  <a:cubicBezTo>
                    <a:pt x="3630" y="367"/>
                    <a:pt x="3957" y="693"/>
                    <a:pt x="3957" y="693"/>
                  </a:cubicBezTo>
                  <a:cubicBezTo>
                    <a:pt x="3746" y="668"/>
                    <a:pt x="3828" y="891"/>
                    <a:pt x="3828" y="891"/>
                  </a:cubicBezTo>
                  <a:cubicBezTo>
                    <a:pt x="3805" y="997"/>
                    <a:pt x="4168" y="976"/>
                    <a:pt x="4168" y="976"/>
                  </a:cubicBezTo>
                  <a:lnTo>
                    <a:pt x="4214" y="1195"/>
                  </a:lnTo>
                  <a:cubicBezTo>
                    <a:pt x="4203" y="1252"/>
                    <a:pt x="4168" y="1319"/>
                    <a:pt x="4039" y="1369"/>
                  </a:cubicBezTo>
                  <a:cubicBezTo>
                    <a:pt x="3255" y="1599"/>
                    <a:pt x="1583" y="1620"/>
                    <a:pt x="1583" y="1620"/>
                  </a:cubicBezTo>
                  <a:cubicBezTo>
                    <a:pt x="904" y="1645"/>
                    <a:pt x="834" y="2059"/>
                    <a:pt x="834" y="2059"/>
                  </a:cubicBezTo>
                  <a:cubicBezTo>
                    <a:pt x="811" y="2116"/>
                    <a:pt x="296" y="2877"/>
                    <a:pt x="296" y="2877"/>
                  </a:cubicBezTo>
                  <a:cubicBezTo>
                    <a:pt x="226" y="2944"/>
                    <a:pt x="4" y="3411"/>
                    <a:pt x="4" y="3411"/>
                  </a:cubicBezTo>
                  <a:cubicBezTo>
                    <a:pt x="-43" y="3783"/>
                    <a:pt x="378" y="3942"/>
                    <a:pt x="378" y="3942"/>
                  </a:cubicBezTo>
                  <a:cubicBezTo>
                    <a:pt x="437" y="3978"/>
                    <a:pt x="518" y="4162"/>
                    <a:pt x="518" y="4162"/>
                  </a:cubicBezTo>
                  <a:cubicBezTo>
                    <a:pt x="553" y="4363"/>
                    <a:pt x="1419" y="4671"/>
                    <a:pt x="1419" y="4671"/>
                  </a:cubicBezTo>
                  <a:cubicBezTo>
                    <a:pt x="1606" y="4802"/>
                    <a:pt x="1910" y="4717"/>
                    <a:pt x="1910" y="4717"/>
                  </a:cubicBezTo>
                  <a:lnTo>
                    <a:pt x="2004" y="4848"/>
                  </a:lnTo>
                  <a:lnTo>
                    <a:pt x="1840" y="5946"/>
                  </a:lnTo>
                  <a:cubicBezTo>
                    <a:pt x="1828" y="6059"/>
                    <a:pt x="1501" y="7889"/>
                    <a:pt x="1501" y="7889"/>
                  </a:cubicBezTo>
                  <a:lnTo>
                    <a:pt x="1513" y="7886"/>
                  </a:lnTo>
                  <a:cubicBezTo>
                    <a:pt x="1489" y="7917"/>
                    <a:pt x="1466" y="7917"/>
                    <a:pt x="1501" y="8059"/>
                  </a:cubicBezTo>
                  <a:cubicBezTo>
                    <a:pt x="1524" y="8169"/>
                    <a:pt x="1594" y="8264"/>
                    <a:pt x="1711" y="8371"/>
                  </a:cubicBezTo>
                  <a:cubicBezTo>
                    <a:pt x="1793" y="8466"/>
                    <a:pt x="1852" y="8533"/>
                    <a:pt x="1805" y="8632"/>
                  </a:cubicBezTo>
                  <a:cubicBezTo>
                    <a:pt x="1770" y="8725"/>
                    <a:pt x="1910" y="8795"/>
                    <a:pt x="1899" y="8887"/>
                  </a:cubicBezTo>
                  <a:cubicBezTo>
                    <a:pt x="1887" y="8972"/>
                    <a:pt x="2039" y="9015"/>
                    <a:pt x="2086" y="9089"/>
                  </a:cubicBezTo>
                  <a:cubicBezTo>
                    <a:pt x="2121" y="9192"/>
                    <a:pt x="2132" y="9291"/>
                    <a:pt x="2156" y="9390"/>
                  </a:cubicBezTo>
                  <a:cubicBezTo>
                    <a:pt x="2191" y="9553"/>
                    <a:pt x="2366" y="9684"/>
                    <a:pt x="2939" y="9719"/>
                  </a:cubicBezTo>
                  <a:cubicBezTo>
                    <a:pt x="3361" y="9744"/>
                    <a:pt x="4086" y="9744"/>
                    <a:pt x="3980" y="9571"/>
                  </a:cubicBezTo>
                  <a:cubicBezTo>
                    <a:pt x="3945" y="9507"/>
                    <a:pt x="3899" y="9450"/>
                    <a:pt x="3840" y="9386"/>
                  </a:cubicBezTo>
                  <a:cubicBezTo>
                    <a:pt x="3782" y="9333"/>
                    <a:pt x="3630" y="9291"/>
                    <a:pt x="3606" y="9238"/>
                  </a:cubicBezTo>
                  <a:cubicBezTo>
                    <a:pt x="3571" y="9192"/>
                    <a:pt x="3548" y="9079"/>
                    <a:pt x="3630" y="9036"/>
                  </a:cubicBezTo>
                  <a:cubicBezTo>
                    <a:pt x="3793" y="8962"/>
                    <a:pt x="3419" y="8891"/>
                    <a:pt x="3618" y="8845"/>
                  </a:cubicBezTo>
                  <a:cubicBezTo>
                    <a:pt x="3840" y="8788"/>
                    <a:pt x="3922" y="8657"/>
                    <a:pt x="3840" y="8572"/>
                  </a:cubicBezTo>
                  <a:cubicBezTo>
                    <a:pt x="3735" y="8463"/>
                    <a:pt x="3840" y="8349"/>
                    <a:pt x="3711" y="8236"/>
                  </a:cubicBezTo>
                  <a:cubicBezTo>
                    <a:pt x="3559" y="8105"/>
                    <a:pt x="3606" y="7935"/>
                    <a:pt x="3559" y="7797"/>
                  </a:cubicBezTo>
                  <a:cubicBezTo>
                    <a:pt x="3524" y="7609"/>
                    <a:pt x="3559" y="7415"/>
                    <a:pt x="3723" y="7231"/>
                  </a:cubicBezTo>
                  <a:cubicBezTo>
                    <a:pt x="3863" y="7064"/>
                    <a:pt x="4074" y="6902"/>
                    <a:pt x="4179" y="6732"/>
                  </a:cubicBezTo>
                  <a:cubicBezTo>
                    <a:pt x="4179" y="6717"/>
                    <a:pt x="4214" y="6664"/>
                    <a:pt x="4261" y="6594"/>
                  </a:cubicBezTo>
                  <a:cubicBezTo>
                    <a:pt x="4694" y="6116"/>
                    <a:pt x="5162" y="5663"/>
                    <a:pt x="5162" y="5663"/>
                  </a:cubicBezTo>
                  <a:cubicBezTo>
                    <a:pt x="5232" y="5670"/>
                    <a:pt x="5290" y="5797"/>
                    <a:pt x="5349" y="5956"/>
                  </a:cubicBezTo>
                  <a:cubicBezTo>
                    <a:pt x="5365" y="6005"/>
                    <a:pt x="5380" y="6053"/>
                    <a:pt x="5396" y="6102"/>
                  </a:cubicBezTo>
                  <a:cubicBezTo>
                    <a:pt x="5442" y="6247"/>
                    <a:pt x="5477" y="6395"/>
                    <a:pt x="5501" y="6491"/>
                  </a:cubicBezTo>
                  <a:cubicBezTo>
                    <a:pt x="5524" y="6668"/>
                    <a:pt x="5466" y="6841"/>
                    <a:pt x="5501" y="7018"/>
                  </a:cubicBezTo>
                  <a:cubicBezTo>
                    <a:pt x="5501" y="7025"/>
                    <a:pt x="5513" y="7029"/>
                    <a:pt x="5513" y="7036"/>
                  </a:cubicBezTo>
                  <a:lnTo>
                    <a:pt x="5489" y="7464"/>
                  </a:lnTo>
                  <a:cubicBezTo>
                    <a:pt x="5489" y="7464"/>
                    <a:pt x="5442" y="7956"/>
                    <a:pt x="5361" y="8165"/>
                  </a:cubicBezTo>
                  <a:cubicBezTo>
                    <a:pt x="5290" y="8381"/>
                    <a:pt x="5314" y="8579"/>
                    <a:pt x="5384" y="8795"/>
                  </a:cubicBezTo>
                  <a:cubicBezTo>
                    <a:pt x="5407" y="8852"/>
                    <a:pt x="5407" y="8909"/>
                    <a:pt x="5407" y="8962"/>
                  </a:cubicBezTo>
                  <a:cubicBezTo>
                    <a:pt x="5325" y="9040"/>
                    <a:pt x="5325" y="9217"/>
                    <a:pt x="5454" y="9284"/>
                  </a:cubicBezTo>
                  <a:cubicBezTo>
                    <a:pt x="5653" y="9394"/>
                    <a:pt x="6261" y="9390"/>
                    <a:pt x="6565" y="9461"/>
                  </a:cubicBezTo>
                  <a:cubicBezTo>
                    <a:pt x="6787" y="9507"/>
                    <a:pt x="6846" y="9563"/>
                    <a:pt x="7115" y="9592"/>
                  </a:cubicBezTo>
                  <a:cubicBezTo>
                    <a:pt x="7384" y="9624"/>
                    <a:pt x="7688" y="9634"/>
                    <a:pt x="7980" y="9631"/>
                  </a:cubicBezTo>
                  <a:cubicBezTo>
                    <a:pt x="8495" y="9613"/>
                    <a:pt x="8799" y="9507"/>
                    <a:pt x="8437" y="9372"/>
                  </a:cubicBezTo>
                  <a:cubicBezTo>
                    <a:pt x="8261" y="9309"/>
                    <a:pt x="8039" y="9273"/>
                    <a:pt x="7817" y="9231"/>
                  </a:cubicBezTo>
                  <a:cubicBezTo>
                    <a:pt x="7594" y="9188"/>
                    <a:pt x="7454" y="9121"/>
                    <a:pt x="7279" y="9064"/>
                  </a:cubicBezTo>
                  <a:cubicBezTo>
                    <a:pt x="7068" y="8986"/>
                    <a:pt x="7279" y="8824"/>
                    <a:pt x="7431" y="8760"/>
                  </a:cubicBezTo>
                  <a:cubicBezTo>
                    <a:pt x="7524" y="8717"/>
                    <a:pt x="7396" y="8594"/>
                    <a:pt x="7384" y="8544"/>
                  </a:cubicBezTo>
                  <a:cubicBezTo>
                    <a:pt x="7372" y="8438"/>
                    <a:pt x="7349" y="8381"/>
                    <a:pt x="7501" y="8286"/>
                  </a:cubicBezTo>
                  <a:cubicBezTo>
                    <a:pt x="7630" y="8215"/>
                    <a:pt x="7782" y="8144"/>
                    <a:pt x="7817" y="8063"/>
                  </a:cubicBezTo>
                  <a:cubicBezTo>
                    <a:pt x="7875" y="7974"/>
                    <a:pt x="7805" y="7871"/>
                    <a:pt x="7805" y="7783"/>
                  </a:cubicBezTo>
                  <a:cubicBezTo>
                    <a:pt x="7805" y="7687"/>
                    <a:pt x="7793" y="7595"/>
                    <a:pt x="7711" y="7503"/>
                  </a:cubicBezTo>
                  <a:cubicBezTo>
                    <a:pt x="7700" y="7496"/>
                    <a:pt x="7688" y="7486"/>
                    <a:pt x="7688" y="7479"/>
                  </a:cubicBezTo>
                  <a:lnTo>
                    <a:pt x="7711" y="7479"/>
                  </a:lnTo>
                  <a:cubicBezTo>
                    <a:pt x="7817" y="7447"/>
                    <a:pt x="7969" y="6969"/>
                    <a:pt x="7969" y="6969"/>
                  </a:cubicBezTo>
                  <a:cubicBezTo>
                    <a:pt x="8039" y="6746"/>
                    <a:pt x="8472" y="5691"/>
                    <a:pt x="8472" y="5691"/>
                  </a:cubicBezTo>
                  <a:cubicBezTo>
                    <a:pt x="8600" y="5411"/>
                    <a:pt x="8975" y="4675"/>
                    <a:pt x="8975" y="4675"/>
                  </a:cubicBezTo>
                  <a:cubicBezTo>
                    <a:pt x="9817" y="4562"/>
                    <a:pt x="9454" y="4218"/>
                    <a:pt x="9454" y="4218"/>
                  </a:cubicBezTo>
                  <a:lnTo>
                    <a:pt x="9513" y="4109"/>
                  </a:lnTo>
                  <a:cubicBezTo>
                    <a:pt x="9957" y="4013"/>
                    <a:pt x="9688" y="3893"/>
                    <a:pt x="9688" y="3893"/>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62" name="Freeform 9"/>
            <p:cNvSpPr>
              <a:spLocks/>
            </p:cNvSpPr>
            <p:nvPr/>
          </p:nvSpPr>
          <p:spPr bwMode="auto">
            <a:xfrm>
              <a:off x="10587061" y="2338342"/>
              <a:ext cx="153070" cy="168377"/>
            </a:xfrm>
            <a:custGeom>
              <a:avLst/>
              <a:gdLst>
                <a:gd name="T0" fmla="*/ 11 w 123"/>
                <a:gd name="T1" fmla="*/ 0 h 135"/>
                <a:gd name="T2" fmla="*/ 123 w 123"/>
                <a:gd name="T3" fmla="*/ 75 h 135"/>
                <a:gd name="T4" fmla="*/ 64 w 123"/>
                <a:gd name="T5" fmla="*/ 135 h 135"/>
                <a:gd name="T6" fmla="*/ 0 w 123"/>
                <a:gd name="T7" fmla="*/ 29 h 135"/>
                <a:gd name="T8" fmla="*/ 11 w 123"/>
                <a:gd name="T9" fmla="*/ 0 h 135"/>
              </a:gdLst>
              <a:ahLst/>
              <a:cxnLst>
                <a:cxn ang="0">
                  <a:pos x="T0" y="T1"/>
                </a:cxn>
                <a:cxn ang="0">
                  <a:pos x="T2" y="T3"/>
                </a:cxn>
                <a:cxn ang="0">
                  <a:pos x="T4" y="T5"/>
                </a:cxn>
                <a:cxn ang="0">
                  <a:pos x="T6" y="T7"/>
                </a:cxn>
                <a:cxn ang="0">
                  <a:pos x="T8" y="T9"/>
                </a:cxn>
              </a:cxnLst>
              <a:rect l="0" t="0" r="r" b="b"/>
              <a:pathLst>
                <a:path w="123" h="135">
                  <a:moveTo>
                    <a:pt x="11" y="0"/>
                  </a:moveTo>
                  <a:cubicBezTo>
                    <a:pt x="11" y="0"/>
                    <a:pt x="119" y="49"/>
                    <a:pt x="123" y="75"/>
                  </a:cubicBezTo>
                  <a:cubicBezTo>
                    <a:pt x="64" y="135"/>
                    <a:pt x="64" y="135"/>
                    <a:pt x="64" y="135"/>
                  </a:cubicBezTo>
                  <a:cubicBezTo>
                    <a:pt x="64" y="135"/>
                    <a:pt x="7" y="109"/>
                    <a:pt x="0" y="29"/>
                  </a:cubicBez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3" name="Freeform 10"/>
            <p:cNvSpPr>
              <a:spLocks/>
            </p:cNvSpPr>
            <p:nvPr/>
          </p:nvSpPr>
          <p:spPr bwMode="auto">
            <a:xfrm>
              <a:off x="10585478" y="2375818"/>
              <a:ext cx="300335" cy="653452"/>
            </a:xfrm>
            <a:custGeom>
              <a:avLst/>
              <a:gdLst>
                <a:gd name="T0" fmla="*/ 207 w 241"/>
                <a:gd name="T1" fmla="*/ 40 h 524"/>
                <a:gd name="T2" fmla="*/ 235 w 241"/>
                <a:gd name="T3" fmla="*/ 366 h 524"/>
                <a:gd name="T4" fmla="*/ 207 w 241"/>
                <a:gd name="T5" fmla="*/ 524 h 524"/>
                <a:gd name="T6" fmla="*/ 45 w 241"/>
                <a:gd name="T7" fmla="*/ 137 h 524"/>
                <a:gd name="T8" fmla="*/ 0 w 241"/>
                <a:gd name="T9" fmla="*/ 0 h 524"/>
                <a:gd name="T10" fmla="*/ 88 w 241"/>
                <a:gd name="T11" fmla="*/ 67 h 524"/>
                <a:gd name="T12" fmla="*/ 185 w 241"/>
                <a:gd name="T13" fmla="*/ 51 h 524"/>
                <a:gd name="T14" fmla="*/ 207 w 241"/>
                <a:gd name="T15" fmla="*/ 40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524">
                  <a:moveTo>
                    <a:pt x="207" y="40"/>
                  </a:moveTo>
                  <a:cubicBezTo>
                    <a:pt x="241" y="113"/>
                    <a:pt x="235" y="366"/>
                    <a:pt x="235" y="366"/>
                  </a:cubicBezTo>
                  <a:cubicBezTo>
                    <a:pt x="225" y="479"/>
                    <a:pt x="207" y="524"/>
                    <a:pt x="207" y="524"/>
                  </a:cubicBezTo>
                  <a:cubicBezTo>
                    <a:pt x="203" y="489"/>
                    <a:pt x="45" y="137"/>
                    <a:pt x="45" y="137"/>
                  </a:cubicBezTo>
                  <a:cubicBezTo>
                    <a:pt x="3" y="41"/>
                    <a:pt x="0" y="0"/>
                    <a:pt x="0" y="0"/>
                  </a:cubicBezTo>
                  <a:cubicBezTo>
                    <a:pt x="88" y="67"/>
                    <a:pt x="88" y="67"/>
                    <a:pt x="88" y="67"/>
                  </a:cubicBezTo>
                  <a:cubicBezTo>
                    <a:pt x="185" y="51"/>
                    <a:pt x="185" y="51"/>
                    <a:pt x="185" y="51"/>
                  </a:cubicBezTo>
                  <a:lnTo>
                    <a:pt x="207"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4" name="Freeform 11"/>
            <p:cNvSpPr>
              <a:spLocks/>
            </p:cNvSpPr>
            <p:nvPr/>
          </p:nvSpPr>
          <p:spPr bwMode="auto">
            <a:xfrm>
              <a:off x="10770218" y="2370540"/>
              <a:ext cx="90787" cy="140930"/>
            </a:xfrm>
            <a:custGeom>
              <a:avLst/>
              <a:gdLst>
                <a:gd name="T0" fmla="*/ 0 w 73"/>
                <a:gd name="T1" fmla="*/ 53 h 113"/>
                <a:gd name="T2" fmla="*/ 51 w 73"/>
                <a:gd name="T3" fmla="*/ 0 h 113"/>
                <a:gd name="T4" fmla="*/ 62 w 73"/>
                <a:gd name="T5" fmla="*/ 113 h 113"/>
                <a:gd name="T6" fmla="*/ 0 w 73"/>
                <a:gd name="T7" fmla="*/ 53 h 113"/>
              </a:gdLst>
              <a:ahLst/>
              <a:cxnLst>
                <a:cxn ang="0">
                  <a:pos x="T0" y="T1"/>
                </a:cxn>
                <a:cxn ang="0">
                  <a:pos x="T2" y="T3"/>
                </a:cxn>
                <a:cxn ang="0">
                  <a:pos x="T4" y="T5"/>
                </a:cxn>
                <a:cxn ang="0">
                  <a:pos x="T6" y="T7"/>
                </a:cxn>
              </a:cxnLst>
              <a:rect l="0" t="0" r="r" b="b"/>
              <a:pathLst>
                <a:path w="73" h="113">
                  <a:moveTo>
                    <a:pt x="0" y="53"/>
                  </a:moveTo>
                  <a:cubicBezTo>
                    <a:pt x="0" y="53"/>
                    <a:pt x="46" y="14"/>
                    <a:pt x="51" y="0"/>
                  </a:cubicBezTo>
                  <a:cubicBezTo>
                    <a:pt x="51" y="0"/>
                    <a:pt x="73" y="66"/>
                    <a:pt x="62" y="113"/>
                  </a:cubicBezTo>
                  <a:cubicBezTo>
                    <a:pt x="62" y="113"/>
                    <a:pt x="20" y="87"/>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5" name="Freeform 12"/>
            <p:cNvSpPr>
              <a:spLocks/>
            </p:cNvSpPr>
            <p:nvPr/>
          </p:nvSpPr>
          <p:spPr bwMode="auto">
            <a:xfrm>
              <a:off x="10710045" y="2429657"/>
              <a:ext cx="157293" cy="631284"/>
            </a:xfrm>
            <a:custGeom>
              <a:avLst/>
              <a:gdLst>
                <a:gd name="T0" fmla="*/ 29 w 126"/>
                <a:gd name="T1" fmla="*/ 52 h 485"/>
                <a:gd name="T2" fmla="*/ 0 w 126"/>
                <a:gd name="T3" fmla="*/ 23 h 485"/>
                <a:gd name="T4" fmla="*/ 23 w 126"/>
                <a:gd name="T5" fmla="*/ 0 h 485"/>
                <a:gd name="T6" fmla="*/ 48 w 126"/>
                <a:gd name="T7" fmla="*/ 3 h 485"/>
                <a:gd name="T8" fmla="*/ 68 w 126"/>
                <a:gd name="T9" fmla="*/ 29 h 485"/>
                <a:gd name="T10" fmla="*/ 63 w 126"/>
                <a:gd name="T11" fmla="*/ 50 h 485"/>
                <a:gd name="T12" fmla="*/ 85 w 126"/>
                <a:gd name="T13" fmla="*/ 152 h 485"/>
                <a:gd name="T14" fmla="*/ 126 w 126"/>
                <a:gd name="T15" fmla="*/ 405 h 485"/>
                <a:gd name="T16" fmla="*/ 109 w 126"/>
                <a:gd name="T17" fmla="*/ 485 h 485"/>
                <a:gd name="T18" fmla="*/ 31 w 126"/>
                <a:gd name="T19" fmla="*/ 294 h 485"/>
                <a:gd name="T20" fmla="*/ 29 w 126"/>
                <a:gd name="T21" fmla="*/ 5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485">
                  <a:moveTo>
                    <a:pt x="29" y="52"/>
                  </a:moveTo>
                  <a:cubicBezTo>
                    <a:pt x="0" y="23"/>
                    <a:pt x="0" y="23"/>
                    <a:pt x="0" y="23"/>
                  </a:cubicBezTo>
                  <a:cubicBezTo>
                    <a:pt x="23" y="0"/>
                    <a:pt x="23" y="0"/>
                    <a:pt x="23" y="0"/>
                  </a:cubicBezTo>
                  <a:cubicBezTo>
                    <a:pt x="48" y="3"/>
                    <a:pt x="48" y="3"/>
                    <a:pt x="48" y="3"/>
                  </a:cubicBezTo>
                  <a:cubicBezTo>
                    <a:pt x="68" y="29"/>
                    <a:pt x="68" y="29"/>
                    <a:pt x="68" y="29"/>
                  </a:cubicBezTo>
                  <a:cubicBezTo>
                    <a:pt x="63" y="50"/>
                    <a:pt x="63" y="50"/>
                    <a:pt x="63" y="50"/>
                  </a:cubicBezTo>
                  <a:cubicBezTo>
                    <a:pt x="63" y="50"/>
                    <a:pt x="76" y="74"/>
                    <a:pt x="85" y="152"/>
                  </a:cubicBezTo>
                  <a:cubicBezTo>
                    <a:pt x="126" y="405"/>
                    <a:pt x="126" y="405"/>
                    <a:pt x="126" y="405"/>
                  </a:cubicBezTo>
                  <a:cubicBezTo>
                    <a:pt x="109" y="485"/>
                    <a:pt x="109" y="485"/>
                    <a:pt x="109" y="485"/>
                  </a:cubicBezTo>
                  <a:cubicBezTo>
                    <a:pt x="31" y="294"/>
                    <a:pt x="31" y="294"/>
                    <a:pt x="31" y="294"/>
                  </a:cubicBezTo>
                  <a:cubicBezTo>
                    <a:pt x="31" y="294"/>
                    <a:pt x="17" y="82"/>
                    <a:pt x="29" y="52"/>
                  </a:cubicBezTo>
                  <a:close/>
                </a:path>
              </a:pathLst>
            </a:custGeom>
            <a:gradFill>
              <a:gsLst>
                <a:gs pos="50000">
                  <a:srgbClr val="FF1414"/>
                </a:gs>
                <a:gs pos="0">
                  <a:srgbClr val="AA0000"/>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66" name="Freeform 6"/>
            <p:cNvSpPr>
              <a:spLocks/>
            </p:cNvSpPr>
            <p:nvPr/>
          </p:nvSpPr>
          <p:spPr bwMode="auto">
            <a:xfrm>
              <a:off x="11964047" y="2066796"/>
              <a:ext cx="450384" cy="677502"/>
            </a:xfrm>
            <a:custGeom>
              <a:avLst/>
              <a:gdLst>
                <a:gd name="T0" fmla="*/ 297 w 297"/>
                <a:gd name="T1" fmla="*/ 357 h 447"/>
                <a:gd name="T2" fmla="*/ 222 w 297"/>
                <a:gd name="T3" fmla="*/ 309 h 447"/>
                <a:gd name="T4" fmla="*/ 236 w 297"/>
                <a:gd name="T5" fmla="*/ 254 h 447"/>
                <a:gd name="T6" fmla="*/ 249 w 297"/>
                <a:gd name="T7" fmla="*/ 224 h 447"/>
                <a:gd name="T8" fmla="*/ 264 w 297"/>
                <a:gd name="T9" fmla="*/ 194 h 447"/>
                <a:gd name="T10" fmla="*/ 256 w 297"/>
                <a:gd name="T11" fmla="*/ 155 h 447"/>
                <a:gd name="T12" fmla="*/ 255 w 297"/>
                <a:gd name="T13" fmla="*/ 125 h 447"/>
                <a:gd name="T14" fmla="*/ 251 w 297"/>
                <a:gd name="T15" fmla="*/ 59 h 447"/>
                <a:gd name="T16" fmla="*/ 211 w 297"/>
                <a:gd name="T17" fmla="*/ 26 h 447"/>
                <a:gd name="T18" fmla="*/ 154 w 297"/>
                <a:gd name="T19" fmla="*/ 3 h 447"/>
                <a:gd name="T20" fmla="*/ 97 w 297"/>
                <a:gd name="T21" fmla="*/ 14 h 447"/>
                <a:gd name="T22" fmla="*/ 44 w 297"/>
                <a:gd name="T23" fmla="*/ 51 h 447"/>
                <a:gd name="T24" fmla="*/ 33 w 297"/>
                <a:gd name="T25" fmla="*/ 110 h 447"/>
                <a:gd name="T26" fmla="*/ 37 w 297"/>
                <a:gd name="T27" fmla="*/ 136 h 447"/>
                <a:gd name="T28" fmla="*/ 52 w 297"/>
                <a:gd name="T29" fmla="*/ 167 h 447"/>
                <a:gd name="T30" fmla="*/ 32 w 297"/>
                <a:gd name="T31" fmla="*/ 169 h 447"/>
                <a:gd name="T32" fmla="*/ 35 w 297"/>
                <a:gd name="T33" fmla="*/ 203 h 447"/>
                <a:gd name="T34" fmla="*/ 60 w 297"/>
                <a:gd name="T35" fmla="*/ 237 h 447"/>
                <a:gd name="T36" fmla="*/ 73 w 297"/>
                <a:gd name="T37" fmla="*/ 243 h 447"/>
                <a:gd name="T38" fmla="*/ 85 w 297"/>
                <a:gd name="T39" fmla="*/ 274 h 447"/>
                <a:gd name="T40" fmla="*/ 0 w 297"/>
                <a:gd name="T41" fmla="*/ 373 h 447"/>
                <a:gd name="T42" fmla="*/ 297 w 297"/>
                <a:gd name="T43" fmla="*/ 35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7" h="447">
                  <a:moveTo>
                    <a:pt x="297" y="357"/>
                  </a:moveTo>
                  <a:cubicBezTo>
                    <a:pt x="283" y="352"/>
                    <a:pt x="221" y="327"/>
                    <a:pt x="222" y="309"/>
                  </a:cubicBezTo>
                  <a:cubicBezTo>
                    <a:pt x="222" y="287"/>
                    <a:pt x="228" y="274"/>
                    <a:pt x="236" y="254"/>
                  </a:cubicBezTo>
                  <a:cubicBezTo>
                    <a:pt x="240" y="242"/>
                    <a:pt x="238" y="232"/>
                    <a:pt x="249" y="224"/>
                  </a:cubicBezTo>
                  <a:cubicBezTo>
                    <a:pt x="258" y="217"/>
                    <a:pt x="261" y="205"/>
                    <a:pt x="264" y="194"/>
                  </a:cubicBezTo>
                  <a:cubicBezTo>
                    <a:pt x="265" y="187"/>
                    <a:pt x="275" y="148"/>
                    <a:pt x="256" y="155"/>
                  </a:cubicBezTo>
                  <a:cubicBezTo>
                    <a:pt x="238" y="155"/>
                    <a:pt x="255" y="137"/>
                    <a:pt x="255" y="125"/>
                  </a:cubicBezTo>
                  <a:cubicBezTo>
                    <a:pt x="255" y="106"/>
                    <a:pt x="256" y="77"/>
                    <a:pt x="251" y="59"/>
                  </a:cubicBezTo>
                  <a:cubicBezTo>
                    <a:pt x="246" y="41"/>
                    <a:pt x="224" y="36"/>
                    <a:pt x="211" y="26"/>
                  </a:cubicBezTo>
                  <a:cubicBezTo>
                    <a:pt x="193" y="12"/>
                    <a:pt x="178" y="0"/>
                    <a:pt x="154" y="3"/>
                  </a:cubicBezTo>
                  <a:cubicBezTo>
                    <a:pt x="130" y="6"/>
                    <a:pt x="120" y="0"/>
                    <a:pt x="97" y="14"/>
                  </a:cubicBezTo>
                  <a:cubicBezTo>
                    <a:pt x="80" y="24"/>
                    <a:pt x="50" y="29"/>
                    <a:pt x="44" y="51"/>
                  </a:cubicBezTo>
                  <a:cubicBezTo>
                    <a:pt x="39" y="68"/>
                    <a:pt x="26" y="93"/>
                    <a:pt x="33" y="110"/>
                  </a:cubicBezTo>
                  <a:cubicBezTo>
                    <a:pt x="37" y="118"/>
                    <a:pt x="34" y="127"/>
                    <a:pt x="37" y="136"/>
                  </a:cubicBezTo>
                  <a:cubicBezTo>
                    <a:pt x="40" y="147"/>
                    <a:pt x="51" y="155"/>
                    <a:pt x="52" y="167"/>
                  </a:cubicBezTo>
                  <a:cubicBezTo>
                    <a:pt x="46" y="171"/>
                    <a:pt x="38" y="165"/>
                    <a:pt x="32" y="169"/>
                  </a:cubicBezTo>
                  <a:cubicBezTo>
                    <a:pt x="23" y="175"/>
                    <a:pt x="32" y="196"/>
                    <a:pt x="35" y="203"/>
                  </a:cubicBezTo>
                  <a:cubicBezTo>
                    <a:pt x="40" y="212"/>
                    <a:pt x="49" y="233"/>
                    <a:pt x="60" y="237"/>
                  </a:cubicBezTo>
                  <a:cubicBezTo>
                    <a:pt x="68" y="240"/>
                    <a:pt x="70" y="234"/>
                    <a:pt x="73" y="243"/>
                  </a:cubicBezTo>
                  <a:cubicBezTo>
                    <a:pt x="77" y="254"/>
                    <a:pt x="82" y="264"/>
                    <a:pt x="85" y="274"/>
                  </a:cubicBezTo>
                  <a:cubicBezTo>
                    <a:pt x="96" y="311"/>
                    <a:pt x="30" y="363"/>
                    <a:pt x="0" y="373"/>
                  </a:cubicBezTo>
                  <a:cubicBezTo>
                    <a:pt x="0" y="373"/>
                    <a:pt x="248" y="447"/>
                    <a:pt x="297" y="357"/>
                  </a:cubicBez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7" name="Freeform 7"/>
            <p:cNvSpPr>
              <a:spLocks/>
            </p:cNvSpPr>
            <p:nvPr/>
          </p:nvSpPr>
          <p:spPr bwMode="auto">
            <a:xfrm>
              <a:off x="11901814" y="3555888"/>
              <a:ext cx="732677" cy="1748288"/>
            </a:xfrm>
            <a:custGeom>
              <a:avLst/>
              <a:gdLst>
                <a:gd name="T0" fmla="*/ 29 w 494"/>
                <a:gd name="T1" fmla="*/ 4 h 1178"/>
                <a:gd name="T2" fmla="*/ 13 w 494"/>
                <a:gd name="T3" fmla="*/ 180 h 1178"/>
                <a:gd name="T4" fmla="*/ 15 w 494"/>
                <a:gd name="T5" fmla="*/ 265 h 1178"/>
                <a:gd name="T6" fmla="*/ 7 w 494"/>
                <a:gd name="T7" fmla="*/ 407 h 1178"/>
                <a:gd name="T8" fmla="*/ 11 w 494"/>
                <a:gd name="T9" fmla="*/ 567 h 1178"/>
                <a:gd name="T10" fmla="*/ 32 w 494"/>
                <a:gd name="T11" fmla="*/ 627 h 1178"/>
                <a:gd name="T12" fmla="*/ 27 w 494"/>
                <a:gd name="T13" fmla="*/ 688 h 1178"/>
                <a:gd name="T14" fmla="*/ 27 w 494"/>
                <a:gd name="T15" fmla="*/ 761 h 1178"/>
                <a:gd name="T16" fmla="*/ 35 w 494"/>
                <a:gd name="T17" fmla="*/ 844 h 1178"/>
                <a:gd name="T18" fmla="*/ 42 w 494"/>
                <a:gd name="T19" fmla="*/ 907 h 1178"/>
                <a:gd name="T20" fmla="*/ 49 w 494"/>
                <a:gd name="T21" fmla="*/ 970 h 1178"/>
                <a:gd name="T22" fmla="*/ 62 w 494"/>
                <a:gd name="T23" fmla="*/ 1019 h 1178"/>
                <a:gd name="T24" fmla="*/ 68 w 494"/>
                <a:gd name="T25" fmla="*/ 1092 h 1178"/>
                <a:gd name="T26" fmla="*/ 126 w 494"/>
                <a:gd name="T27" fmla="*/ 1172 h 1178"/>
                <a:gd name="T28" fmla="*/ 202 w 494"/>
                <a:gd name="T29" fmla="*/ 1136 h 1178"/>
                <a:gd name="T30" fmla="*/ 192 w 494"/>
                <a:gd name="T31" fmla="*/ 1091 h 1178"/>
                <a:gd name="T32" fmla="*/ 175 w 494"/>
                <a:gd name="T33" fmla="*/ 1055 h 1178"/>
                <a:gd name="T34" fmla="*/ 177 w 494"/>
                <a:gd name="T35" fmla="*/ 1006 h 1178"/>
                <a:gd name="T36" fmla="*/ 176 w 494"/>
                <a:gd name="T37" fmla="*/ 959 h 1178"/>
                <a:gd name="T38" fmla="*/ 193 w 494"/>
                <a:gd name="T39" fmla="*/ 893 h 1178"/>
                <a:gd name="T40" fmla="*/ 183 w 494"/>
                <a:gd name="T41" fmla="*/ 812 h 1178"/>
                <a:gd name="T42" fmla="*/ 172 w 494"/>
                <a:gd name="T43" fmla="*/ 705 h 1178"/>
                <a:gd name="T44" fmla="*/ 183 w 494"/>
                <a:gd name="T45" fmla="*/ 567 h 1178"/>
                <a:gd name="T46" fmla="*/ 217 w 494"/>
                <a:gd name="T47" fmla="*/ 445 h 1178"/>
                <a:gd name="T48" fmla="*/ 247 w 494"/>
                <a:gd name="T49" fmla="*/ 321 h 1178"/>
                <a:gd name="T50" fmla="*/ 264 w 494"/>
                <a:gd name="T51" fmla="*/ 426 h 1178"/>
                <a:gd name="T52" fmla="*/ 266 w 494"/>
                <a:gd name="T53" fmla="*/ 565 h 1178"/>
                <a:gd name="T54" fmla="*/ 267 w 494"/>
                <a:gd name="T55" fmla="*/ 682 h 1178"/>
                <a:gd name="T56" fmla="*/ 256 w 494"/>
                <a:gd name="T57" fmla="*/ 827 h 1178"/>
                <a:gd name="T58" fmla="*/ 257 w 494"/>
                <a:gd name="T59" fmla="*/ 971 h 1178"/>
                <a:gd name="T60" fmla="*/ 259 w 494"/>
                <a:gd name="T61" fmla="*/ 1009 h 1178"/>
                <a:gd name="T62" fmla="*/ 262 w 494"/>
                <a:gd name="T63" fmla="*/ 1082 h 1178"/>
                <a:gd name="T64" fmla="*/ 340 w 494"/>
                <a:gd name="T65" fmla="*/ 1123 h 1178"/>
                <a:gd name="T66" fmla="*/ 378 w 494"/>
                <a:gd name="T67" fmla="*/ 1153 h 1178"/>
                <a:gd name="T68" fmla="*/ 437 w 494"/>
                <a:gd name="T69" fmla="*/ 1162 h 1178"/>
                <a:gd name="T70" fmla="*/ 469 w 494"/>
                <a:gd name="T71" fmla="*/ 1102 h 1178"/>
                <a:gd name="T72" fmla="*/ 426 w 494"/>
                <a:gd name="T73" fmla="*/ 1070 h 1178"/>
                <a:gd name="T74" fmla="*/ 389 w 494"/>
                <a:gd name="T75" fmla="*/ 1032 h 1178"/>
                <a:gd name="T76" fmla="*/ 399 w 494"/>
                <a:gd name="T77" fmla="*/ 962 h 1178"/>
                <a:gd name="T78" fmla="*/ 396 w 494"/>
                <a:gd name="T79" fmla="*/ 913 h 1178"/>
                <a:gd name="T80" fmla="*/ 404 w 494"/>
                <a:gd name="T81" fmla="*/ 855 h 1178"/>
                <a:gd name="T82" fmla="*/ 426 w 494"/>
                <a:gd name="T83" fmla="*/ 803 h 1178"/>
                <a:gd name="T84" fmla="*/ 424 w 494"/>
                <a:gd name="T85" fmla="*/ 740 h 1178"/>
                <a:gd name="T86" fmla="*/ 418 w 494"/>
                <a:gd name="T87" fmla="*/ 676 h 1178"/>
                <a:gd name="T88" fmla="*/ 425 w 494"/>
                <a:gd name="T89" fmla="*/ 610 h 1178"/>
                <a:gd name="T90" fmla="*/ 434 w 494"/>
                <a:gd name="T91" fmla="*/ 465 h 1178"/>
                <a:gd name="T92" fmla="*/ 462 w 494"/>
                <a:gd name="T93" fmla="*/ 330 h 1178"/>
                <a:gd name="T94" fmla="*/ 469 w 494"/>
                <a:gd name="T95" fmla="*/ 193 h 1178"/>
                <a:gd name="T96" fmla="*/ 469 w 494"/>
                <a:gd name="T97" fmla="*/ 124 h 1178"/>
                <a:gd name="T98" fmla="*/ 462 w 494"/>
                <a:gd name="T99" fmla="*/ 0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4" h="1178">
                  <a:moveTo>
                    <a:pt x="29" y="4"/>
                  </a:moveTo>
                  <a:cubicBezTo>
                    <a:pt x="24" y="91"/>
                    <a:pt x="13" y="172"/>
                    <a:pt x="13" y="180"/>
                  </a:cubicBezTo>
                  <a:cubicBezTo>
                    <a:pt x="10" y="209"/>
                    <a:pt x="9" y="237"/>
                    <a:pt x="15" y="265"/>
                  </a:cubicBezTo>
                  <a:cubicBezTo>
                    <a:pt x="25" y="310"/>
                    <a:pt x="12" y="361"/>
                    <a:pt x="7" y="407"/>
                  </a:cubicBezTo>
                  <a:cubicBezTo>
                    <a:pt x="1" y="460"/>
                    <a:pt x="0" y="514"/>
                    <a:pt x="11" y="567"/>
                  </a:cubicBezTo>
                  <a:cubicBezTo>
                    <a:pt x="15" y="588"/>
                    <a:pt x="22" y="608"/>
                    <a:pt x="32" y="627"/>
                  </a:cubicBezTo>
                  <a:cubicBezTo>
                    <a:pt x="41" y="645"/>
                    <a:pt x="29" y="668"/>
                    <a:pt x="27" y="688"/>
                  </a:cubicBezTo>
                  <a:cubicBezTo>
                    <a:pt x="25" y="712"/>
                    <a:pt x="25" y="736"/>
                    <a:pt x="27" y="761"/>
                  </a:cubicBezTo>
                  <a:cubicBezTo>
                    <a:pt x="30" y="787"/>
                    <a:pt x="27" y="818"/>
                    <a:pt x="35" y="844"/>
                  </a:cubicBezTo>
                  <a:cubicBezTo>
                    <a:pt x="42" y="867"/>
                    <a:pt x="45" y="883"/>
                    <a:pt x="42" y="907"/>
                  </a:cubicBezTo>
                  <a:cubicBezTo>
                    <a:pt x="40" y="929"/>
                    <a:pt x="49" y="947"/>
                    <a:pt x="49" y="970"/>
                  </a:cubicBezTo>
                  <a:cubicBezTo>
                    <a:pt x="48" y="991"/>
                    <a:pt x="59" y="1001"/>
                    <a:pt x="62" y="1019"/>
                  </a:cubicBezTo>
                  <a:cubicBezTo>
                    <a:pt x="65" y="1043"/>
                    <a:pt x="67" y="1068"/>
                    <a:pt x="68" y="1092"/>
                  </a:cubicBezTo>
                  <a:cubicBezTo>
                    <a:pt x="70" y="1132"/>
                    <a:pt x="84" y="1164"/>
                    <a:pt x="126" y="1172"/>
                  </a:cubicBezTo>
                  <a:cubicBezTo>
                    <a:pt x="157" y="1178"/>
                    <a:pt x="210" y="1178"/>
                    <a:pt x="202" y="1136"/>
                  </a:cubicBezTo>
                  <a:cubicBezTo>
                    <a:pt x="200" y="1120"/>
                    <a:pt x="196" y="1106"/>
                    <a:pt x="192" y="1091"/>
                  </a:cubicBezTo>
                  <a:cubicBezTo>
                    <a:pt x="188" y="1078"/>
                    <a:pt x="177" y="1068"/>
                    <a:pt x="175" y="1055"/>
                  </a:cubicBezTo>
                  <a:cubicBezTo>
                    <a:pt x="173" y="1044"/>
                    <a:pt x="171" y="1016"/>
                    <a:pt x="177" y="1006"/>
                  </a:cubicBezTo>
                  <a:cubicBezTo>
                    <a:pt x="189" y="988"/>
                    <a:pt x="161" y="971"/>
                    <a:pt x="176" y="959"/>
                  </a:cubicBezTo>
                  <a:cubicBezTo>
                    <a:pt x="193" y="945"/>
                    <a:pt x="198" y="914"/>
                    <a:pt x="193" y="893"/>
                  </a:cubicBezTo>
                  <a:cubicBezTo>
                    <a:pt x="185" y="866"/>
                    <a:pt x="192" y="839"/>
                    <a:pt x="183" y="812"/>
                  </a:cubicBezTo>
                  <a:cubicBezTo>
                    <a:pt x="172" y="779"/>
                    <a:pt x="175" y="738"/>
                    <a:pt x="172" y="705"/>
                  </a:cubicBezTo>
                  <a:cubicBezTo>
                    <a:pt x="169" y="659"/>
                    <a:pt x="172" y="611"/>
                    <a:pt x="183" y="567"/>
                  </a:cubicBezTo>
                  <a:cubicBezTo>
                    <a:pt x="194" y="526"/>
                    <a:pt x="209" y="486"/>
                    <a:pt x="217" y="445"/>
                  </a:cubicBezTo>
                  <a:cubicBezTo>
                    <a:pt x="219" y="434"/>
                    <a:pt x="237" y="320"/>
                    <a:pt x="247" y="321"/>
                  </a:cubicBezTo>
                  <a:cubicBezTo>
                    <a:pt x="261" y="323"/>
                    <a:pt x="263" y="414"/>
                    <a:pt x="264" y="426"/>
                  </a:cubicBezTo>
                  <a:cubicBezTo>
                    <a:pt x="269" y="473"/>
                    <a:pt x="263" y="519"/>
                    <a:pt x="266" y="565"/>
                  </a:cubicBezTo>
                  <a:cubicBezTo>
                    <a:pt x="268" y="605"/>
                    <a:pt x="271" y="642"/>
                    <a:pt x="267" y="682"/>
                  </a:cubicBezTo>
                  <a:cubicBezTo>
                    <a:pt x="261" y="730"/>
                    <a:pt x="261" y="779"/>
                    <a:pt x="256" y="827"/>
                  </a:cubicBezTo>
                  <a:cubicBezTo>
                    <a:pt x="251" y="876"/>
                    <a:pt x="252" y="921"/>
                    <a:pt x="257" y="971"/>
                  </a:cubicBezTo>
                  <a:cubicBezTo>
                    <a:pt x="259" y="984"/>
                    <a:pt x="259" y="997"/>
                    <a:pt x="259" y="1009"/>
                  </a:cubicBezTo>
                  <a:cubicBezTo>
                    <a:pt x="254" y="1027"/>
                    <a:pt x="254" y="1067"/>
                    <a:pt x="262" y="1082"/>
                  </a:cubicBezTo>
                  <a:cubicBezTo>
                    <a:pt x="277" y="1107"/>
                    <a:pt x="319" y="1107"/>
                    <a:pt x="340" y="1123"/>
                  </a:cubicBezTo>
                  <a:cubicBezTo>
                    <a:pt x="355" y="1134"/>
                    <a:pt x="359" y="1147"/>
                    <a:pt x="378" y="1153"/>
                  </a:cubicBezTo>
                  <a:cubicBezTo>
                    <a:pt x="396" y="1160"/>
                    <a:pt x="417" y="1163"/>
                    <a:pt x="437" y="1162"/>
                  </a:cubicBezTo>
                  <a:cubicBezTo>
                    <a:pt x="473" y="1158"/>
                    <a:pt x="494" y="1134"/>
                    <a:pt x="469" y="1102"/>
                  </a:cubicBezTo>
                  <a:cubicBezTo>
                    <a:pt x="457" y="1088"/>
                    <a:pt x="442" y="1080"/>
                    <a:pt x="426" y="1070"/>
                  </a:cubicBezTo>
                  <a:cubicBezTo>
                    <a:pt x="410" y="1060"/>
                    <a:pt x="401" y="1046"/>
                    <a:pt x="389" y="1032"/>
                  </a:cubicBezTo>
                  <a:cubicBezTo>
                    <a:pt x="374" y="1015"/>
                    <a:pt x="388" y="978"/>
                    <a:pt x="399" y="962"/>
                  </a:cubicBezTo>
                  <a:cubicBezTo>
                    <a:pt x="405" y="953"/>
                    <a:pt x="397" y="924"/>
                    <a:pt x="396" y="913"/>
                  </a:cubicBezTo>
                  <a:cubicBezTo>
                    <a:pt x="395" y="889"/>
                    <a:pt x="393" y="876"/>
                    <a:pt x="404" y="855"/>
                  </a:cubicBezTo>
                  <a:cubicBezTo>
                    <a:pt x="412" y="839"/>
                    <a:pt x="423" y="822"/>
                    <a:pt x="426" y="803"/>
                  </a:cubicBezTo>
                  <a:cubicBezTo>
                    <a:pt x="430" y="783"/>
                    <a:pt x="424" y="759"/>
                    <a:pt x="424" y="740"/>
                  </a:cubicBezTo>
                  <a:cubicBezTo>
                    <a:pt x="424" y="718"/>
                    <a:pt x="424" y="697"/>
                    <a:pt x="418" y="676"/>
                  </a:cubicBezTo>
                  <a:cubicBezTo>
                    <a:pt x="411" y="650"/>
                    <a:pt x="424" y="634"/>
                    <a:pt x="425" y="610"/>
                  </a:cubicBezTo>
                  <a:cubicBezTo>
                    <a:pt x="429" y="562"/>
                    <a:pt x="428" y="514"/>
                    <a:pt x="434" y="465"/>
                  </a:cubicBezTo>
                  <a:cubicBezTo>
                    <a:pt x="440" y="419"/>
                    <a:pt x="456" y="377"/>
                    <a:pt x="462" y="330"/>
                  </a:cubicBezTo>
                  <a:cubicBezTo>
                    <a:pt x="469" y="285"/>
                    <a:pt x="471" y="239"/>
                    <a:pt x="469" y="193"/>
                  </a:cubicBezTo>
                  <a:cubicBezTo>
                    <a:pt x="469" y="169"/>
                    <a:pt x="467" y="147"/>
                    <a:pt x="469" y="124"/>
                  </a:cubicBezTo>
                  <a:cubicBezTo>
                    <a:pt x="469" y="119"/>
                    <a:pt x="466" y="63"/>
                    <a:pt x="462" y="0"/>
                  </a:cubicBez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68" name="Freeform 8"/>
            <p:cNvSpPr>
              <a:spLocks/>
            </p:cNvSpPr>
            <p:nvPr/>
          </p:nvSpPr>
          <p:spPr bwMode="auto">
            <a:xfrm>
              <a:off x="11910155" y="2967565"/>
              <a:ext cx="694183" cy="758340"/>
            </a:xfrm>
            <a:custGeom>
              <a:avLst/>
              <a:gdLst>
                <a:gd name="T0" fmla="*/ 1 w 458"/>
                <a:gd name="T1" fmla="*/ 44 h 500"/>
                <a:gd name="T2" fmla="*/ 45 w 458"/>
                <a:gd name="T3" fmla="*/ 189 h 500"/>
                <a:gd name="T4" fmla="*/ 13 w 458"/>
                <a:gd name="T5" fmla="*/ 488 h 500"/>
                <a:gd name="T6" fmla="*/ 458 w 458"/>
                <a:gd name="T7" fmla="*/ 500 h 500"/>
                <a:gd name="T8" fmla="*/ 446 w 458"/>
                <a:gd name="T9" fmla="*/ 132 h 500"/>
                <a:gd name="T10" fmla="*/ 48 w 458"/>
                <a:gd name="T11" fmla="*/ 92 h 500"/>
                <a:gd name="T12" fmla="*/ 45 w 458"/>
                <a:gd name="T13" fmla="*/ 86 h 500"/>
                <a:gd name="T14" fmla="*/ 1 w 458"/>
                <a:gd name="T15" fmla="*/ 44 h 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8" h="500">
                  <a:moveTo>
                    <a:pt x="1" y="44"/>
                  </a:moveTo>
                  <a:cubicBezTo>
                    <a:pt x="1" y="44"/>
                    <a:pt x="54" y="144"/>
                    <a:pt x="45" y="189"/>
                  </a:cubicBezTo>
                  <a:cubicBezTo>
                    <a:pt x="45" y="189"/>
                    <a:pt x="0" y="464"/>
                    <a:pt x="13" y="488"/>
                  </a:cubicBezTo>
                  <a:cubicBezTo>
                    <a:pt x="458" y="500"/>
                    <a:pt x="458" y="500"/>
                    <a:pt x="458" y="500"/>
                  </a:cubicBezTo>
                  <a:cubicBezTo>
                    <a:pt x="458" y="500"/>
                    <a:pt x="448" y="249"/>
                    <a:pt x="446" y="132"/>
                  </a:cubicBezTo>
                  <a:cubicBezTo>
                    <a:pt x="446" y="132"/>
                    <a:pt x="98" y="172"/>
                    <a:pt x="48" y="92"/>
                  </a:cubicBezTo>
                  <a:cubicBezTo>
                    <a:pt x="47" y="90"/>
                    <a:pt x="46" y="88"/>
                    <a:pt x="45" y="86"/>
                  </a:cubicBezTo>
                  <a:cubicBezTo>
                    <a:pt x="8" y="0"/>
                    <a:pt x="1" y="44"/>
                    <a:pt x="1" y="44"/>
                  </a:cubicBezTo>
                  <a:close/>
                </a:path>
              </a:pathLst>
            </a:custGeom>
            <a:gradFill>
              <a:gsLst>
                <a:gs pos="80000">
                  <a:srgbClr val="E5E5E5"/>
                </a:gs>
                <a:gs pos="0">
                  <a:sysClr val="window" lastClr="FFFFFF"/>
                </a:gs>
              </a:gsLst>
              <a:lin ang="5400000" scaled="1"/>
            </a:gra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69" name="Freeform 9"/>
            <p:cNvSpPr>
              <a:spLocks/>
            </p:cNvSpPr>
            <p:nvPr/>
          </p:nvSpPr>
          <p:spPr bwMode="auto">
            <a:xfrm>
              <a:off x="11875510" y="2825777"/>
              <a:ext cx="992514" cy="451668"/>
            </a:xfrm>
            <a:custGeom>
              <a:avLst/>
              <a:gdLst>
                <a:gd name="T0" fmla="*/ 635 w 655"/>
                <a:gd name="T1" fmla="*/ 147 h 298"/>
                <a:gd name="T2" fmla="*/ 552 w 655"/>
                <a:gd name="T3" fmla="*/ 34 h 298"/>
                <a:gd name="T4" fmla="*/ 422 w 655"/>
                <a:gd name="T5" fmla="*/ 0 h 298"/>
                <a:gd name="T6" fmla="*/ 355 w 655"/>
                <a:gd name="T7" fmla="*/ 86 h 298"/>
                <a:gd name="T8" fmla="*/ 214 w 655"/>
                <a:gd name="T9" fmla="*/ 75 h 298"/>
                <a:gd name="T10" fmla="*/ 58 w 655"/>
                <a:gd name="T11" fmla="*/ 52 h 298"/>
                <a:gd name="T12" fmla="*/ 0 w 655"/>
                <a:gd name="T13" fmla="*/ 126 h 298"/>
                <a:gd name="T14" fmla="*/ 79 w 655"/>
                <a:gd name="T15" fmla="*/ 247 h 298"/>
                <a:gd name="T16" fmla="*/ 278 w 655"/>
                <a:gd name="T17" fmla="*/ 292 h 298"/>
                <a:gd name="T18" fmla="*/ 430 w 655"/>
                <a:gd name="T19" fmla="*/ 254 h 298"/>
                <a:gd name="T20" fmla="*/ 467 w 655"/>
                <a:gd name="T21" fmla="*/ 238 h 298"/>
                <a:gd name="T22" fmla="*/ 563 w 655"/>
                <a:gd name="T23" fmla="*/ 227 h 298"/>
                <a:gd name="T24" fmla="*/ 635 w 655"/>
                <a:gd name="T25" fmla="*/ 14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5" h="298">
                  <a:moveTo>
                    <a:pt x="635" y="147"/>
                  </a:moveTo>
                  <a:cubicBezTo>
                    <a:pt x="635" y="147"/>
                    <a:pt x="610" y="79"/>
                    <a:pt x="552" y="34"/>
                  </a:cubicBezTo>
                  <a:cubicBezTo>
                    <a:pt x="422" y="0"/>
                    <a:pt x="422" y="0"/>
                    <a:pt x="422" y="0"/>
                  </a:cubicBezTo>
                  <a:cubicBezTo>
                    <a:pt x="355" y="86"/>
                    <a:pt x="355" y="86"/>
                    <a:pt x="355" y="86"/>
                  </a:cubicBezTo>
                  <a:cubicBezTo>
                    <a:pt x="214" y="75"/>
                    <a:pt x="214" y="75"/>
                    <a:pt x="214" y="75"/>
                  </a:cubicBezTo>
                  <a:cubicBezTo>
                    <a:pt x="58" y="52"/>
                    <a:pt x="58" y="52"/>
                    <a:pt x="58" y="52"/>
                  </a:cubicBezTo>
                  <a:cubicBezTo>
                    <a:pt x="0" y="126"/>
                    <a:pt x="0" y="126"/>
                    <a:pt x="0" y="126"/>
                  </a:cubicBezTo>
                  <a:cubicBezTo>
                    <a:pt x="79" y="247"/>
                    <a:pt x="79" y="247"/>
                    <a:pt x="79" y="247"/>
                  </a:cubicBezTo>
                  <a:cubicBezTo>
                    <a:pt x="79" y="247"/>
                    <a:pt x="114" y="298"/>
                    <a:pt x="278" y="292"/>
                  </a:cubicBezTo>
                  <a:cubicBezTo>
                    <a:pt x="278" y="292"/>
                    <a:pt x="370" y="298"/>
                    <a:pt x="430" y="254"/>
                  </a:cubicBezTo>
                  <a:cubicBezTo>
                    <a:pt x="430" y="254"/>
                    <a:pt x="460" y="251"/>
                    <a:pt x="467" y="238"/>
                  </a:cubicBezTo>
                  <a:cubicBezTo>
                    <a:pt x="467" y="238"/>
                    <a:pt x="531" y="235"/>
                    <a:pt x="563" y="227"/>
                  </a:cubicBezTo>
                  <a:cubicBezTo>
                    <a:pt x="563" y="227"/>
                    <a:pt x="655" y="234"/>
                    <a:pt x="635" y="147"/>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70" name="Freeform 10"/>
            <p:cNvSpPr>
              <a:spLocks/>
            </p:cNvSpPr>
            <p:nvPr/>
          </p:nvSpPr>
          <p:spPr bwMode="auto">
            <a:xfrm>
              <a:off x="11786973" y="2538352"/>
              <a:ext cx="941188" cy="499786"/>
            </a:xfrm>
            <a:custGeom>
              <a:avLst/>
              <a:gdLst>
                <a:gd name="T0" fmla="*/ 352 w 621"/>
                <a:gd name="T1" fmla="*/ 16 h 330"/>
                <a:gd name="T2" fmla="*/ 453 w 621"/>
                <a:gd name="T3" fmla="*/ 58 h 330"/>
                <a:gd name="T4" fmla="*/ 562 w 621"/>
                <a:gd name="T5" fmla="*/ 140 h 330"/>
                <a:gd name="T6" fmla="*/ 621 w 621"/>
                <a:gd name="T7" fmla="*/ 232 h 330"/>
                <a:gd name="T8" fmla="*/ 562 w 621"/>
                <a:gd name="T9" fmla="*/ 234 h 330"/>
                <a:gd name="T10" fmla="*/ 554 w 621"/>
                <a:gd name="T11" fmla="*/ 226 h 330"/>
                <a:gd name="T12" fmla="*/ 529 w 621"/>
                <a:gd name="T13" fmla="*/ 237 h 330"/>
                <a:gd name="T14" fmla="*/ 517 w 621"/>
                <a:gd name="T15" fmla="*/ 226 h 330"/>
                <a:gd name="T16" fmla="*/ 472 w 621"/>
                <a:gd name="T17" fmla="*/ 300 h 330"/>
                <a:gd name="T18" fmla="*/ 362 w 621"/>
                <a:gd name="T19" fmla="*/ 328 h 330"/>
                <a:gd name="T20" fmla="*/ 250 w 621"/>
                <a:gd name="T21" fmla="*/ 309 h 330"/>
                <a:gd name="T22" fmla="*/ 236 w 621"/>
                <a:gd name="T23" fmla="*/ 269 h 330"/>
                <a:gd name="T24" fmla="*/ 66 w 621"/>
                <a:gd name="T25" fmla="*/ 322 h 330"/>
                <a:gd name="T26" fmla="*/ 30 w 621"/>
                <a:gd name="T27" fmla="*/ 253 h 330"/>
                <a:gd name="T28" fmla="*/ 85 w 621"/>
                <a:gd name="T29" fmla="*/ 72 h 330"/>
                <a:gd name="T30" fmla="*/ 193 w 621"/>
                <a:gd name="T31" fmla="*/ 0 h 330"/>
                <a:gd name="T32" fmla="*/ 352 w 621"/>
                <a:gd name="T33" fmla="*/ 1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1" h="330">
                  <a:moveTo>
                    <a:pt x="352" y="16"/>
                  </a:moveTo>
                  <a:cubicBezTo>
                    <a:pt x="453" y="58"/>
                    <a:pt x="453" y="58"/>
                    <a:pt x="453" y="58"/>
                  </a:cubicBezTo>
                  <a:cubicBezTo>
                    <a:pt x="536" y="85"/>
                    <a:pt x="562" y="140"/>
                    <a:pt x="562" y="140"/>
                  </a:cubicBezTo>
                  <a:cubicBezTo>
                    <a:pt x="578" y="181"/>
                    <a:pt x="621" y="232"/>
                    <a:pt x="621" y="232"/>
                  </a:cubicBezTo>
                  <a:cubicBezTo>
                    <a:pt x="604" y="222"/>
                    <a:pt x="562" y="234"/>
                    <a:pt x="562" y="234"/>
                  </a:cubicBezTo>
                  <a:cubicBezTo>
                    <a:pt x="562" y="229"/>
                    <a:pt x="554" y="226"/>
                    <a:pt x="554" y="226"/>
                  </a:cubicBezTo>
                  <a:cubicBezTo>
                    <a:pt x="548" y="221"/>
                    <a:pt x="529" y="237"/>
                    <a:pt x="529" y="237"/>
                  </a:cubicBezTo>
                  <a:cubicBezTo>
                    <a:pt x="529" y="216"/>
                    <a:pt x="517" y="226"/>
                    <a:pt x="517" y="226"/>
                  </a:cubicBezTo>
                  <a:cubicBezTo>
                    <a:pt x="506" y="226"/>
                    <a:pt x="472" y="300"/>
                    <a:pt x="472" y="300"/>
                  </a:cubicBezTo>
                  <a:cubicBezTo>
                    <a:pt x="412" y="325"/>
                    <a:pt x="413" y="326"/>
                    <a:pt x="362" y="328"/>
                  </a:cubicBezTo>
                  <a:cubicBezTo>
                    <a:pt x="269" y="330"/>
                    <a:pt x="250" y="309"/>
                    <a:pt x="250" y="309"/>
                  </a:cubicBezTo>
                  <a:cubicBezTo>
                    <a:pt x="254" y="285"/>
                    <a:pt x="236" y="269"/>
                    <a:pt x="236" y="269"/>
                  </a:cubicBezTo>
                  <a:cubicBezTo>
                    <a:pt x="110" y="216"/>
                    <a:pt x="66" y="322"/>
                    <a:pt x="66" y="322"/>
                  </a:cubicBezTo>
                  <a:cubicBezTo>
                    <a:pt x="30" y="253"/>
                    <a:pt x="30" y="253"/>
                    <a:pt x="30" y="253"/>
                  </a:cubicBezTo>
                  <a:cubicBezTo>
                    <a:pt x="0" y="129"/>
                    <a:pt x="85" y="72"/>
                    <a:pt x="85" y="72"/>
                  </a:cubicBezTo>
                  <a:cubicBezTo>
                    <a:pt x="97" y="69"/>
                    <a:pt x="193" y="0"/>
                    <a:pt x="193" y="0"/>
                  </a:cubicBezTo>
                  <a:cubicBezTo>
                    <a:pt x="193" y="0"/>
                    <a:pt x="314" y="91"/>
                    <a:pt x="352" y="1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71" name="Rectangle 70"/>
            <p:cNvSpPr/>
            <p:nvPr/>
          </p:nvSpPr>
          <p:spPr>
            <a:xfrm rot="21245968">
              <a:off x="12371767" y="2788245"/>
              <a:ext cx="147942" cy="26204"/>
            </a:xfrm>
            <a:prstGeom prst="rect">
              <a:avLst/>
            </a:prstGeom>
            <a:solidFill>
              <a:sysClr val="window" lastClr="FFFFFF"/>
            </a:solidFill>
            <a:ln>
              <a:noFill/>
            </a:ln>
            <a:effectLst>
              <a:outerShdw blurRad="38100" sx="102000" sy="102000" algn="ctr" rotWithShape="0">
                <a:prstClr val="black">
                  <a:alpha val="9000"/>
                </a:prstClr>
              </a:outerShdw>
            </a:effectLst>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pitchFamily="34" charset="-128"/>
                <a:cs typeface="Arial" pitchFamily="34" charset="0"/>
              </a:endParaRPr>
            </a:p>
          </p:txBody>
        </p:sp>
        <p:sp>
          <p:nvSpPr>
            <p:cNvPr id="72" name="Freeform 15"/>
            <p:cNvSpPr>
              <a:spLocks noEditPoints="1"/>
            </p:cNvSpPr>
            <p:nvPr/>
          </p:nvSpPr>
          <p:spPr bwMode="auto">
            <a:xfrm rot="15912405">
              <a:off x="12355373" y="2858842"/>
              <a:ext cx="284753" cy="87007"/>
            </a:xfrm>
            <a:custGeom>
              <a:avLst/>
              <a:gdLst>
                <a:gd name="T0" fmla="*/ 50 w 5805"/>
                <a:gd name="T1" fmla="*/ 0 h 1777"/>
                <a:gd name="T2" fmla="*/ 38 w 5805"/>
                <a:gd name="T3" fmla="*/ 248 h 1777"/>
                <a:gd name="T4" fmla="*/ 186 w 5805"/>
                <a:gd name="T5" fmla="*/ 448 h 1777"/>
                <a:gd name="T6" fmla="*/ 1058 w 5805"/>
                <a:gd name="T7" fmla="*/ 1608 h 1777"/>
                <a:gd name="T8" fmla="*/ 1314 w 5805"/>
                <a:gd name="T9" fmla="*/ 1684 h 1777"/>
                <a:gd name="T10" fmla="*/ 1730 w 5805"/>
                <a:gd name="T11" fmla="*/ 1720 h 1777"/>
                <a:gd name="T12" fmla="*/ 2134 w 5805"/>
                <a:gd name="T13" fmla="*/ 1620 h 1777"/>
                <a:gd name="T14" fmla="*/ 2726 w 5805"/>
                <a:gd name="T15" fmla="*/ 704 h 1777"/>
                <a:gd name="T16" fmla="*/ 3118 w 5805"/>
                <a:gd name="T17" fmla="*/ 880 h 1777"/>
                <a:gd name="T18" fmla="*/ 3793 w 5805"/>
                <a:gd name="T19" fmla="*/ 1705 h 1777"/>
                <a:gd name="T20" fmla="*/ 3970 w 5805"/>
                <a:gd name="T21" fmla="*/ 1752 h 1777"/>
                <a:gd name="T22" fmla="*/ 4458 w 5805"/>
                <a:gd name="T23" fmla="*/ 1756 h 1777"/>
                <a:gd name="T24" fmla="*/ 5414 w 5805"/>
                <a:gd name="T25" fmla="*/ 920 h 1777"/>
                <a:gd name="T26" fmla="*/ 5722 w 5805"/>
                <a:gd name="T27" fmla="*/ 472 h 1777"/>
                <a:gd name="T28" fmla="*/ 5805 w 5805"/>
                <a:gd name="T29" fmla="*/ 143 h 1777"/>
                <a:gd name="T30" fmla="*/ 5756 w 5805"/>
                <a:gd name="T31" fmla="*/ 87 h 1777"/>
                <a:gd name="T32" fmla="*/ 4118 w 5805"/>
                <a:gd name="T33" fmla="*/ 76 h 1777"/>
                <a:gd name="T34" fmla="*/ 2954 w 5805"/>
                <a:gd name="T35" fmla="*/ 260 h 1777"/>
                <a:gd name="T36" fmla="*/ 998 w 5805"/>
                <a:gd name="T37" fmla="*/ 12 h 1777"/>
                <a:gd name="T38" fmla="*/ 574 w 5805"/>
                <a:gd name="T39" fmla="*/ 8 h 1777"/>
                <a:gd name="T40" fmla="*/ 2050 w 5805"/>
                <a:gd name="T41" fmla="*/ 1528 h 1777"/>
                <a:gd name="T42" fmla="*/ 950 w 5805"/>
                <a:gd name="T43" fmla="*/ 1424 h 1777"/>
                <a:gd name="T44" fmla="*/ 618 w 5805"/>
                <a:gd name="T45" fmla="*/ 936 h 1777"/>
                <a:gd name="T46" fmla="*/ 882 w 5805"/>
                <a:gd name="T47" fmla="*/ 172 h 1777"/>
                <a:gd name="T48" fmla="*/ 1790 w 5805"/>
                <a:gd name="T49" fmla="*/ 212 h 1777"/>
                <a:gd name="T50" fmla="*/ 2294 w 5805"/>
                <a:gd name="T51" fmla="*/ 332 h 1777"/>
                <a:gd name="T52" fmla="*/ 2383 w 5805"/>
                <a:gd name="T53" fmla="*/ 379 h 1777"/>
                <a:gd name="T54" fmla="*/ 5274 w 5805"/>
                <a:gd name="T55" fmla="*/ 728 h 1777"/>
                <a:gd name="T56" fmla="*/ 4766 w 5805"/>
                <a:gd name="T57" fmla="*/ 1532 h 1777"/>
                <a:gd name="T58" fmla="*/ 3314 w 5805"/>
                <a:gd name="T59" fmla="*/ 956 h 1777"/>
                <a:gd name="T60" fmla="*/ 3290 w 5805"/>
                <a:gd name="T61" fmla="*/ 512 h 1777"/>
                <a:gd name="T62" fmla="*/ 3910 w 5805"/>
                <a:gd name="T63" fmla="*/ 248 h 1777"/>
                <a:gd name="T64" fmla="*/ 5286 w 5805"/>
                <a:gd name="T65" fmla="*/ 340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05" h="1777">
                  <a:moveTo>
                    <a:pt x="75" y="4"/>
                  </a:moveTo>
                  <a:cubicBezTo>
                    <a:pt x="50" y="0"/>
                    <a:pt x="50" y="0"/>
                    <a:pt x="50" y="0"/>
                  </a:cubicBezTo>
                  <a:cubicBezTo>
                    <a:pt x="28" y="12"/>
                    <a:pt x="9" y="61"/>
                    <a:pt x="6" y="84"/>
                  </a:cubicBezTo>
                  <a:cubicBezTo>
                    <a:pt x="0" y="138"/>
                    <a:pt x="23" y="192"/>
                    <a:pt x="38" y="248"/>
                  </a:cubicBezTo>
                  <a:cubicBezTo>
                    <a:pt x="49" y="292"/>
                    <a:pt x="61" y="377"/>
                    <a:pt x="82" y="400"/>
                  </a:cubicBezTo>
                  <a:cubicBezTo>
                    <a:pt x="104" y="425"/>
                    <a:pt x="163" y="432"/>
                    <a:pt x="186" y="448"/>
                  </a:cubicBezTo>
                  <a:cubicBezTo>
                    <a:pt x="250" y="491"/>
                    <a:pt x="292" y="600"/>
                    <a:pt x="322" y="672"/>
                  </a:cubicBezTo>
                  <a:cubicBezTo>
                    <a:pt x="489" y="1075"/>
                    <a:pt x="663" y="1441"/>
                    <a:pt x="1058" y="1608"/>
                  </a:cubicBezTo>
                  <a:cubicBezTo>
                    <a:pt x="1123" y="1636"/>
                    <a:pt x="1199" y="1652"/>
                    <a:pt x="1270" y="1672"/>
                  </a:cubicBezTo>
                  <a:cubicBezTo>
                    <a:pt x="1281" y="1675"/>
                    <a:pt x="1303" y="1681"/>
                    <a:pt x="1314" y="1684"/>
                  </a:cubicBezTo>
                  <a:cubicBezTo>
                    <a:pt x="1395" y="1704"/>
                    <a:pt x="1429" y="1708"/>
                    <a:pt x="1510" y="1716"/>
                  </a:cubicBezTo>
                  <a:cubicBezTo>
                    <a:pt x="1586" y="1724"/>
                    <a:pt x="1655" y="1726"/>
                    <a:pt x="1730" y="1720"/>
                  </a:cubicBezTo>
                  <a:cubicBezTo>
                    <a:pt x="1745" y="1719"/>
                    <a:pt x="1772" y="1715"/>
                    <a:pt x="1786" y="1712"/>
                  </a:cubicBezTo>
                  <a:cubicBezTo>
                    <a:pt x="1919" y="1682"/>
                    <a:pt x="2031" y="1667"/>
                    <a:pt x="2134" y="1620"/>
                  </a:cubicBezTo>
                  <a:cubicBezTo>
                    <a:pt x="2372" y="1512"/>
                    <a:pt x="2491" y="1310"/>
                    <a:pt x="2582" y="1064"/>
                  </a:cubicBezTo>
                  <a:cubicBezTo>
                    <a:pt x="2619" y="964"/>
                    <a:pt x="2639" y="770"/>
                    <a:pt x="2726" y="704"/>
                  </a:cubicBezTo>
                  <a:cubicBezTo>
                    <a:pt x="2802" y="646"/>
                    <a:pt x="2988" y="658"/>
                    <a:pt x="3050" y="720"/>
                  </a:cubicBezTo>
                  <a:cubicBezTo>
                    <a:pt x="3091" y="761"/>
                    <a:pt x="3101" y="826"/>
                    <a:pt x="3118" y="880"/>
                  </a:cubicBezTo>
                  <a:cubicBezTo>
                    <a:pt x="3172" y="1056"/>
                    <a:pt x="3235" y="1230"/>
                    <a:pt x="3322" y="1368"/>
                  </a:cubicBezTo>
                  <a:cubicBezTo>
                    <a:pt x="3432" y="1541"/>
                    <a:pt x="3590" y="1642"/>
                    <a:pt x="3793" y="1705"/>
                  </a:cubicBezTo>
                  <a:cubicBezTo>
                    <a:pt x="3822" y="1714"/>
                    <a:pt x="3846" y="1724"/>
                    <a:pt x="3880" y="1731"/>
                  </a:cubicBezTo>
                  <a:cubicBezTo>
                    <a:pt x="3916" y="1739"/>
                    <a:pt x="3938" y="1746"/>
                    <a:pt x="3970" y="1752"/>
                  </a:cubicBezTo>
                  <a:cubicBezTo>
                    <a:pt x="4038" y="1765"/>
                    <a:pt x="4097" y="1770"/>
                    <a:pt x="4166" y="1772"/>
                  </a:cubicBezTo>
                  <a:cubicBezTo>
                    <a:pt x="4268" y="1775"/>
                    <a:pt x="4371" y="1777"/>
                    <a:pt x="4458" y="1756"/>
                  </a:cubicBezTo>
                  <a:cubicBezTo>
                    <a:pt x="4614" y="1719"/>
                    <a:pt x="4769" y="1668"/>
                    <a:pt x="4894" y="1596"/>
                  </a:cubicBezTo>
                  <a:cubicBezTo>
                    <a:pt x="5146" y="1450"/>
                    <a:pt x="5293" y="1200"/>
                    <a:pt x="5414" y="920"/>
                  </a:cubicBezTo>
                  <a:cubicBezTo>
                    <a:pt x="5466" y="800"/>
                    <a:pt x="5514" y="599"/>
                    <a:pt x="5614" y="520"/>
                  </a:cubicBezTo>
                  <a:cubicBezTo>
                    <a:pt x="5640" y="500"/>
                    <a:pt x="5700" y="491"/>
                    <a:pt x="5722" y="472"/>
                  </a:cubicBezTo>
                  <a:cubicBezTo>
                    <a:pt x="5750" y="449"/>
                    <a:pt x="5757" y="370"/>
                    <a:pt x="5770" y="316"/>
                  </a:cubicBezTo>
                  <a:cubicBezTo>
                    <a:pt x="5783" y="262"/>
                    <a:pt x="5804" y="196"/>
                    <a:pt x="5805" y="143"/>
                  </a:cubicBezTo>
                  <a:cubicBezTo>
                    <a:pt x="5797" y="105"/>
                    <a:pt x="5781" y="92"/>
                    <a:pt x="5769" y="88"/>
                  </a:cubicBezTo>
                  <a:cubicBezTo>
                    <a:pt x="5765" y="87"/>
                    <a:pt x="5760" y="87"/>
                    <a:pt x="5756" y="87"/>
                  </a:cubicBezTo>
                  <a:cubicBezTo>
                    <a:pt x="5753" y="87"/>
                    <a:pt x="5749" y="86"/>
                    <a:pt x="5749" y="86"/>
                  </a:cubicBezTo>
                  <a:cubicBezTo>
                    <a:pt x="5247" y="35"/>
                    <a:pt x="4646" y="33"/>
                    <a:pt x="4118" y="76"/>
                  </a:cubicBezTo>
                  <a:cubicBezTo>
                    <a:pt x="3807" y="101"/>
                    <a:pt x="3514" y="158"/>
                    <a:pt x="3234" y="208"/>
                  </a:cubicBezTo>
                  <a:cubicBezTo>
                    <a:pt x="3140" y="225"/>
                    <a:pt x="3046" y="252"/>
                    <a:pt x="2954" y="260"/>
                  </a:cubicBezTo>
                  <a:cubicBezTo>
                    <a:pt x="2741" y="278"/>
                    <a:pt x="2585" y="205"/>
                    <a:pt x="2402" y="168"/>
                  </a:cubicBezTo>
                  <a:cubicBezTo>
                    <a:pt x="1968" y="81"/>
                    <a:pt x="1495" y="13"/>
                    <a:pt x="998" y="12"/>
                  </a:cubicBezTo>
                  <a:moveTo>
                    <a:pt x="574" y="8"/>
                  </a:moveTo>
                  <a:cubicBezTo>
                    <a:pt x="574" y="8"/>
                    <a:pt x="574" y="8"/>
                    <a:pt x="574" y="8"/>
                  </a:cubicBezTo>
                  <a:moveTo>
                    <a:pt x="2458" y="916"/>
                  </a:moveTo>
                  <a:cubicBezTo>
                    <a:pt x="2398" y="1208"/>
                    <a:pt x="2293" y="1422"/>
                    <a:pt x="2050" y="1528"/>
                  </a:cubicBezTo>
                  <a:cubicBezTo>
                    <a:pt x="1805" y="1635"/>
                    <a:pt x="1431" y="1601"/>
                    <a:pt x="1182" y="1524"/>
                  </a:cubicBezTo>
                  <a:cubicBezTo>
                    <a:pt x="1096" y="1497"/>
                    <a:pt x="1010" y="1464"/>
                    <a:pt x="950" y="1424"/>
                  </a:cubicBezTo>
                  <a:cubicBezTo>
                    <a:pt x="938" y="1416"/>
                    <a:pt x="924" y="1396"/>
                    <a:pt x="910" y="1384"/>
                  </a:cubicBezTo>
                  <a:cubicBezTo>
                    <a:pt x="772" y="1273"/>
                    <a:pt x="688" y="1121"/>
                    <a:pt x="618" y="936"/>
                  </a:cubicBezTo>
                  <a:cubicBezTo>
                    <a:pt x="556" y="773"/>
                    <a:pt x="501" y="592"/>
                    <a:pt x="502" y="400"/>
                  </a:cubicBezTo>
                  <a:cubicBezTo>
                    <a:pt x="503" y="192"/>
                    <a:pt x="666" y="179"/>
                    <a:pt x="882" y="172"/>
                  </a:cubicBezTo>
                  <a:cubicBezTo>
                    <a:pt x="1153" y="163"/>
                    <a:pt x="1405" y="181"/>
                    <a:pt x="1654" y="200"/>
                  </a:cubicBezTo>
                  <a:cubicBezTo>
                    <a:pt x="1701" y="204"/>
                    <a:pt x="1764" y="209"/>
                    <a:pt x="1790" y="212"/>
                  </a:cubicBezTo>
                  <a:cubicBezTo>
                    <a:pt x="1789" y="212"/>
                    <a:pt x="1787" y="212"/>
                    <a:pt x="1786" y="212"/>
                  </a:cubicBezTo>
                  <a:cubicBezTo>
                    <a:pt x="1928" y="223"/>
                    <a:pt x="2193" y="281"/>
                    <a:pt x="2294" y="332"/>
                  </a:cubicBezTo>
                  <a:cubicBezTo>
                    <a:pt x="2310" y="340"/>
                    <a:pt x="2321" y="346"/>
                    <a:pt x="2342" y="356"/>
                  </a:cubicBezTo>
                  <a:cubicBezTo>
                    <a:pt x="2356" y="362"/>
                    <a:pt x="2370" y="372"/>
                    <a:pt x="2383" y="379"/>
                  </a:cubicBezTo>
                  <a:cubicBezTo>
                    <a:pt x="2540" y="472"/>
                    <a:pt x="2498" y="722"/>
                    <a:pt x="2458" y="916"/>
                  </a:cubicBezTo>
                  <a:close/>
                  <a:moveTo>
                    <a:pt x="5274" y="728"/>
                  </a:moveTo>
                  <a:cubicBezTo>
                    <a:pt x="5251" y="852"/>
                    <a:pt x="5214" y="966"/>
                    <a:pt x="5174" y="1064"/>
                  </a:cubicBezTo>
                  <a:cubicBezTo>
                    <a:pt x="5088" y="1272"/>
                    <a:pt x="4973" y="1440"/>
                    <a:pt x="4766" y="1532"/>
                  </a:cubicBezTo>
                  <a:cubicBezTo>
                    <a:pt x="4549" y="1629"/>
                    <a:pt x="4286" y="1660"/>
                    <a:pt x="4010" y="1628"/>
                  </a:cubicBezTo>
                  <a:cubicBezTo>
                    <a:pt x="3602" y="1581"/>
                    <a:pt x="3403" y="1344"/>
                    <a:pt x="3314" y="956"/>
                  </a:cubicBezTo>
                  <a:cubicBezTo>
                    <a:pt x="3300" y="895"/>
                    <a:pt x="3285" y="821"/>
                    <a:pt x="3278" y="748"/>
                  </a:cubicBezTo>
                  <a:cubicBezTo>
                    <a:pt x="3271" y="677"/>
                    <a:pt x="3261" y="582"/>
                    <a:pt x="3290" y="512"/>
                  </a:cubicBezTo>
                  <a:cubicBezTo>
                    <a:pt x="3310" y="464"/>
                    <a:pt x="3337" y="433"/>
                    <a:pt x="3358" y="416"/>
                  </a:cubicBezTo>
                  <a:cubicBezTo>
                    <a:pt x="3467" y="323"/>
                    <a:pt x="3703" y="279"/>
                    <a:pt x="3910" y="248"/>
                  </a:cubicBezTo>
                  <a:cubicBezTo>
                    <a:pt x="4145" y="213"/>
                    <a:pt x="4349" y="210"/>
                    <a:pt x="4590" y="200"/>
                  </a:cubicBezTo>
                  <a:cubicBezTo>
                    <a:pt x="4803" y="191"/>
                    <a:pt x="5214" y="177"/>
                    <a:pt x="5286" y="340"/>
                  </a:cubicBezTo>
                  <a:cubicBezTo>
                    <a:pt x="5328" y="435"/>
                    <a:pt x="5294" y="621"/>
                    <a:pt x="5274" y="728"/>
                  </a:cubicBezTo>
                  <a:close/>
                </a:path>
              </a:pathLst>
            </a:custGeom>
            <a:gradFill>
              <a:gsLst>
                <a:gs pos="50000">
                  <a:srgbClr val="FF1414"/>
                </a:gs>
                <a:gs pos="0">
                  <a:srgbClr val="AA0000"/>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73" name="Freeform 72"/>
            <p:cNvSpPr/>
            <p:nvPr/>
          </p:nvSpPr>
          <p:spPr>
            <a:xfrm>
              <a:off x="12405635" y="2917965"/>
              <a:ext cx="189507" cy="180458"/>
            </a:xfrm>
            <a:custGeom>
              <a:avLst/>
              <a:gdLst>
                <a:gd name="connsiteX0" fmla="*/ 106385 w 460999"/>
                <a:gd name="connsiteY0" fmla="*/ 217835 h 425538"/>
                <a:gd name="connsiteX1" fmla="*/ 276093 w 460999"/>
                <a:gd name="connsiteY1" fmla="*/ 151978 h 425538"/>
                <a:gd name="connsiteX2" fmla="*/ 311555 w 460999"/>
                <a:gd name="connsiteY2" fmla="*/ 15198 h 425538"/>
                <a:gd name="connsiteX3" fmla="*/ 460999 w 460999"/>
                <a:gd name="connsiteY3" fmla="*/ 0 h 425538"/>
                <a:gd name="connsiteX4" fmla="*/ 453401 w 460999"/>
                <a:gd name="connsiteY4" fmla="*/ 392609 h 425538"/>
                <a:gd name="connsiteX5" fmla="*/ 0 w 460999"/>
                <a:gd name="connsiteY5" fmla="*/ 425538 h 425538"/>
                <a:gd name="connsiteX6" fmla="*/ 106385 w 460999"/>
                <a:gd name="connsiteY6" fmla="*/ 217835 h 425538"/>
                <a:gd name="connsiteX0" fmla="*/ 75429 w 460999"/>
                <a:gd name="connsiteY0" fmla="*/ 236885 h 425538"/>
                <a:gd name="connsiteX1" fmla="*/ 276093 w 460999"/>
                <a:gd name="connsiteY1" fmla="*/ 151978 h 425538"/>
                <a:gd name="connsiteX2" fmla="*/ 311555 w 460999"/>
                <a:gd name="connsiteY2" fmla="*/ 15198 h 425538"/>
                <a:gd name="connsiteX3" fmla="*/ 460999 w 460999"/>
                <a:gd name="connsiteY3" fmla="*/ 0 h 425538"/>
                <a:gd name="connsiteX4" fmla="*/ 453401 w 460999"/>
                <a:gd name="connsiteY4" fmla="*/ 392609 h 425538"/>
                <a:gd name="connsiteX5" fmla="*/ 0 w 460999"/>
                <a:gd name="connsiteY5" fmla="*/ 425538 h 425538"/>
                <a:gd name="connsiteX6" fmla="*/ 75429 w 460999"/>
                <a:gd name="connsiteY6" fmla="*/ 236885 h 425538"/>
                <a:gd name="connsiteX0" fmla="*/ 75429 w 460999"/>
                <a:gd name="connsiteY0" fmla="*/ 243118 h 431771"/>
                <a:gd name="connsiteX1" fmla="*/ 276093 w 460999"/>
                <a:gd name="connsiteY1" fmla="*/ 158211 h 431771"/>
                <a:gd name="connsiteX2" fmla="*/ 323461 w 460999"/>
                <a:gd name="connsiteY2" fmla="*/ 0 h 431771"/>
                <a:gd name="connsiteX3" fmla="*/ 460999 w 460999"/>
                <a:gd name="connsiteY3" fmla="*/ 6233 h 431771"/>
                <a:gd name="connsiteX4" fmla="*/ 453401 w 460999"/>
                <a:gd name="connsiteY4" fmla="*/ 398842 h 431771"/>
                <a:gd name="connsiteX5" fmla="*/ 0 w 460999"/>
                <a:gd name="connsiteY5" fmla="*/ 431771 h 431771"/>
                <a:gd name="connsiteX6" fmla="*/ 75429 w 460999"/>
                <a:gd name="connsiteY6" fmla="*/ 243118 h 431771"/>
                <a:gd name="connsiteX0" fmla="*/ 75429 w 460999"/>
                <a:gd name="connsiteY0" fmla="*/ 243118 h 431771"/>
                <a:gd name="connsiteX1" fmla="*/ 276093 w 460999"/>
                <a:gd name="connsiteY1" fmla="*/ 158211 h 431771"/>
                <a:gd name="connsiteX2" fmla="*/ 323461 w 460999"/>
                <a:gd name="connsiteY2" fmla="*/ 0 h 431771"/>
                <a:gd name="connsiteX3" fmla="*/ 303428 w 460999"/>
                <a:gd name="connsiteY3" fmla="*/ 52316 h 431771"/>
                <a:gd name="connsiteX4" fmla="*/ 460999 w 460999"/>
                <a:gd name="connsiteY4" fmla="*/ 6233 h 431771"/>
                <a:gd name="connsiteX5" fmla="*/ 453401 w 460999"/>
                <a:gd name="connsiteY5" fmla="*/ 398842 h 431771"/>
                <a:gd name="connsiteX6" fmla="*/ 0 w 460999"/>
                <a:gd name="connsiteY6" fmla="*/ 431771 h 431771"/>
                <a:gd name="connsiteX7" fmla="*/ 75429 w 460999"/>
                <a:gd name="connsiteY7" fmla="*/ 243118 h 431771"/>
                <a:gd name="connsiteX0" fmla="*/ 75429 w 460999"/>
                <a:gd name="connsiteY0" fmla="*/ 243118 h 431771"/>
                <a:gd name="connsiteX1" fmla="*/ 276093 w 460999"/>
                <a:gd name="connsiteY1" fmla="*/ 158211 h 431771"/>
                <a:gd name="connsiteX2" fmla="*/ 277234 w 460999"/>
                <a:gd name="connsiteY2" fmla="*/ 97559 h 431771"/>
                <a:gd name="connsiteX3" fmla="*/ 323461 w 460999"/>
                <a:gd name="connsiteY3" fmla="*/ 0 h 431771"/>
                <a:gd name="connsiteX4" fmla="*/ 303428 w 460999"/>
                <a:gd name="connsiteY4" fmla="*/ 52316 h 431771"/>
                <a:gd name="connsiteX5" fmla="*/ 460999 w 460999"/>
                <a:gd name="connsiteY5" fmla="*/ 6233 h 431771"/>
                <a:gd name="connsiteX6" fmla="*/ 453401 w 460999"/>
                <a:gd name="connsiteY6" fmla="*/ 398842 h 431771"/>
                <a:gd name="connsiteX7" fmla="*/ 0 w 460999"/>
                <a:gd name="connsiteY7" fmla="*/ 431771 h 431771"/>
                <a:gd name="connsiteX8" fmla="*/ 75429 w 460999"/>
                <a:gd name="connsiteY8" fmla="*/ 243118 h 431771"/>
                <a:gd name="connsiteX0" fmla="*/ 75429 w 460999"/>
                <a:gd name="connsiteY0" fmla="*/ 250334 h 438987"/>
                <a:gd name="connsiteX1" fmla="*/ 276093 w 460999"/>
                <a:gd name="connsiteY1" fmla="*/ 165427 h 438987"/>
                <a:gd name="connsiteX2" fmla="*/ 277234 w 460999"/>
                <a:gd name="connsiteY2" fmla="*/ 104775 h 438987"/>
                <a:gd name="connsiteX3" fmla="*/ 323461 w 460999"/>
                <a:gd name="connsiteY3" fmla="*/ 7216 h 438987"/>
                <a:gd name="connsiteX4" fmla="*/ 379628 w 460999"/>
                <a:gd name="connsiteY4" fmla="*/ 0 h 438987"/>
                <a:gd name="connsiteX5" fmla="*/ 460999 w 460999"/>
                <a:gd name="connsiteY5" fmla="*/ 13449 h 438987"/>
                <a:gd name="connsiteX6" fmla="*/ 453401 w 460999"/>
                <a:gd name="connsiteY6" fmla="*/ 406058 h 438987"/>
                <a:gd name="connsiteX7" fmla="*/ 0 w 460999"/>
                <a:gd name="connsiteY7" fmla="*/ 438987 h 438987"/>
                <a:gd name="connsiteX8" fmla="*/ 75429 w 460999"/>
                <a:gd name="connsiteY8" fmla="*/ 250334 h 43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99" h="438987">
                  <a:moveTo>
                    <a:pt x="75429" y="250334"/>
                  </a:moveTo>
                  <a:lnTo>
                    <a:pt x="276093" y="165427"/>
                  </a:lnTo>
                  <a:cubicBezTo>
                    <a:pt x="284411" y="132510"/>
                    <a:pt x="268916" y="137692"/>
                    <a:pt x="277234" y="104775"/>
                  </a:cubicBezTo>
                  <a:lnTo>
                    <a:pt x="323461" y="7216"/>
                  </a:lnTo>
                  <a:lnTo>
                    <a:pt x="379628" y="0"/>
                  </a:lnTo>
                  <a:lnTo>
                    <a:pt x="460999" y="13449"/>
                  </a:lnTo>
                  <a:lnTo>
                    <a:pt x="453401" y="406058"/>
                  </a:lnTo>
                  <a:lnTo>
                    <a:pt x="0" y="438987"/>
                  </a:lnTo>
                  <a:lnTo>
                    <a:pt x="75429" y="250334"/>
                  </a:lnTo>
                  <a:close/>
                </a:path>
              </a:pathLst>
            </a:custGeom>
            <a:solidFill>
              <a:schemeClr val="bg2">
                <a:lumMod val="75000"/>
              </a:schemeClr>
            </a:solidFill>
            <a:ln w="25400" cap="flat" cmpd="sng" algn="ctr">
              <a:noFill/>
              <a:prstDash val="solid"/>
            </a:ln>
            <a:effectLst/>
          </p:spPr>
          <p:txBody>
            <a:bodyPr rtlCol="0" anchor="ctr"/>
            <a:lstStyle/>
            <a:p>
              <a:pPr algn="ctr">
                <a:defRPr/>
              </a:pPr>
              <a:endParaRPr lang="en-US" kern="0" dirty="0">
                <a:solidFill>
                  <a:sysClr val="window" lastClr="FFFFFF"/>
                </a:solidFill>
                <a:ea typeface="ＭＳ Ｐゴシック" pitchFamily="34" charset="-128"/>
                <a:cs typeface="Arial" pitchFamily="34" charset="0"/>
              </a:endParaRPr>
            </a:p>
          </p:txBody>
        </p:sp>
        <p:sp>
          <p:nvSpPr>
            <p:cNvPr id="74" name="Freeform 73"/>
            <p:cNvSpPr>
              <a:spLocks/>
            </p:cNvSpPr>
            <p:nvPr/>
          </p:nvSpPr>
          <p:spPr bwMode="auto">
            <a:xfrm>
              <a:off x="11123184" y="2015124"/>
              <a:ext cx="924984" cy="3458461"/>
            </a:xfrm>
            <a:custGeom>
              <a:avLst/>
              <a:gdLst>
                <a:gd name="T0" fmla="*/ 2091 w 2168"/>
                <a:gd name="T1" fmla="*/ 2520 h 8109"/>
                <a:gd name="T2" fmla="*/ 1973 w 2168"/>
                <a:gd name="T3" fmla="*/ 1940 h 8109"/>
                <a:gd name="T4" fmla="*/ 1669 w 2168"/>
                <a:gd name="T5" fmla="*/ 1458 h 8109"/>
                <a:gd name="T6" fmla="*/ 1467 w 2168"/>
                <a:gd name="T7" fmla="*/ 856 h 8109"/>
                <a:gd name="T8" fmla="*/ 967 w 2168"/>
                <a:gd name="T9" fmla="*/ 50 h 8109"/>
                <a:gd name="T10" fmla="*/ 421 w 2168"/>
                <a:gd name="T11" fmla="*/ 636 h 8109"/>
                <a:gd name="T12" fmla="*/ 465 w 2168"/>
                <a:gd name="T13" fmla="*/ 873 h 8109"/>
                <a:gd name="T14" fmla="*/ 556 w 2168"/>
                <a:gd name="T15" fmla="*/ 1374 h 8109"/>
                <a:gd name="T16" fmla="*/ 137 w 2168"/>
                <a:gd name="T17" fmla="*/ 1776 h 8109"/>
                <a:gd name="T18" fmla="*/ 363 w 2168"/>
                <a:gd name="T19" fmla="*/ 2701 h 8109"/>
                <a:gd name="T20" fmla="*/ 215 w 2168"/>
                <a:gd name="T21" fmla="*/ 2984 h 8109"/>
                <a:gd name="T22" fmla="*/ 124 w 2168"/>
                <a:gd name="T23" fmla="*/ 3316 h 8109"/>
                <a:gd name="T24" fmla="*/ 29 w 2168"/>
                <a:gd name="T25" fmla="*/ 3553 h 8109"/>
                <a:gd name="T26" fmla="*/ 4 w 2168"/>
                <a:gd name="T27" fmla="*/ 3619 h 8109"/>
                <a:gd name="T28" fmla="*/ 0 w 2168"/>
                <a:gd name="T29" fmla="*/ 4145 h 8109"/>
                <a:gd name="T30" fmla="*/ 153 w 2168"/>
                <a:gd name="T31" fmla="*/ 4470 h 8109"/>
                <a:gd name="T32" fmla="*/ 308 w 2168"/>
                <a:gd name="T33" fmla="*/ 5078 h 8109"/>
                <a:gd name="T34" fmla="*/ 383 w 2168"/>
                <a:gd name="T35" fmla="*/ 5666 h 8109"/>
                <a:gd name="T36" fmla="*/ 556 w 2168"/>
                <a:gd name="T37" fmla="*/ 6302 h 8109"/>
                <a:gd name="T38" fmla="*/ 665 w 2168"/>
                <a:gd name="T39" fmla="*/ 6594 h 8109"/>
                <a:gd name="T40" fmla="*/ 649 w 2168"/>
                <a:gd name="T41" fmla="*/ 6641 h 8109"/>
                <a:gd name="T42" fmla="*/ 579 w 2168"/>
                <a:gd name="T43" fmla="*/ 6815 h 8109"/>
                <a:gd name="T44" fmla="*/ 306 w 2168"/>
                <a:gd name="T45" fmla="*/ 7070 h 8109"/>
                <a:gd name="T46" fmla="*/ 424 w 2168"/>
                <a:gd name="T47" fmla="*/ 7238 h 8109"/>
                <a:gd name="T48" fmla="*/ 677 w 2168"/>
                <a:gd name="T49" fmla="*/ 7160 h 8109"/>
                <a:gd name="T50" fmla="*/ 869 w 2168"/>
                <a:gd name="T51" fmla="*/ 7048 h 8109"/>
                <a:gd name="T52" fmla="*/ 917 w 2168"/>
                <a:gd name="T53" fmla="*/ 7338 h 8109"/>
                <a:gd name="T54" fmla="*/ 724 w 2168"/>
                <a:gd name="T55" fmla="*/ 7834 h 8109"/>
                <a:gd name="T56" fmla="*/ 602 w 2168"/>
                <a:gd name="T57" fmla="*/ 8070 h 8109"/>
                <a:gd name="T58" fmla="*/ 1164 w 2168"/>
                <a:gd name="T59" fmla="*/ 7693 h 8109"/>
                <a:gd name="T60" fmla="*/ 1167 w 2168"/>
                <a:gd name="T61" fmla="*/ 7829 h 8109"/>
                <a:gd name="T62" fmla="*/ 1344 w 2168"/>
                <a:gd name="T63" fmla="*/ 7834 h 8109"/>
                <a:gd name="T64" fmla="*/ 1408 w 2168"/>
                <a:gd name="T65" fmla="*/ 7399 h 8109"/>
                <a:gd name="T66" fmla="*/ 1314 w 2168"/>
                <a:gd name="T67" fmla="*/ 5844 h 8109"/>
                <a:gd name="T68" fmla="*/ 1479 w 2168"/>
                <a:gd name="T69" fmla="*/ 4377 h 8109"/>
                <a:gd name="T70" fmla="*/ 1580 w 2168"/>
                <a:gd name="T71" fmla="*/ 3916 h 8109"/>
                <a:gd name="T72" fmla="*/ 1624 w 2168"/>
                <a:gd name="T73" fmla="*/ 3275 h 8109"/>
                <a:gd name="T74" fmla="*/ 1673 w 2168"/>
                <a:gd name="T75" fmla="*/ 3148 h 8109"/>
                <a:gd name="T76" fmla="*/ 2060 w 2168"/>
                <a:gd name="T77" fmla="*/ 3122 h 8109"/>
                <a:gd name="T78" fmla="*/ 2140 w 2168"/>
                <a:gd name="T79" fmla="*/ 2897 h 8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68" h="8109">
                  <a:moveTo>
                    <a:pt x="2136" y="2821"/>
                  </a:moveTo>
                  <a:cubicBezTo>
                    <a:pt x="2136" y="2821"/>
                    <a:pt x="2096" y="2608"/>
                    <a:pt x="2091" y="2520"/>
                  </a:cubicBezTo>
                  <a:cubicBezTo>
                    <a:pt x="2091" y="2520"/>
                    <a:pt x="2037" y="2174"/>
                    <a:pt x="2013" y="2111"/>
                  </a:cubicBezTo>
                  <a:cubicBezTo>
                    <a:pt x="2013" y="2111"/>
                    <a:pt x="1974" y="1960"/>
                    <a:pt x="1973" y="1940"/>
                  </a:cubicBezTo>
                  <a:cubicBezTo>
                    <a:pt x="1973" y="1940"/>
                    <a:pt x="1945" y="1630"/>
                    <a:pt x="1825" y="1530"/>
                  </a:cubicBezTo>
                  <a:cubicBezTo>
                    <a:pt x="1669" y="1458"/>
                    <a:pt x="1669" y="1458"/>
                    <a:pt x="1669" y="1458"/>
                  </a:cubicBezTo>
                  <a:cubicBezTo>
                    <a:pt x="1836" y="1414"/>
                    <a:pt x="1836" y="1414"/>
                    <a:pt x="1836" y="1414"/>
                  </a:cubicBezTo>
                  <a:cubicBezTo>
                    <a:pt x="1620" y="1427"/>
                    <a:pt x="1505" y="1023"/>
                    <a:pt x="1467" y="856"/>
                  </a:cubicBezTo>
                  <a:cubicBezTo>
                    <a:pt x="1431" y="637"/>
                    <a:pt x="1349" y="265"/>
                    <a:pt x="1200" y="147"/>
                  </a:cubicBezTo>
                  <a:cubicBezTo>
                    <a:pt x="1200" y="147"/>
                    <a:pt x="1074" y="56"/>
                    <a:pt x="967" y="50"/>
                  </a:cubicBezTo>
                  <a:cubicBezTo>
                    <a:pt x="967" y="50"/>
                    <a:pt x="570" y="0"/>
                    <a:pt x="426" y="296"/>
                  </a:cubicBezTo>
                  <a:cubicBezTo>
                    <a:pt x="426" y="296"/>
                    <a:pt x="335" y="451"/>
                    <a:pt x="421" y="636"/>
                  </a:cubicBezTo>
                  <a:cubicBezTo>
                    <a:pt x="440" y="719"/>
                    <a:pt x="460" y="816"/>
                    <a:pt x="460" y="855"/>
                  </a:cubicBezTo>
                  <a:cubicBezTo>
                    <a:pt x="460" y="861"/>
                    <a:pt x="462" y="867"/>
                    <a:pt x="465" y="873"/>
                  </a:cubicBezTo>
                  <a:cubicBezTo>
                    <a:pt x="486" y="1035"/>
                    <a:pt x="529" y="1258"/>
                    <a:pt x="606" y="1326"/>
                  </a:cubicBezTo>
                  <a:cubicBezTo>
                    <a:pt x="606" y="1326"/>
                    <a:pt x="592" y="1364"/>
                    <a:pt x="556" y="1374"/>
                  </a:cubicBezTo>
                  <a:cubicBezTo>
                    <a:pt x="556" y="1374"/>
                    <a:pt x="218" y="1388"/>
                    <a:pt x="184" y="1624"/>
                  </a:cubicBezTo>
                  <a:cubicBezTo>
                    <a:pt x="184" y="1624"/>
                    <a:pt x="169" y="1686"/>
                    <a:pt x="137" y="1776"/>
                  </a:cubicBezTo>
                  <a:cubicBezTo>
                    <a:pt x="36" y="2410"/>
                    <a:pt x="36" y="2410"/>
                    <a:pt x="36" y="2410"/>
                  </a:cubicBezTo>
                  <a:cubicBezTo>
                    <a:pt x="363" y="2701"/>
                    <a:pt x="363" y="2701"/>
                    <a:pt x="363" y="2701"/>
                  </a:cubicBezTo>
                  <a:cubicBezTo>
                    <a:pt x="100" y="2801"/>
                    <a:pt x="100" y="2801"/>
                    <a:pt x="100" y="2801"/>
                  </a:cubicBezTo>
                  <a:cubicBezTo>
                    <a:pt x="215" y="2984"/>
                    <a:pt x="215" y="2984"/>
                    <a:pt x="215" y="2984"/>
                  </a:cubicBezTo>
                  <a:cubicBezTo>
                    <a:pt x="213" y="2999"/>
                    <a:pt x="203" y="3110"/>
                    <a:pt x="203" y="3112"/>
                  </a:cubicBezTo>
                  <a:cubicBezTo>
                    <a:pt x="124" y="3316"/>
                    <a:pt x="124" y="3316"/>
                    <a:pt x="124" y="3316"/>
                  </a:cubicBezTo>
                  <a:cubicBezTo>
                    <a:pt x="91" y="3390"/>
                    <a:pt x="91" y="3390"/>
                    <a:pt x="91" y="3390"/>
                  </a:cubicBezTo>
                  <a:cubicBezTo>
                    <a:pt x="29" y="3553"/>
                    <a:pt x="29" y="3553"/>
                    <a:pt x="29" y="3553"/>
                  </a:cubicBezTo>
                  <a:cubicBezTo>
                    <a:pt x="16" y="3563"/>
                    <a:pt x="20" y="3561"/>
                    <a:pt x="28" y="3555"/>
                  </a:cubicBezTo>
                  <a:cubicBezTo>
                    <a:pt x="4" y="3619"/>
                    <a:pt x="4" y="3619"/>
                    <a:pt x="4" y="3619"/>
                  </a:cubicBezTo>
                  <a:cubicBezTo>
                    <a:pt x="36" y="3623"/>
                    <a:pt x="36" y="3623"/>
                    <a:pt x="36" y="3623"/>
                  </a:cubicBezTo>
                  <a:cubicBezTo>
                    <a:pt x="0" y="4145"/>
                    <a:pt x="0" y="4145"/>
                    <a:pt x="0" y="4145"/>
                  </a:cubicBezTo>
                  <a:cubicBezTo>
                    <a:pt x="126" y="4158"/>
                    <a:pt x="126" y="4158"/>
                    <a:pt x="126" y="4158"/>
                  </a:cubicBezTo>
                  <a:cubicBezTo>
                    <a:pt x="153" y="4470"/>
                    <a:pt x="153" y="4470"/>
                    <a:pt x="153" y="4470"/>
                  </a:cubicBezTo>
                  <a:cubicBezTo>
                    <a:pt x="210" y="4777"/>
                    <a:pt x="210" y="4777"/>
                    <a:pt x="210" y="4777"/>
                  </a:cubicBezTo>
                  <a:cubicBezTo>
                    <a:pt x="308" y="5078"/>
                    <a:pt x="308" y="5078"/>
                    <a:pt x="308" y="5078"/>
                  </a:cubicBezTo>
                  <a:cubicBezTo>
                    <a:pt x="340" y="5374"/>
                    <a:pt x="340" y="5374"/>
                    <a:pt x="340" y="5374"/>
                  </a:cubicBezTo>
                  <a:cubicBezTo>
                    <a:pt x="383" y="5666"/>
                    <a:pt x="383" y="5666"/>
                    <a:pt x="383" y="5666"/>
                  </a:cubicBezTo>
                  <a:cubicBezTo>
                    <a:pt x="446" y="5946"/>
                    <a:pt x="446" y="5946"/>
                    <a:pt x="446" y="5946"/>
                  </a:cubicBezTo>
                  <a:cubicBezTo>
                    <a:pt x="556" y="6302"/>
                    <a:pt x="556" y="6302"/>
                    <a:pt x="556" y="6302"/>
                  </a:cubicBezTo>
                  <a:cubicBezTo>
                    <a:pt x="627" y="6594"/>
                    <a:pt x="627" y="6594"/>
                    <a:pt x="627" y="6594"/>
                  </a:cubicBezTo>
                  <a:cubicBezTo>
                    <a:pt x="665" y="6594"/>
                    <a:pt x="665" y="6594"/>
                    <a:pt x="665" y="6594"/>
                  </a:cubicBezTo>
                  <a:cubicBezTo>
                    <a:pt x="662" y="6672"/>
                    <a:pt x="662" y="6672"/>
                    <a:pt x="662" y="6672"/>
                  </a:cubicBezTo>
                  <a:cubicBezTo>
                    <a:pt x="649" y="6641"/>
                    <a:pt x="649" y="6641"/>
                    <a:pt x="649" y="6641"/>
                  </a:cubicBezTo>
                  <a:cubicBezTo>
                    <a:pt x="636" y="6670"/>
                    <a:pt x="636" y="6670"/>
                    <a:pt x="636" y="6670"/>
                  </a:cubicBezTo>
                  <a:cubicBezTo>
                    <a:pt x="579" y="6815"/>
                    <a:pt x="579" y="6815"/>
                    <a:pt x="579" y="6815"/>
                  </a:cubicBezTo>
                  <a:cubicBezTo>
                    <a:pt x="482" y="6907"/>
                    <a:pt x="482" y="6907"/>
                    <a:pt x="482" y="6907"/>
                  </a:cubicBezTo>
                  <a:cubicBezTo>
                    <a:pt x="306" y="7070"/>
                    <a:pt x="306" y="7070"/>
                    <a:pt x="306" y="7070"/>
                  </a:cubicBezTo>
                  <a:cubicBezTo>
                    <a:pt x="306" y="7070"/>
                    <a:pt x="59" y="7238"/>
                    <a:pt x="423" y="7238"/>
                  </a:cubicBezTo>
                  <a:cubicBezTo>
                    <a:pt x="424" y="7238"/>
                    <a:pt x="424" y="7238"/>
                    <a:pt x="424" y="7238"/>
                  </a:cubicBezTo>
                  <a:cubicBezTo>
                    <a:pt x="454" y="7238"/>
                    <a:pt x="490" y="7224"/>
                    <a:pt x="530" y="7218"/>
                  </a:cubicBezTo>
                  <a:cubicBezTo>
                    <a:pt x="570" y="7209"/>
                    <a:pt x="620" y="7189"/>
                    <a:pt x="677" y="7160"/>
                  </a:cubicBezTo>
                  <a:cubicBezTo>
                    <a:pt x="820" y="7079"/>
                    <a:pt x="820" y="7079"/>
                    <a:pt x="820" y="7079"/>
                  </a:cubicBezTo>
                  <a:cubicBezTo>
                    <a:pt x="869" y="7048"/>
                    <a:pt x="869" y="7048"/>
                    <a:pt x="869" y="7048"/>
                  </a:cubicBezTo>
                  <a:cubicBezTo>
                    <a:pt x="847" y="7336"/>
                    <a:pt x="847" y="7336"/>
                    <a:pt x="847" y="7336"/>
                  </a:cubicBezTo>
                  <a:cubicBezTo>
                    <a:pt x="917" y="7338"/>
                    <a:pt x="917" y="7338"/>
                    <a:pt x="917" y="7338"/>
                  </a:cubicBezTo>
                  <a:cubicBezTo>
                    <a:pt x="917" y="7338"/>
                    <a:pt x="886" y="7553"/>
                    <a:pt x="869" y="7588"/>
                  </a:cubicBezTo>
                  <a:cubicBezTo>
                    <a:pt x="861" y="7604"/>
                    <a:pt x="733" y="7825"/>
                    <a:pt x="724" y="7834"/>
                  </a:cubicBezTo>
                  <a:cubicBezTo>
                    <a:pt x="724" y="7834"/>
                    <a:pt x="486" y="8013"/>
                    <a:pt x="592" y="8065"/>
                  </a:cubicBezTo>
                  <a:cubicBezTo>
                    <a:pt x="596" y="8067"/>
                    <a:pt x="599" y="8068"/>
                    <a:pt x="602" y="8070"/>
                  </a:cubicBezTo>
                  <a:cubicBezTo>
                    <a:pt x="764" y="8109"/>
                    <a:pt x="999" y="8090"/>
                    <a:pt x="1066" y="7992"/>
                  </a:cubicBezTo>
                  <a:cubicBezTo>
                    <a:pt x="1128" y="7901"/>
                    <a:pt x="1081" y="7763"/>
                    <a:pt x="1164" y="7693"/>
                  </a:cubicBezTo>
                  <a:cubicBezTo>
                    <a:pt x="1165" y="7690"/>
                    <a:pt x="1165" y="7686"/>
                    <a:pt x="1166" y="7683"/>
                  </a:cubicBezTo>
                  <a:cubicBezTo>
                    <a:pt x="1159" y="7731"/>
                    <a:pt x="1169" y="7781"/>
                    <a:pt x="1167" y="7829"/>
                  </a:cubicBezTo>
                  <a:cubicBezTo>
                    <a:pt x="1199" y="7846"/>
                    <a:pt x="1258" y="7868"/>
                    <a:pt x="1296" y="7864"/>
                  </a:cubicBezTo>
                  <a:cubicBezTo>
                    <a:pt x="1311" y="7854"/>
                    <a:pt x="1329" y="7844"/>
                    <a:pt x="1344" y="7834"/>
                  </a:cubicBezTo>
                  <a:cubicBezTo>
                    <a:pt x="1349" y="7753"/>
                    <a:pt x="1354" y="7672"/>
                    <a:pt x="1359" y="7590"/>
                  </a:cubicBezTo>
                  <a:cubicBezTo>
                    <a:pt x="1375" y="7527"/>
                    <a:pt x="1392" y="7463"/>
                    <a:pt x="1408" y="7399"/>
                  </a:cubicBezTo>
                  <a:cubicBezTo>
                    <a:pt x="1440" y="7384"/>
                    <a:pt x="1479" y="7404"/>
                    <a:pt x="1464" y="7384"/>
                  </a:cubicBezTo>
                  <a:cubicBezTo>
                    <a:pt x="1314" y="5844"/>
                    <a:pt x="1314" y="5844"/>
                    <a:pt x="1314" y="5844"/>
                  </a:cubicBezTo>
                  <a:cubicBezTo>
                    <a:pt x="1274" y="5574"/>
                    <a:pt x="1274" y="5574"/>
                    <a:pt x="1274" y="5574"/>
                  </a:cubicBezTo>
                  <a:cubicBezTo>
                    <a:pt x="1249" y="4765"/>
                    <a:pt x="1479" y="4377"/>
                    <a:pt x="1479" y="4377"/>
                  </a:cubicBezTo>
                  <a:cubicBezTo>
                    <a:pt x="1580" y="4372"/>
                    <a:pt x="1580" y="4372"/>
                    <a:pt x="1580" y="4372"/>
                  </a:cubicBezTo>
                  <a:cubicBezTo>
                    <a:pt x="1580" y="3916"/>
                    <a:pt x="1580" y="3916"/>
                    <a:pt x="1580" y="3916"/>
                  </a:cubicBezTo>
                  <a:cubicBezTo>
                    <a:pt x="1617" y="3656"/>
                    <a:pt x="1617" y="3656"/>
                    <a:pt x="1617" y="3656"/>
                  </a:cubicBezTo>
                  <a:cubicBezTo>
                    <a:pt x="1624" y="3275"/>
                    <a:pt x="1624" y="3275"/>
                    <a:pt x="1624" y="3275"/>
                  </a:cubicBezTo>
                  <a:cubicBezTo>
                    <a:pt x="1624" y="3275"/>
                    <a:pt x="1641" y="3209"/>
                    <a:pt x="1656" y="3149"/>
                  </a:cubicBezTo>
                  <a:cubicBezTo>
                    <a:pt x="1662" y="3149"/>
                    <a:pt x="1667" y="3149"/>
                    <a:pt x="1673" y="3148"/>
                  </a:cubicBezTo>
                  <a:cubicBezTo>
                    <a:pt x="1673" y="3148"/>
                    <a:pt x="1874" y="3139"/>
                    <a:pt x="1919" y="3162"/>
                  </a:cubicBezTo>
                  <a:cubicBezTo>
                    <a:pt x="1919" y="3162"/>
                    <a:pt x="1989" y="3198"/>
                    <a:pt x="2060" y="3122"/>
                  </a:cubicBezTo>
                  <a:cubicBezTo>
                    <a:pt x="2060" y="3122"/>
                    <a:pt x="2168" y="3050"/>
                    <a:pt x="2126" y="3000"/>
                  </a:cubicBezTo>
                  <a:cubicBezTo>
                    <a:pt x="2126" y="3000"/>
                    <a:pt x="2119" y="2926"/>
                    <a:pt x="2140" y="2897"/>
                  </a:cubicBezTo>
                  <a:cubicBezTo>
                    <a:pt x="2140" y="2897"/>
                    <a:pt x="2152" y="2864"/>
                    <a:pt x="2136" y="2821"/>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75" name="Freeform 74"/>
            <p:cNvSpPr>
              <a:spLocks/>
            </p:cNvSpPr>
            <p:nvPr/>
          </p:nvSpPr>
          <p:spPr bwMode="auto">
            <a:xfrm>
              <a:off x="11783100" y="3022695"/>
              <a:ext cx="55059" cy="115623"/>
            </a:xfrm>
            <a:custGeom>
              <a:avLst/>
              <a:gdLst>
                <a:gd name="T0" fmla="*/ 128 w 128"/>
                <a:gd name="T1" fmla="*/ 216 h 272"/>
                <a:gd name="T2" fmla="*/ 56 w 128"/>
                <a:gd name="T3" fmla="*/ 0 h 272"/>
                <a:gd name="T4" fmla="*/ 0 w 128"/>
                <a:gd name="T5" fmla="*/ 152 h 272"/>
                <a:gd name="T6" fmla="*/ 128 w 128"/>
                <a:gd name="T7" fmla="*/ 216 h 272"/>
              </a:gdLst>
              <a:ahLst/>
              <a:cxnLst>
                <a:cxn ang="0">
                  <a:pos x="T0" y="T1"/>
                </a:cxn>
                <a:cxn ang="0">
                  <a:pos x="T2" y="T3"/>
                </a:cxn>
                <a:cxn ang="0">
                  <a:pos x="T4" y="T5"/>
                </a:cxn>
                <a:cxn ang="0">
                  <a:pos x="T6" y="T7"/>
                </a:cxn>
              </a:cxnLst>
              <a:rect l="0" t="0" r="r" b="b"/>
              <a:pathLst>
                <a:path w="128" h="272">
                  <a:moveTo>
                    <a:pt x="128" y="216"/>
                  </a:moveTo>
                  <a:cubicBezTo>
                    <a:pt x="128" y="216"/>
                    <a:pt x="120" y="32"/>
                    <a:pt x="56" y="0"/>
                  </a:cubicBezTo>
                  <a:cubicBezTo>
                    <a:pt x="56" y="0"/>
                    <a:pt x="8" y="0"/>
                    <a:pt x="0" y="152"/>
                  </a:cubicBezTo>
                  <a:cubicBezTo>
                    <a:pt x="0" y="152"/>
                    <a:pt x="24" y="272"/>
                    <a:pt x="128" y="216"/>
                  </a:cubicBezTo>
                  <a:close/>
                </a:path>
              </a:pathLst>
            </a:custGeom>
            <a:gradFill>
              <a:gsLst>
                <a:gs pos="6000">
                  <a:srgbClr val="EBEDEC"/>
                </a:gs>
                <a:gs pos="100000">
                  <a:srgbClr val="CBD0CE"/>
                </a:gs>
              </a:gsLst>
              <a:lin ang="5400000" scaled="0"/>
            </a:gradFill>
            <a:ln w="25400" cap="flat" cmpd="sng" algn="ctr">
              <a:noFill/>
              <a:prstDash val="solid"/>
            </a:ln>
            <a:effectLst>
              <a:softEdge rad="0"/>
            </a:effectLst>
            <a:extLst/>
          </p:spPr>
          <p:txBody>
            <a:bodyPr rtlCol="0" anchor="ctr"/>
            <a:lstStyle/>
            <a:p>
              <a:pPr algn="ctr">
                <a:defRPr/>
              </a:pPr>
              <a:endParaRPr lang="en-US" kern="0" dirty="0">
                <a:solidFill>
                  <a:sysClr val="window" lastClr="FFFFFF"/>
                </a:solidFill>
                <a:ea typeface="ＭＳ Ｐゴシック" pitchFamily="34" charset="-128"/>
                <a:cs typeface="Arial" pitchFamily="34" charset="0"/>
              </a:endParaRPr>
            </a:p>
          </p:txBody>
        </p:sp>
        <p:sp>
          <p:nvSpPr>
            <p:cNvPr id="76" name="Freeform 75"/>
            <p:cNvSpPr>
              <a:spLocks/>
            </p:cNvSpPr>
            <p:nvPr/>
          </p:nvSpPr>
          <p:spPr bwMode="auto">
            <a:xfrm>
              <a:off x="10862050" y="3017189"/>
              <a:ext cx="693738" cy="264281"/>
            </a:xfrm>
            <a:custGeom>
              <a:avLst/>
              <a:gdLst>
                <a:gd name="T0" fmla="*/ 874 w 882"/>
                <a:gd name="T1" fmla="*/ 336 h 336"/>
                <a:gd name="T2" fmla="*/ 882 w 882"/>
                <a:gd name="T3" fmla="*/ 308 h 336"/>
                <a:gd name="T4" fmla="*/ 392 w 882"/>
                <a:gd name="T5" fmla="*/ 39 h 336"/>
                <a:gd name="T6" fmla="*/ 14 w 882"/>
                <a:gd name="T7" fmla="*/ 0 h 336"/>
                <a:gd name="T8" fmla="*/ 0 w 882"/>
                <a:gd name="T9" fmla="*/ 21 h 336"/>
                <a:gd name="T10" fmla="*/ 221 w 882"/>
                <a:gd name="T11" fmla="*/ 177 h 336"/>
                <a:gd name="T12" fmla="*/ 461 w 882"/>
                <a:gd name="T13" fmla="*/ 292 h 336"/>
                <a:gd name="T14" fmla="*/ 874 w 882"/>
                <a:gd name="T15" fmla="*/ 336 h 3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336">
                  <a:moveTo>
                    <a:pt x="874" y="336"/>
                  </a:moveTo>
                  <a:lnTo>
                    <a:pt x="882" y="308"/>
                  </a:lnTo>
                  <a:lnTo>
                    <a:pt x="392" y="39"/>
                  </a:lnTo>
                  <a:lnTo>
                    <a:pt x="14" y="0"/>
                  </a:lnTo>
                  <a:lnTo>
                    <a:pt x="0" y="21"/>
                  </a:lnTo>
                  <a:lnTo>
                    <a:pt x="221" y="177"/>
                  </a:lnTo>
                  <a:lnTo>
                    <a:pt x="461" y="292"/>
                  </a:lnTo>
                  <a:lnTo>
                    <a:pt x="874" y="336"/>
                  </a:lnTo>
                  <a:close/>
                </a:path>
              </a:pathLst>
            </a:custGeom>
            <a:gradFill>
              <a:gsLst>
                <a:gs pos="50000">
                  <a:srgbClr val="FF1414"/>
                </a:gs>
                <a:gs pos="0">
                  <a:srgbClr val="AA0000"/>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77" name="Freeform 76"/>
            <p:cNvSpPr>
              <a:spLocks/>
            </p:cNvSpPr>
            <p:nvPr/>
          </p:nvSpPr>
          <p:spPr bwMode="auto">
            <a:xfrm>
              <a:off x="10859690" y="3016402"/>
              <a:ext cx="313047" cy="52699"/>
            </a:xfrm>
            <a:custGeom>
              <a:avLst/>
              <a:gdLst>
                <a:gd name="T0" fmla="*/ 0 w 398"/>
                <a:gd name="T1" fmla="*/ 21 h 67"/>
                <a:gd name="T2" fmla="*/ 386 w 398"/>
                <a:gd name="T3" fmla="*/ 67 h 67"/>
                <a:gd name="T4" fmla="*/ 398 w 398"/>
                <a:gd name="T5" fmla="*/ 28 h 67"/>
                <a:gd name="T6" fmla="*/ 14 w 398"/>
                <a:gd name="T7" fmla="*/ 0 h 67"/>
                <a:gd name="T8" fmla="*/ 0 w 398"/>
                <a:gd name="T9" fmla="*/ 21 h 67"/>
              </a:gdLst>
              <a:ahLst/>
              <a:cxnLst>
                <a:cxn ang="0">
                  <a:pos x="T0" y="T1"/>
                </a:cxn>
                <a:cxn ang="0">
                  <a:pos x="T2" y="T3"/>
                </a:cxn>
                <a:cxn ang="0">
                  <a:pos x="T4" y="T5"/>
                </a:cxn>
                <a:cxn ang="0">
                  <a:pos x="T6" y="T7"/>
                </a:cxn>
                <a:cxn ang="0">
                  <a:pos x="T8" y="T9"/>
                </a:cxn>
              </a:cxnLst>
              <a:rect l="0" t="0" r="r" b="b"/>
              <a:pathLst>
                <a:path w="398" h="67">
                  <a:moveTo>
                    <a:pt x="0" y="21"/>
                  </a:moveTo>
                  <a:lnTo>
                    <a:pt x="386" y="67"/>
                  </a:lnTo>
                  <a:lnTo>
                    <a:pt x="398" y="28"/>
                  </a:lnTo>
                  <a:lnTo>
                    <a:pt x="14" y="0"/>
                  </a:lnTo>
                  <a:lnTo>
                    <a:pt x="0" y="21"/>
                  </a:lnTo>
                  <a:close/>
                </a:path>
              </a:pathLst>
            </a:custGeom>
            <a:solidFill>
              <a:srgbClr val="FFFFFF"/>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78" name="Freeform 77"/>
            <p:cNvSpPr>
              <a:spLocks/>
            </p:cNvSpPr>
            <p:nvPr/>
          </p:nvSpPr>
          <p:spPr bwMode="auto">
            <a:xfrm>
              <a:off x="11164872" y="3038426"/>
              <a:ext cx="394848" cy="242257"/>
            </a:xfrm>
            <a:custGeom>
              <a:avLst/>
              <a:gdLst>
                <a:gd name="T0" fmla="*/ 0 w 502"/>
                <a:gd name="T1" fmla="*/ 39 h 308"/>
                <a:gd name="T2" fmla="*/ 489 w 502"/>
                <a:gd name="T3" fmla="*/ 308 h 308"/>
                <a:gd name="T4" fmla="*/ 502 w 502"/>
                <a:gd name="T5" fmla="*/ 279 h 308"/>
                <a:gd name="T6" fmla="*/ 11 w 502"/>
                <a:gd name="T7" fmla="*/ 0 h 308"/>
                <a:gd name="T8" fmla="*/ 0 w 502"/>
                <a:gd name="T9" fmla="*/ 39 h 308"/>
              </a:gdLst>
              <a:ahLst/>
              <a:cxnLst>
                <a:cxn ang="0">
                  <a:pos x="T0" y="T1"/>
                </a:cxn>
                <a:cxn ang="0">
                  <a:pos x="T2" y="T3"/>
                </a:cxn>
                <a:cxn ang="0">
                  <a:pos x="T4" y="T5"/>
                </a:cxn>
                <a:cxn ang="0">
                  <a:pos x="T6" y="T7"/>
                </a:cxn>
                <a:cxn ang="0">
                  <a:pos x="T8" y="T9"/>
                </a:cxn>
              </a:cxnLst>
              <a:rect l="0" t="0" r="r" b="b"/>
              <a:pathLst>
                <a:path w="502" h="308">
                  <a:moveTo>
                    <a:pt x="0" y="39"/>
                  </a:moveTo>
                  <a:lnTo>
                    <a:pt x="489" y="308"/>
                  </a:lnTo>
                  <a:lnTo>
                    <a:pt x="502" y="279"/>
                  </a:lnTo>
                  <a:lnTo>
                    <a:pt x="11" y="0"/>
                  </a:lnTo>
                  <a:lnTo>
                    <a:pt x="0"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sp>
          <p:nvSpPr>
            <p:cNvPr id="79" name="Freeform 78"/>
            <p:cNvSpPr>
              <a:spLocks/>
            </p:cNvSpPr>
            <p:nvPr/>
          </p:nvSpPr>
          <p:spPr bwMode="auto">
            <a:xfrm>
              <a:off x="10942278" y="3085619"/>
              <a:ext cx="325632" cy="252483"/>
            </a:xfrm>
            <a:custGeom>
              <a:avLst/>
              <a:gdLst>
                <a:gd name="T0" fmla="*/ 672 w 763"/>
                <a:gd name="T1" fmla="*/ 189 h 593"/>
                <a:gd name="T2" fmla="*/ 663 w 763"/>
                <a:gd name="T3" fmla="*/ 136 h 593"/>
                <a:gd name="T4" fmla="*/ 597 w 763"/>
                <a:gd name="T5" fmla="*/ 156 h 593"/>
                <a:gd name="T6" fmla="*/ 528 w 763"/>
                <a:gd name="T7" fmla="*/ 271 h 593"/>
                <a:gd name="T8" fmla="*/ 571 w 763"/>
                <a:gd name="T9" fmla="*/ 125 h 593"/>
                <a:gd name="T10" fmla="*/ 516 w 763"/>
                <a:gd name="T11" fmla="*/ 76 h 593"/>
                <a:gd name="T12" fmla="*/ 428 w 763"/>
                <a:gd name="T13" fmla="*/ 196 h 593"/>
                <a:gd name="T14" fmla="*/ 403 w 763"/>
                <a:gd name="T15" fmla="*/ 188 h 593"/>
                <a:gd name="T16" fmla="*/ 388 w 763"/>
                <a:gd name="T17" fmla="*/ 115 h 593"/>
                <a:gd name="T18" fmla="*/ 355 w 763"/>
                <a:gd name="T19" fmla="*/ 39 h 593"/>
                <a:gd name="T20" fmla="*/ 311 w 763"/>
                <a:gd name="T21" fmla="*/ 172 h 593"/>
                <a:gd name="T22" fmla="*/ 238 w 763"/>
                <a:gd name="T23" fmla="*/ 152 h 593"/>
                <a:gd name="T24" fmla="*/ 153 w 763"/>
                <a:gd name="T25" fmla="*/ 76 h 593"/>
                <a:gd name="T26" fmla="*/ 5 w 763"/>
                <a:gd name="T27" fmla="*/ 43 h 593"/>
                <a:gd name="T28" fmla="*/ 72 w 763"/>
                <a:gd name="T29" fmla="*/ 101 h 593"/>
                <a:gd name="T30" fmla="*/ 129 w 763"/>
                <a:gd name="T31" fmla="*/ 201 h 593"/>
                <a:gd name="T32" fmla="*/ 203 w 763"/>
                <a:gd name="T33" fmla="*/ 277 h 593"/>
                <a:gd name="T34" fmla="*/ 201 w 763"/>
                <a:gd name="T35" fmla="*/ 287 h 593"/>
                <a:gd name="T36" fmla="*/ 336 w 763"/>
                <a:gd name="T37" fmla="*/ 537 h 593"/>
                <a:gd name="T38" fmla="*/ 444 w 763"/>
                <a:gd name="T39" fmla="*/ 552 h 593"/>
                <a:gd name="T40" fmla="*/ 535 w 763"/>
                <a:gd name="T41" fmla="*/ 539 h 593"/>
                <a:gd name="T42" fmla="*/ 644 w 763"/>
                <a:gd name="T43" fmla="*/ 456 h 593"/>
                <a:gd name="T44" fmla="*/ 665 w 763"/>
                <a:gd name="T45" fmla="*/ 339 h 593"/>
                <a:gd name="T46" fmla="*/ 739 w 763"/>
                <a:gd name="T47" fmla="*/ 276 h 593"/>
                <a:gd name="T48" fmla="*/ 761 w 763"/>
                <a:gd name="T49" fmla="*/ 212 h 593"/>
                <a:gd name="T50" fmla="*/ 703 w 763"/>
                <a:gd name="T51" fmla="*/ 211 h 593"/>
                <a:gd name="T52" fmla="*/ 637 w 763"/>
                <a:gd name="T53" fmla="*/ 273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3" h="593">
                  <a:moveTo>
                    <a:pt x="672" y="189"/>
                  </a:moveTo>
                  <a:cubicBezTo>
                    <a:pt x="680" y="156"/>
                    <a:pt x="663" y="136"/>
                    <a:pt x="663" y="136"/>
                  </a:cubicBezTo>
                  <a:cubicBezTo>
                    <a:pt x="623" y="113"/>
                    <a:pt x="597" y="156"/>
                    <a:pt x="597" y="156"/>
                  </a:cubicBezTo>
                  <a:cubicBezTo>
                    <a:pt x="593" y="165"/>
                    <a:pt x="528" y="271"/>
                    <a:pt x="528" y="271"/>
                  </a:cubicBezTo>
                  <a:cubicBezTo>
                    <a:pt x="521" y="248"/>
                    <a:pt x="571" y="125"/>
                    <a:pt x="571" y="125"/>
                  </a:cubicBezTo>
                  <a:cubicBezTo>
                    <a:pt x="593" y="76"/>
                    <a:pt x="516" y="76"/>
                    <a:pt x="516" y="76"/>
                  </a:cubicBezTo>
                  <a:cubicBezTo>
                    <a:pt x="496" y="76"/>
                    <a:pt x="428" y="196"/>
                    <a:pt x="428" y="196"/>
                  </a:cubicBezTo>
                  <a:cubicBezTo>
                    <a:pt x="403" y="188"/>
                    <a:pt x="403" y="188"/>
                    <a:pt x="403" y="188"/>
                  </a:cubicBezTo>
                  <a:cubicBezTo>
                    <a:pt x="388" y="115"/>
                    <a:pt x="388" y="115"/>
                    <a:pt x="388" y="115"/>
                  </a:cubicBezTo>
                  <a:cubicBezTo>
                    <a:pt x="388" y="39"/>
                    <a:pt x="355" y="39"/>
                    <a:pt x="355" y="39"/>
                  </a:cubicBezTo>
                  <a:cubicBezTo>
                    <a:pt x="284" y="29"/>
                    <a:pt x="311" y="172"/>
                    <a:pt x="311" y="172"/>
                  </a:cubicBezTo>
                  <a:cubicBezTo>
                    <a:pt x="238" y="152"/>
                    <a:pt x="238" y="152"/>
                    <a:pt x="238" y="152"/>
                  </a:cubicBezTo>
                  <a:cubicBezTo>
                    <a:pt x="197" y="151"/>
                    <a:pt x="153" y="76"/>
                    <a:pt x="153" y="76"/>
                  </a:cubicBezTo>
                  <a:cubicBezTo>
                    <a:pt x="24" y="0"/>
                    <a:pt x="5" y="43"/>
                    <a:pt x="5" y="43"/>
                  </a:cubicBezTo>
                  <a:cubicBezTo>
                    <a:pt x="0" y="69"/>
                    <a:pt x="72" y="101"/>
                    <a:pt x="72" y="101"/>
                  </a:cubicBezTo>
                  <a:cubicBezTo>
                    <a:pt x="72" y="101"/>
                    <a:pt x="110" y="158"/>
                    <a:pt x="129" y="201"/>
                  </a:cubicBezTo>
                  <a:cubicBezTo>
                    <a:pt x="156" y="262"/>
                    <a:pt x="203" y="277"/>
                    <a:pt x="203" y="277"/>
                  </a:cubicBezTo>
                  <a:cubicBezTo>
                    <a:pt x="201" y="287"/>
                    <a:pt x="201" y="287"/>
                    <a:pt x="201" y="287"/>
                  </a:cubicBezTo>
                  <a:cubicBezTo>
                    <a:pt x="197" y="449"/>
                    <a:pt x="336" y="537"/>
                    <a:pt x="336" y="537"/>
                  </a:cubicBezTo>
                  <a:cubicBezTo>
                    <a:pt x="393" y="593"/>
                    <a:pt x="444" y="552"/>
                    <a:pt x="444" y="552"/>
                  </a:cubicBezTo>
                  <a:cubicBezTo>
                    <a:pt x="459" y="548"/>
                    <a:pt x="535" y="539"/>
                    <a:pt x="535" y="539"/>
                  </a:cubicBezTo>
                  <a:cubicBezTo>
                    <a:pt x="584" y="549"/>
                    <a:pt x="644" y="456"/>
                    <a:pt x="644" y="456"/>
                  </a:cubicBezTo>
                  <a:cubicBezTo>
                    <a:pt x="677" y="408"/>
                    <a:pt x="665" y="339"/>
                    <a:pt x="665" y="339"/>
                  </a:cubicBezTo>
                  <a:cubicBezTo>
                    <a:pt x="739" y="276"/>
                    <a:pt x="739" y="276"/>
                    <a:pt x="739" y="276"/>
                  </a:cubicBezTo>
                  <a:cubicBezTo>
                    <a:pt x="763" y="253"/>
                    <a:pt x="761" y="212"/>
                    <a:pt x="761" y="212"/>
                  </a:cubicBezTo>
                  <a:cubicBezTo>
                    <a:pt x="747" y="177"/>
                    <a:pt x="703" y="211"/>
                    <a:pt x="703" y="211"/>
                  </a:cubicBezTo>
                  <a:cubicBezTo>
                    <a:pt x="637" y="273"/>
                    <a:pt x="637" y="273"/>
                    <a:pt x="637" y="273"/>
                  </a:cubicBez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a typeface="ＭＳ Ｐゴシック" pitchFamily="34" charset="-128"/>
                <a:cs typeface="Arial" pitchFamily="34" charset="0"/>
              </a:endParaRPr>
            </a:p>
          </p:txBody>
        </p:sp>
      </p:grpSp>
      <p:sp>
        <p:nvSpPr>
          <p:cNvPr id="80" name="Title 79"/>
          <p:cNvSpPr>
            <a:spLocks noGrp="1"/>
          </p:cNvSpPr>
          <p:nvPr>
            <p:ph type="title"/>
          </p:nvPr>
        </p:nvSpPr>
        <p:spPr>
          <a:xfrm>
            <a:off x="804347" y="238673"/>
            <a:ext cx="8229586" cy="406395"/>
          </a:xfrm>
        </p:spPr>
        <p:txBody>
          <a:bodyPr/>
          <a:lstStyle/>
          <a:p>
            <a:r>
              <a:rPr lang="en-US" dirty="0" smtClean="0">
                <a:solidFill>
                  <a:schemeClr val="accent1"/>
                </a:solidFill>
              </a:rPr>
              <a:t>WHY </a:t>
            </a:r>
            <a:r>
              <a:rPr lang="en-US" dirty="0" smtClean="0"/>
              <a:t>Partner with Oracle</a:t>
            </a:r>
            <a:endParaRPr lang="en-US" dirty="0"/>
          </a:p>
        </p:txBody>
      </p:sp>
      <p:grpSp>
        <p:nvGrpSpPr>
          <p:cNvPr id="3" name="Group 5"/>
          <p:cNvGrpSpPr/>
          <p:nvPr/>
        </p:nvGrpSpPr>
        <p:grpSpPr>
          <a:xfrm>
            <a:off x="3158615" y="2114377"/>
            <a:ext cx="341578" cy="439349"/>
            <a:chOff x="2890111" y="2292867"/>
            <a:chExt cx="341578" cy="439349"/>
          </a:xfrm>
        </p:grpSpPr>
        <p:sp>
          <p:nvSpPr>
            <p:cNvPr id="43" name="Isosceles Triangle 42"/>
            <p:cNvSpPr/>
            <p:nvPr/>
          </p:nvSpPr>
          <p:spPr bwMode="auto">
            <a:xfrm rot="5400000">
              <a:off x="2896145" y="2396672"/>
              <a:ext cx="439349" cy="231739"/>
            </a:xfrm>
            <a:prstGeom prst="triangle">
              <a:avLst>
                <a:gd name="adj" fmla="val 50494"/>
              </a:avLst>
            </a:prstGeom>
            <a:solidFill>
              <a:schemeClr val="accent1"/>
            </a:soli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a:endParaRPr lang="en-US" b="1" dirty="0">
                <a:solidFill>
                  <a:srgbClr val="000000"/>
                </a:solidFill>
                <a:ea typeface="ＭＳ Ｐゴシック" pitchFamily="34" charset="-128"/>
                <a:cs typeface="Arial" pitchFamily="34" charset="0"/>
              </a:endParaRPr>
            </a:p>
          </p:txBody>
        </p:sp>
        <p:sp>
          <p:nvSpPr>
            <p:cNvPr id="55" name="Isosceles Triangle 54"/>
            <p:cNvSpPr/>
            <p:nvPr/>
          </p:nvSpPr>
          <p:spPr bwMode="auto">
            <a:xfrm rot="5400000">
              <a:off x="2786306" y="2396672"/>
              <a:ext cx="439349" cy="231739"/>
            </a:xfrm>
            <a:prstGeom prst="triangle">
              <a:avLst>
                <a:gd name="adj" fmla="val 50494"/>
              </a:avLst>
            </a:prstGeom>
            <a:solidFill>
              <a:schemeClr val="bg1"/>
            </a:soli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a:endParaRPr lang="en-US" b="1" dirty="0">
                <a:solidFill>
                  <a:srgbClr val="000000"/>
                </a:solidFill>
                <a:ea typeface="ＭＳ Ｐゴシック" pitchFamily="34" charset="-128"/>
                <a:cs typeface="Arial" pitchFamily="34" charset="0"/>
              </a:endParaRPr>
            </a:p>
          </p:txBody>
        </p:sp>
      </p:grpSp>
      <p:pic>
        <p:nvPicPr>
          <p:cNvPr id="85" name="Picture 3" descr="D:\OPN Program Team Position\Corporate Branding\Icons\ic-Application-gray.png"/>
          <p:cNvPicPr>
            <a:picLocks noChangeAspect="1" noChangeArrowheads="1"/>
          </p:cNvPicPr>
          <p:nvPr/>
        </p:nvPicPr>
        <p:blipFill>
          <a:blip r:embed="rId3" cstate="print"/>
          <a:srcRect/>
          <a:stretch>
            <a:fillRect/>
          </a:stretch>
        </p:blipFill>
        <p:spPr bwMode="auto">
          <a:xfrm>
            <a:off x="3554911" y="1886406"/>
            <a:ext cx="1265955" cy="1230243"/>
          </a:xfrm>
          <a:prstGeom prst="rect">
            <a:avLst/>
          </a:prstGeom>
          <a:noFill/>
        </p:spPr>
      </p:pic>
      <p:pic>
        <p:nvPicPr>
          <p:cNvPr id="86" name="Picture 1" descr="D:\OPN Program Team Position\Corporate Branding\Icons\ic-Billing-gray.png"/>
          <p:cNvPicPr>
            <a:picLocks noChangeAspect="1" noChangeArrowheads="1"/>
          </p:cNvPicPr>
          <p:nvPr/>
        </p:nvPicPr>
        <p:blipFill>
          <a:blip r:embed="rId4" cstate="print"/>
          <a:srcRect/>
          <a:stretch>
            <a:fillRect/>
          </a:stretch>
        </p:blipFill>
        <p:spPr bwMode="auto">
          <a:xfrm>
            <a:off x="3805292" y="3100167"/>
            <a:ext cx="788888" cy="766634"/>
          </a:xfrm>
          <a:prstGeom prst="rect">
            <a:avLst/>
          </a:prstGeom>
          <a:noFill/>
        </p:spPr>
      </p:pic>
      <p:grpSp>
        <p:nvGrpSpPr>
          <p:cNvPr id="4" name="Group 6"/>
          <p:cNvGrpSpPr/>
          <p:nvPr/>
        </p:nvGrpSpPr>
        <p:grpSpPr>
          <a:xfrm>
            <a:off x="3786568" y="1143001"/>
            <a:ext cx="741119" cy="761460"/>
            <a:chOff x="3621291" y="888414"/>
            <a:chExt cx="835920" cy="883796"/>
          </a:xfrm>
        </p:grpSpPr>
        <p:sp>
          <p:nvSpPr>
            <p:cNvPr id="57" name="Freeform 16"/>
            <p:cNvSpPr>
              <a:spLocks/>
            </p:cNvSpPr>
            <p:nvPr/>
          </p:nvSpPr>
          <p:spPr bwMode="auto">
            <a:xfrm>
              <a:off x="4001106" y="888414"/>
              <a:ext cx="82488" cy="125696"/>
            </a:xfrm>
            <a:custGeom>
              <a:avLst/>
              <a:gdLst/>
              <a:ahLst/>
              <a:cxnLst>
                <a:cxn ang="0">
                  <a:pos x="24" y="4"/>
                </a:cxn>
                <a:cxn ang="0">
                  <a:pos x="24" y="4"/>
                </a:cxn>
                <a:cxn ang="0">
                  <a:pos x="22" y="2"/>
                </a:cxn>
                <a:cxn ang="0">
                  <a:pos x="22" y="0"/>
                </a:cxn>
                <a:cxn ang="0">
                  <a:pos x="22" y="0"/>
                </a:cxn>
                <a:cxn ang="0">
                  <a:pos x="14" y="0"/>
                </a:cxn>
                <a:cxn ang="0">
                  <a:pos x="8" y="2"/>
                </a:cxn>
                <a:cxn ang="0">
                  <a:pos x="4" y="6"/>
                </a:cxn>
                <a:cxn ang="0">
                  <a:pos x="2" y="10"/>
                </a:cxn>
                <a:cxn ang="0">
                  <a:pos x="0" y="16"/>
                </a:cxn>
                <a:cxn ang="0">
                  <a:pos x="0" y="20"/>
                </a:cxn>
                <a:cxn ang="0">
                  <a:pos x="0" y="38"/>
                </a:cxn>
                <a:cxn ang="0">
                  <a:pos x="4" y="42"/>
                </a:cxn>
                <a:cxn ang="0">
                  <a:pos x="4" y="46"/>
                </a:cxn>
                <a:cxn ang="0">
                  <a:pos x="4" y="46"/>
                </a:cxn>
                <a:cxn ang="0">
                  <a:pos x="6" y="52"/>
                </a:cxn>
                <a:cxn ang="0">
                  <a:pos x="8" y="56"/>
                </a:cxn>
                <a:cxn ang="0">
                  <a:pos x="14" y="62"/>
                </a:cxn>
                <a:cxn ang="0">
                  <a:pos x="18" y="62"/>
                </a:cxn>
                <a:cxn ang="0">
                  <a:pos x="20" y="64"/>
                </a:cxn>
                <a:cxn ang="0">
                  <a:pos x="20" y="64"/>
                </a:cxn>
                <a:cxn ang="0">
                  <a:pos x="24" y="62"/>
                </a:cxn>
                <a:cxn ang="0">
                  <a:pos x="28" y="62"/>
                </a:cxn>
                <a:cxn ang="0">
                  <a:pos x="34" y="56"/>
                </a:cxn>
                <a:cxn ang="0">
                  <a:pos x="36" y="52"/>
                </a:cxn>
                <a:cxn ang="0">
                  <a:pos x="38" y="46"/>
                </a:cxn>
                <a:cxn ang="0">
                  <a:pos x="38" y="46"/>
                </a:cxn>
                <a:cxn ang="0">
                  <a:pos x="38" y="46"/>
                </a:cxn>
                <a:cxn ang="0">
                  <a:pos x="38" y="42"/>
                </a:cxn>
                <a:cxn ang="0">
                  <a:pos x="42" y="38"/>
                </a:cxn>
                <a:cxn ang="0">
                  <a:pos x="42" y="20"/>
                </a:cxn>
                <a:cxn ang="0">
                  <a:pos x="42" y="20"/>
                </a:cxn>
                <a:cxn ang="0">
                  <a:pos x="40" y="14"/>
                </a:cxn>
                <a:cxn ang="0">
                  <a:pos x="36" y="8"/>
                </a:cxn>
                <a:cxn ang="0">
                  <a:pos x="30" y="4"/>
                </a:cxn>
                <a:cxn ang="0">
                  <a:pos x="24" y="4"/>
                </a:cxn>
              </a:cxnLst>
              <a:rect l="0" t="0" r="r" b="b"/>
              <a:pathLst>
                <a:path w="42" h="64">
                  <a:moveTo>
                    <a:pt x="24" y="4"/>
                  </a:moveTo>
                  <a:lnTo>
                    <a:pt x="24" y="4"/>
                  </a:lnTo>
                  <a:lnTo>
                    <a:pt x="22" y="2"/>
                  </a:lnTo>
                  <a:lnTo>
                    <a:pt x="22" y="0"/>
                  </a:lnTo>
                  <a:lnTo>
                    <a:pt x="22" y="0"/>
                  </a:lnTo>
                  <a:lnTo>
                    <a:pt x="14" y="0"/>
                  </a:lnTo>
                  <a:lnTo>
                    <a:pt x="8" y="2"/>
                  </a:lnTo>
                  <a:lnTo>
                    <a:pt x="4" y="6"/>
                  </a:lnTo>
                  <a:lnTo>
                    <a:pt x="2" y="10"/>
                  </a:lnTo>
                  <a:lnTo>
                    <a:pt x="0" y="16"/>
                  </a:lnTo>
                  <a:lnTo>
                    <a:pt x="0" y="20"/>
                  </a:lnTo>
                  <a:lnTo>
                    <a:pt x="0" y="38"/>
                  </a:lnTo>
                  <a:lnTo>
                    <a:pt x="4" y="42"/>
                  </a:lnTo>
                  <a:lnTo>
                    <a:pt x="4" y="46"/>
                  </a:lnTo>
                  <a:lnTo>
                    <a:pt x="4" y="46"/>
                  </a:lnTo>
                  <a:lnTo>
                    <a:pt x="6" y="52"/>
                  </a:lnTo>
                  <a:lnTo>
                    <a:pt x="8" y="56"/>
                  </a:lnTo>
                  <a:lnTo>
                    <a:pt x="14" y="62"/>
                  </a:lnTo>
                  <a:lnTo>
                    <a:pt x="18" y="62"/>
                  </a:lnTo>
                  <a:lnTo>
                    <a:pt x="20" y="64"/>
                  </a:lnTo>
                  <a:lnTo>
                    <a:pt x="20" y="64"/>
                  </a:lnTo>
                  <a:lnTo>
                    <a:pt x="24" y="62"/>
                  </a:lnTo>
                  <a:lnTo>
                    <a:pt x="28" y="62"/>
                  </a:lnTo>
                  <a:lnTo>
                    <a:pt x="34" y="56"/>
                  </a:lnTo>
                  <a:lnTo>
                    <a:pt x="36" y="52"/>
                  </a:lnTo>
                  <a:lnTo>
                    <a:pt x="38" y="46"/>
                  </a:lnTo>
                  <a:lnTo>
                    <a:pt x="38" y="46"/>
                  </a:lnTo>
                  <a:lnTo>
                    <a:pt x="38" y="46"/>
                  </a:lnTo>
                  <a:lnTo>
                    <a:pt x="38" y="42"/>
                  </a:lnTo>
                  <a:lnTo>
                    <a:pt x="42" y="38"/>
                  </a:lnTo>
                  <a:lnTo>
                    <a:pt x="42" y="20"/>
                  </a:lnTo>
                  <a:lnTo>
                    <a:pt x="42" y="20"/>
                  </a:lnTo>
                  <a:lnTo>
                    <a:pt x="40" y="14"/>
                  </a:lnTo>
                  <a:lnTo>
                    <a:pt x="36" y="8"/>
                  </a:lnTo>
                  <a:lnTo>
                    <a:pt x="30" y="4"/>
                  </a:lnTo>
                  <a:lnTo>
                    <a:pt x="24" y="4"/>
                  </a:lnTo>
                </a:path>
              </a:pathLst>
            </a:custGeom>
            <a:solidFill>
              <a:srgbClr val="777777"/>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58" name="Freeform 17"/>
            <p:cNvSpPr>
              <a:spLocks/>
            </p:cNvSpPr>
            <p:nvPr/>
          </p:nvSpPr>
          <p:spPr bwMode="auto">
            <a:xfrm>
              <a:off x="4288306" y="967288"/>
              <a:ext cx="70703" cy="106055"/>
            </a:xfrm>
            <a:custGeom>
              <a:avLst/>
              <a:gdLst/>
              <a:ahLst/>
              <a:cxnLst>
                <a:cxn ang="0">
                  <a:pos x="22" y="4"/>
                </a:cxn>
                <a:cxn ang="0">
                  <a:pos x="22" y="4"/>
                </a:cxn>
                <a:cxn ang="0">
                  <a:pos x="20" y="2"/>
                </a:cxn>
                <a:cxn ang="0">
                  <a:pos x="20" y="0"/>
                </a:cxn>
                <a:cxn ang="0">
                  <a:pos x="20" y="0"/>
                </a:cxn>
                <a:cxn ang="0">
                  <a:pos x="14" y="2"/>
                </a:cxn>
                <a:cxn ang="0">
                  <a:pos x="8" y="4"/>
                </a:cxn>
                <a:cxn ang="0">
                  <a:pos x="2" y="8"/>
                </a:cxn>
                <a:cxn ang="0">
                  <a:pos x="0" y="14"/>
                </a:cxn>
                <a:cxn ang="0">
                  <a:pos x="0" y="18"/>
                </a:cxn>
                <a:cxn ang="0">
                  <a:pos x="0" y="32"/>
                </a:cxn>
                <a:cxn ang="0">
                  <a:pos x="4" y="36"/>
                </a:cxn>
                <a:cxn ang="0">
                  <a:pos x="4" y="38"/>
                </a:cxn>
                <a:cxn ang="0">
                  <a:pos x="4" y="38"/>
                </a:cxn>
                <a:cxn ang="0">
                  <a:pos x="8" y="48"/>
                </a:cxn>
                <a:cxn ang="0">
                  <a:pos x="12" y="52"/>
                </a:cxn>
                <a:cxn ang="0">
                  <a:pos x="16" y="54"/>
                </a:cxn>
                <a:cxn ang="0">
                  <a:pos x="18" y="54"/>
                </a:cxn>
                <a:cxn ang="0">
                  <a:pos x="18" y="54"/>
                </a:cxn>
                <a:cxn ang="0">
                  <a:pos x="20" y="54"/>
                </a:cxn>
                <a:cxn ang="0">
                  <a:pos x="24" y="52"/>
                </a:cxn>
                <a:cxn ang="0">
                  <a:pos x="30" y="48"/>
                </a:cxn>
                <a:cxn ang="0">
                  <a:pos x="32" y="38"/>
                </a:cxn>
                <a:cxn ang="0">
                  <a:pos x="32" y="38"/>
                </a:cxn>
                <a:cxn ang="0">
                  <a:pos x="32" y="38"/>
                </a:cxn>
                <a:cxn ang="0">
                  <a:pos x="32" y="36"/>
                </a:cxn>
                <a:cxn ang="0">
                  <a:pos x="36" y="32"/>
                </a:cxn>
                <a:cxn ang="0">
                  <a:pos x="36" y="18"/>
                </a:cxn>
                <a:cxn ang="0">
                  <a:pos x="36" y="18"/>
                </a:cxn>
                <a:cxn ang="0">
                  <a:pos x="36" y="12"/>
                </a:cxn>
                <a:cxn ang="0">
                  <a:pos x="32" y="8"/>
                </a:cxn>
                <a:cxn ang="0">
                  <a:pos x="28" y="6"/>
                </a:cxn>
                <a:cxn ang="0">
                  <a:pos x="22" y="4"/>
                </a:cxn>
              </a:cxnLst>
              <a:rect l="0" t="0" r="r" b="b"/>
              <a:pathLst>
                <a:path w="36" h="54">
                  <a:moveTo>
                    <a:pt x="22" y="4"/>
                  </a:moveTo>
                  <a:lnTo>
                    <a:pt x="22" y="4"/>
                  </a:lnTo>
                  <a:lnTo>
                    <a:pt x="20" y="2"/>
                  </a:lnTo>
                  <a:lnTo>
                    <a:pt x="20" y="0"/>
                  </a:lnTo>
                  <a:lnTo>
                    <a:pt x="20" y="0"/>
                  </a:lnTo>
                  <a:lnTo>
                    <a:pt x="14" y="2"/>
                  </a:lnTo>
                  <a:lnTo>
                    <a:pt x="8" y="4"/>
                  </a:lnTo>
                  <a:lnTo>
                    <a:pt x="2" y="8"/>
                  </a:lnTo>
                  <a:lnTo>
                    <a:pt x="0" y="14"/>
                  </a:lnTo>
                  <a:lnTo>
                    <a:pt x="0" y="18"/>
                  </a:lnTo>
                  <a:lnTo>
                    <a:pt x="0" y="32"/>
                  </a:lnTo>
                  <a:lnTo>
                    <a:pt x="4" y="36"/>
                  </a:lnTo>
                  <a:lnTo>
                    <a:pt x="4" y="38"/>
                  </a:lnTo>
                  <a:lnTo>
                    <a:pt x="4" y="38"/>
                  </a:lnTo>
                  <a:lnTo>
                    <a:pt x="8" y="48"/>
                  </a:lnTo>
                  <a:lnTo>
                    <a:pt x="12" y="52"/>
                  </a:lnTo>
                  <a:lnTo>
                    <a:pt x="16" y="54"/>
                  </a:lnTo>
                  <a:lnTo>
                    <a:pt x="18" y="54"/>
                  </a:lnTo>
                  <a:lnTo>
                    <a:pt x="18" y="54"/>
                  </a:lnTo>
                  <a:lnTo>
                    <a:pt x="20" y="54"/>
                  </a:lnTo>
                  <a:lnTo>
                    <a:pt x="24" y="52"/>
                  </a:lnTo>
                  <a:lnTo>
                    <a:pt x="30" y="48"/>
                  </a:lnTo>
                  <a:lnTo>
                    <a:pt x="32" y="38"/>
                  </a:lnTo>
                  <a:lnTo>
                    <a:pt x="32" y="38"/>
                  </a:lnTo>
                  <a:lnTo>
                    <a:pt x="32" y="38"/>
                  </a:lnTo>
                  <a:lnTo>
                    <a:pt x="32" y="36"/>
                  </a:lnTo>
                  <a:lnTo>
                    <a:pt x="36" y="32"/>
                  </a:lnTo>
                  <a:lnTo>
                    <a:pt x="36" y="18"/>
                  </a:lnTo>
                  <a:lnTo>
                    <a:pt x="36" y="18"/>
                  </a:lnTo>
                  <a:lnTo>
                    <a:pt x="36" y="12"/>
                  </a:lnTo>
                  <a:lnTo>
                    <a:pt x="32" y="8"/>
                  </a:lnTo>
                  <a:lnTo>
                    <a:pt x="28" y="6"/>
                  </a:lnTo>
                  <a:lnTo>
                    <a:pt x="22" y="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82" name="Freeform 24"/>
            <p:cNvSpPr>
              <a:spLocks/>
            </p:cNvSpPr>
            <p:nvPr/>
          </p:nvSpPr>
          <p:spPr bwMode="auto">
            <a:xfrm>
              <a:off x="4190108" y="1089057"/>
              <a:ext cx="267103" cy="608838"/>
            </a:xfrm>
            <a:custGeom>
              <a:avLst/>
              <a:gdLst/>
              <a:ahLst/>
              <a:cxnLst>
                <a:cxn ang="0">
                  <a:pos x="124" y="140"/>
                </a:cxn>
                <a:cxn ang="0">
                  <a:pos x="136" y="140"/>
                </a:cxn>
                <a:cxn ang="0">
                  <a:pos x="112" y="16"/>
                </a:cxn>
                <a:cxn ang="0">
                  <a:pos x="112" y="14"/>
                </a:cxn>
                <a:cxn ang="0">
                  <a:pos x="112" y="14"/>
                </a:cxn>
                <a:cxn ang="0">
                  <a:pos x="110" y="12"/>
                </a:cxn>
                <a:cxn ang="0">
                  <a:pos x="110" y="12"/>
                </a:cxn>
                <a:cxn ang="0">
                  <a:pos x="108" y="10"/>
                </a:cxn>
                <a:cxn ang="0">
                  <a:pos x="84" y="0"/>
                </a:cxn>
                <a:cxn ang="0">
                  <a:pos x="68" y="60"/>
                </a:cxn>
                <a:cxn ang="0">
                  <a:pos x="54" y="0"/>
                </a:cxn>
                <a:cxn ang="0">
                  <a:pos x="30" y="10"/>
                </a:cxn>
                <a:cxn ang="0">
                  <a:pos x="30" y="10"/>
                </a:cxn>
                <a:cxn ang="0">
                  <a:pos x="30" y="10"/>
                </a:cxn>
                <a:cxn ang="0">
                  <a:pos x="28" y="10"/>
                </a:cxn>
                <a:cxn ang="0">
                  <a:pos x="28" y="12"/>
                </a:cxn>
                <a:cxn ang="0">
                  <a:pos x="28" y="12"/>
                </a:cxn>
                <a:cxn ang="0">
                  <a:pos x="28" y="12"/>
                </a:cxn>
                <a:cxn ang="0">
                  <a:pos x="28" y="12"/>
                </a:cxn>
                <a:cxn ang="0">
                  <a:pos x="26" y="14"/>
                </a:cxn>
                <a:cxn ang="0">
                  <a:pos x="26" y="14"/>
                </a:cxn>
                <a:cxn ang="0">
                  <a:pos x="0" y="140"/>
                </a:cxn>
                <a:cxn ang="0">
                  <a:pos x="14" y="140"/>
                </a:cxn>
                <a:cxn ang="0">
                  <a:pos x="34" y="76"/>
                </a:cxn>
                <a:cxn ang="0">
                  <a:pos x="34" y="96"/>
                </a:cxn>
                <a:cxn ang="0">
                  <a:pos x="20" y="154"/>
                </a:cxn>
                <a:cxn ang="0">
                  <a:pos x="32" y="154"/>
                </a:cxn>
                <a:cxn ang="0">
                  <a:pos x="44" y="310"/>
                </a:cxn>
                <a:cxn ang="0">
                  <a:pos x="62" y="310"/>
                </a:cxn>
                <a:cxn ang="0">
                  <a:pos x="62" y="154"/>
                </a:cxn>
                <a:cxn ang="0">
                  <a:pos x="72" y="154"/>
                </a:cxn>
                <a:cxn ang="0">
                  <a:pos x="72" y="310"/>
                </a:cxn>
                <a:cxn ang="0">
                  <a:pos x="90" y="310"/>
                </a:cxn>
                <a:cxn ang="0">
                  <a:pos x="104" y="154"/>
                </a:cxn>
                <a:cxn ang="0">
                  <a:pos x="116" y="154"/>
                </a:cxn>
                <a:cxn ang="0">
                  <a:pos x="104" y="96"/>
                </a:cxn>
                <a:cxn ang="0">
                  <a:pos x="104" y="76"/>
                </a:cxn>
                <a:cxn ang="0">
                  <a:pos x="124" y="140"/>
                </a:cxn>
              </a:cxnLst>
              <a:rect l="0" t="0" r="r" b="b"/>
              <a:pathLst>
                <a:path w="136" h="310">
                  <a:moveTo>
                    <a:pt x="124" y="140"/>
                  </a:moveTo>
                  <a:lnTo>
                    <a:pt x="136" y="140"/>
                  </a:lnTo>
                  <a:lnTo>
                    <a:pt x="112" y="16"/>
                  </a:lnTo>
                  <a:lnTo>
                    <a:pt x="112" y="14"/>
                  </a:lnTo>
                  <a:lnTo>
                    <a:pt x="112" y="14"/>
                  </a:lnTo>
                  <a:lnTo>
                    <a:pt x="110" y="12"/>
                  </a:lnTo>
                  <a:lnTo>
                    <a:pt x="110" y="12"/>
                  </a:lnTo>
                  <a:lnTo>
                    <a:pt x="108" y="10"/>
                  </a:lnTo>
                  <a:lnTo>
                    <a:pt x="84" y="0"/>
                  </a:lnTo>
                  <a:lnTo>
                    <a:pt x="68" y="60"/>
                  </a:lnTo>
                  <a:lnTo>
                    <a:pt x="54" y="0"/>
                  </a:lnTo>
                  <a:lnTo>
                    <a:pt x="30" y="10"/>
                  </a:lnTo>
                  <a:lnTo>
                    <a:pt x="30" y="10"/>
                  </a:lnTo>
                  <a:lnTo>
                    <a:pt x="30" y="10"/>
                  </a:lnTo>
                  <a:lnTo>
                    <a:pt x="28" y="10"/>
                  </a:lnTo>
                  <a:lnTo>
                    <a:pt x="28" y="12"/>
                  </a:lnTo>
                  <a:lnTo>
                    <a:pt x="28" y="12"/>
                  </a:lnTo>
                  <a:lnTo>
                    <a:pt x="28" y="12"/>
                  </a:lnTo>
                  <a:lnTo>
                    <a:pt x="28" y="12"/>
                  </a:lnTo>
                  <a:lnTo>
                    <a:pt x="26" y="14"/>
                  </a:lnTo>
                  <a:lnTo>
                    <a:pt x="26" y="14"/>
                  </a:lnTo>
                  <a:lnTo>
                    <a:pt x="0" y="140"/>
                  </a:lnTo>
                  <a:lnTo>
                    <a:pt x="14" y="140"/>
                  </a:lnTo>
                  <a:lnTo>
                    <a:pt x="34" y="76"/>
                  </a:lnTo>
                  <a:lnTo>
                    <a:pt x="34" y="96"/>
                  </a:lnTo>
                  <a:lnTo>
                    <a:pt x="20" y="154"/>
                  </a:lnTo>
                  <a:lnTo>
                    <a:pt x="32" y="154"/>
                  </a:lnTo>
                  <a:lnTo>
                    <a:pt x="44" y="310"/>
                  </a:lnTo>
                  <a:lnTo>
                    <a:pt x="62" y="310"/>
                  </a:lnTo>
                  <a:lnTo>
                    <a:pt x="62" y="154"/>
                  </a:lnTo>
                  <a:lnTo>
                    <a:pt x="72" y="154"/>
                  </a:lnTo>
                  <a:lnTo>
                    <a:pt x="72" y="310"/>
                  </a:lnTo>
                  <a:lnTo>
                    <a:pt x="90" y="310"/>
                  </a:lnTo>
                  <a:lnTo>
                    <a:pt x="104" y="154"/>
                  </a:lnTo>
                  <a:lnTo>
                    <a:pt x="116" y="154"/>
                  </a:lnTo>
                  <a:lnTo>
                    <a:pt x="104" y="96"/>
                  </a:lnTo>
                  <a:lnTo>
                    <a:pt x="104" y="76"/>
                  </a:lnTo>
                  <a:lnTo>
                    <a:pt x="124" y="140"/>
                  </a:lnTo>
                  <a:close/>
                </a:path>
              </a:pathLst>
            </a:custGeom>
            <a:solidFill>
              <a:srgbClr val="A3A3A3"/>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84" name="Freeform 26"/>
            <p:cNvSpPr>
              <a:spLocks/>
            </p:cNvSpPr>
            <p:nvPr/>
          </p:nvSpPr>
          <p:spPr bwMode="auto">
            <a:xfrm>
              <a:off x="3863627" y="1021965"/>
              <a:ext cx="357445" cy="750245"/>
            </a:xfrm>
            <a:custGeom>
              <a:avLst/>
              <a:gdLst/>
              <a:ahLst/>
              <a:cxnLst>
                <a:cxn ang="0">
                  <a:pos x="164" y="174"/>
                </a:cxn>
                <a:cxn ang="0">
                  <a:pos x="182" y="174"/>
                </a:cxn>
                <a:cxn ang="0">
                  <a:pos x="150" y="22"/>
                </a:cxn>
                <a:cxn ang="0">
                  <a:pos x="150" y="22"/>
                </a:cxn>
                <a:cxn ang="0">
                  <a:pos x="150" y="22"/>
                </a:cxn>
                <a:cxn ang="0">
                  <a:pos x="146" y="16"/>
                </a:cxn>
                <a:cxn ang="0">
                  <a:pos x="146" y="16"/>
                </a:cxn>
                <a:cxn ang="0">
                  <a:pos x="142" y="14"/>
                </a:cxn>
                <a:cxn ang="0">
                  <a:pos x="142" y="14"/>
                </a:cxn>
                <a:cxn ang="0">
                  <a:pos x="142" y="14"/>
                </a:cxn>
                <a:cxn ang="0">
                  <a:pos x="142" y="14"/>
                </a:cxn>
                <a:cxn ang="0">
                  <a:pos x="140" y="12"/>
                </a:cxn>
                <a:cxn ang="0">
                  <a:pos x="112" y="0"/>
                </a:cxn>
                <a:cxn ang="0">
                  <a:pos x="92" y="76"/>
                </a:cxn>
                <a:cxn ang="0">
                  <a:pos x="72" y="0"/>
                </a:cxn>
                <a:cxn ang="0">
                  <a:pos x="44" y="12"/>
                </a:cxn>
                <a:cxn ang="0">
                  <a:pos x="44" y="12"/>
                </a:cxn>
                <a:cxn ang="0">
                  <a:pos x="38" y="16"/>
                </a:cxn>
                <a:cxn ang="0">
                  <a:pos x="38" y="16"/>
                </a:cxn>
                <a:cxn ang="0">
                  <a:pos x="34" y="22"/>
                </a:cxn>
                <a:cxn ang="0">
                  <a:pos x="34" y="22"/>
                </a:cxn>
                <a:cxn ang="0">
                  <a:pos x="0" y="174"/>
                </a:cxn>
                <a:cxn ang="0">
                  <a:pos x="20" y="174"/>
                </a:cxn>
                <a:cxn ang="0">
                  <a:pos x="44" y="94"/>
                </a:cxn>
                <a:cxn ang="0">
                  <a:pos x="44" y="120"/>
                </a:cxn>
                <a:cxn ang="0">
                  <a:pos x="32" y="190"/>
                </a:cxn>
                <a:cxn ang="0">
                  <a:pos x="42" y="190"/>
                </a:cxn>
                <a:cxn ang="0">
                  <a:pos x="60" y="382"/>
                </a:cxn>
                <a:cxn ang="0">
                  <a:pos x="84" y="382"/>
                </a:cxn>
                <a:cxn ang="0">
                  <a:pos x="84" y="190"/>
                </a:cxn>
                <a:cxn ang="0">
                  <a:pos x="96" y="190"/>
                </a:cxn>
                <a:cxn ang="0">
                  <a:pos x="96" y="382"/>
                </a:cxn>
                <a:cxn ang="0">
                  <a:pos x="120" y="382"/>
                </a:cxn>
                <a:cxn ang="0">
                  <a:pos x="138" y="190"/>
                </a:cxn>
                <a:cxn ang="0">
                  <a:pos x="150" y="190"/>
                </a:cxn>
                <a:cxn ang="0">
                  <a:pos x="138" y="120"/>
                </a:cxn>
                <a:cxn ang="0">
                  <a:pos x="138" y="94"/>
                </a:cxn>
                <a:cxn ang="0">
                  <a:pos x="164" y="174"/>
                </a:cxn>
              </a:cxnLst>
              <a:rect l="0" t="0" r="r" b="b"/>
              <a:pathLst>
                <a:path w="182" h="382">
                  <a:moveTo>
                    <a:pt x="164" y="174"/>
                  </a:moveTo>
                  <a:lnTo>
                    <a:pt x="182" y="174"/>
                  </a:lnTo>
                  <a:lnTo>
                    <a:pt x="150" y="22"/>
                  </a:lnTo>
                  <a:lnTo>
                    <a:pt x="150" y="22"/>
                  </a:lnTo>
                  <a:lnTo>
                    <a:pt x="150" y="22"/>
                  </a:lnTo>
                  <a:lnTo>
                    <a:pt x="146" y="16"/>
                  </a:lnTo>
                  <a:lnTo>
                    <a:pt x="146" y="16"/>
                  </a:lnTo>
                  <a:lnTo>
                    <a:pt x="142" y="14"/>
                  </a:lnTo>
                  <a:lnTo>
                    <a:pt x="142" y="14"/>
                  </a:lnTo>
                  <a:lnTo>
                    <a:pt x="142" y="14"/>
                  </a:lnTo>
                  <a:lnTo>
                    <a:pt x="142" y="14"/>
                  </a:lnTo>
                  <a:lnTo>
                    <a:pt x="140" y="12"/>
                  </a:lnTo>
                  <a:lnTo>
                    <a:pt x="112" y="0"/>
                  </a:lnTo>
                  <a:lnTo>
                    <a:pt x="92" y="76"/>
                  </a:lnTo>
                  <a:lnTo>
                    <a:pt x="72" y="0"/>
                  </a:lnTo>
                  <a:lnTo>
                    <a:pt x="44" y="12"/>
                  </a:lnTo>
                  <a:lnTo>
                    <a:pt x="44" y="12"/>
                  </a:lnTo>
                  <a:lnTo>
                    <a:pt x="38" y="16"/>
                  </a:lnTo>
                  <a:lnTo>
                    <a:pt x="38" y="16"/>
                  </a:lnTo>
                  <a:lnTo>
                    <a:pt x="34" y="22"/>
                  </a:lnTo>
                  <a:lnTo>
                    <a:pt x="34" y="22"/>
                  </a:lnTo>
                  <a:lnTo>
                    <a:pt x="0" y="174"/>
                  </a:lnTo>
                  <a:lnTo>
                    <a:pt x="20" y="174"/>
                  </a:lnTo>
                  <a:lnTo>
                    <a:pt x="44" y="94"/>
                  </a:lnTo>
                  <a:lnTo>
                    <a:pt x="44" y="120"/>
                  </a:lnTo>
                  <a:lnTo>
                    <a:pt x="32" y="190"/>
                  </a:lnTo>
                  <a:lnTo>
                    <a:pt x="42" y="190"/>
                  </a:lnTo>
                  <a:lnTo>
                    <a:pt x="60" y="382"/>
                  </a:lnTo>
                  <a:lnTo>
                    <a:pt x="84" y="382"/>
                  </a:lnTo>
                  <a:lnTo>
                    <a:pt x="84" y="190"/>
                  </a:lnTo>
                  <a:lnTo>
                    <a:pt x="96" y="190"/>
                  </a:lnTo>
                  <a:lnTo>
                    <a:pt x="96" y="382"/>
                  </a:lnTo>
                  <a:lnTo>
                    <a:pt x="120" y="382"/>
                  </a:lnTo>
                  <a:lnTo>
                    <a:pt x="138" y="190"/>
                  </a:lnTo>
                  <a:lnTo>
                    <a:pt x="150" y="190"/>
                  </a:lnTo>
                  <a:lnTo>
                    <a:pt x="138" y="120"/>
                  </a:lnTo>
                  <a:lnTo>
                    <a:pt x="138" y="94"/>
                  </a:lnTo>
                  <a:lnTo>
                    <a:pt x="164" y="174"/>
                  </a:lnTo>
                  <a:close/>
                </a:path>
              </a:pathLst>
            </a:custGeom>
            <a:solidFill>
              <a:srgbClr val="777777"/>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87" name="Freeform 17"/>
            <p:cNvSpPr>
              <a:spLocks/>
            </p:cNvSpPr>
            <p:nvPr/>
          </p:nvSpPr>
          <p:spPr bwMode="auto">
            <a:xfrm>
              <a:off x="3719489" y="967287"/>
              <a:ext cx="70703" cy="106055"/>
            </a:xfrm>
            <a:custGeom>
              <a:avLst/>
              <a:gdLst/>
              <a:ahLst/>
              <a:cxnLst>
                <a:cxn ang="0">
                  <a:pos x="22" y="4"/>
                </a:cxn>
                <a:cxn ang="0">
                  <a:pos x="22" y="4"/>
                </a:cxn>
                <a:cxn ang="0">
                  <a:pos x="20" y="2"/>
                </a:cxn>
                <a:cxn ang="0">
                  <a:pos x="20" y="0"/>
                </a:cxn>
                <a:cxn ang="0">
                  <a:pos x="20" y="0"/>
                </a:cxn>
                <a:cxn ang="0">
                  <a:pos x="14" y="2"/>
                </a:cxn>
                <a:cxn ang="0">
                  <a:pos x="8" y="4"/>
                </a:cxn>
                <a:cxn ang="0">
                  <a:pos x="2" y="8"/>
                </a:cxn>
                <a:cxn ang="0">
                  <a:pos x="0" y="14"/>
                </a:cxn>
                <a:cxn ang="0">
                  <a:pos x="0" y="18"/>
                </a:cxn>
                <a:cxn ang="0">
                  <a:pos x="0" y="32"/>
                </a:cxn>
                <a:cxn ang="0">
                  <a:pos x="4" y="36"/>
                </a:cxn>
                <a:cxn ang="0">
                  <a:pos x="4" y="38"/>
                </a:cxn>
                <a:cxn ang="0">
                  <a:pos x="4" y="38"/>
                </a:cxn>
                <a:cxn ang="0">
                  <a:pos x="8" y="48"/>
                </a:cxn>
                <a:cxn ang="0">
                  <a:pos x="12" y="52"/>
                </a:cxn>
                <a:cxn ang="0">
                  <a:pos x="16" y="54"/>
                </a:cxn>
                <a:cxn ang="0">
                  <a:pos x="18" y="54"/>
                </a:cxn>
                <a:cxn ang="0">
                  <a:pos x="18" y="54"/>
                </a:cxn>
                <a:cxn ang="0">
                  <a:pos x="20" y="54"/>
                </a:cxn>
                <a:cxn ang="0">
                  <a:pos x="24" y="52"/>
                </a:cxn>
                <a:cxn ang="0">
                  <a:pos x="30" y="48"/>
                </a:cxn>
                <a:cxn ang="0">
                  <a:pos x="32" y="38"/>
                </a:cxn>
                <a:cxn ang="0">
                  <a:pos x="32" y="38"/>
                </a:cxn>
                <a:cxn ang="0">
                  <a:pos x="32" y="38"/>
                </a:cxn>
                <a:cxn ang="0">
                  <a:pos x="32" y="36"/>
                </a:cxn>
                <a:cxn ang="0">
                  <a:pos x="36" y="32"/>
                </a:cxn>
                <a:cxn ang="0">
                  <a:pos x="36" y="18"/>
                </a:cxn>
                <a:cxn ang="0">
                  <a:pos x="36" y="18"/>
                </a:cxn>
                <a:cxn ang="0">
                  <a:pos x="36" y="12"/>
                </a:cxn>
                <a:cxn ang="0">
                  <a:pos x="32" y="8"/>
                </a:cxn>
                <a:cxn ang="0">
                  <a:pos x="28" y="6"/>
                </a:cxn>
                <a:cxn ang="0">
                  <a:pos x="22" y="4"/>
                </a:cxn>
              </a:cxnLst>
              <a:rect l="0" t="0" r="r" b="b"/>
              <a:pathLst>
                <a:path w="36" h="54">
                  <a:moveTo>
                    <a:pt x="22" y="4"/>
                  </a:moveTo>
                  <a:lnTo>
                    <a:pt x="22" y="4"/>
                  </a:lnTo>
                  <a:lnTo>
                    <a:pt x="20" y="2"/>
                  </a:lnTo>
                  <a:lnTo>
                    <a:pt x="20" y="0"/>
                  </a:lnTo>
                  <a:lnTo>
                    <a:pt x="20" y="0"/>
                  </a:lnTo>
                  <a:lnTo>
                    <a:pt x="14" y="2"/>
                  </a:lnTo>
                  <a:lnTo>
                    <a:pt x="8" y="4"/>
                  </a:lnTo>
                  <a:lnTo>
                    <a:pt x="2" y="8"/>
                  </a:lnTo>
                  <a:lnTo>
                    <a:pt x="0" y="14"/>
                  </a:lnTo>
                  <a:lnTo>
                    <a:pt x="0" y="18"/>
                  </a:lnTo>
                  <a:lnTo>
                    <a:pt x="0" y="32"/>
                  </a:lnTo>
                  <a:lnTo>
                    <a:pt x="4" y="36"/>
                  </a:lnTo>
                  <a:lnTo>
                    <a:pt x="4" y="38"/>
                  </a:lnTo>
                  <a:lnTo>
                    <a:pt x="4" y="38"/>
                  </a:lnTo>
                  <a:lnTo>
                    <a:pt x="8" y="48"/>
                  </a:lnTo>
                  <a:lnTo>
                    <a:pt x="12" y="52"/>
                  </a:lnTo>
                  <a:lnTo>
                    <a:pt x="16" y="54"/>
                  </a:lnTo>
                  <a:lnTo>
                    <a:pt x="18" y="54"/>
                  </a:lnTo>
                  <a:lnTo>
                    <a:pt x="18" y="54"/>
                  </a:lnTo>
                  <a:lnTo>
                    <a:pt x="20" y="54"/>
                  </a:lnTo>
                  <a:lnTo>
                    <a:pt x="24" y="52"/>
                  </a:lnTo>
                  <a:lnTo>
                    <a:pt x="30" y="48"/>
                  </a:lnTo>
                  <a:lnTo>
                    <a:pt x="32" y="38"/>
                  </a:lnTo>
                  <a:lnTo>
                    <a:pt x="32" y="38"/>
                  </a:lnTo>
                  <a:lnTo>
                    <a:pt x="32" y="38"/>
                  </a:lnTo>
                  <a:lnTo>
                    <a:pt x="32" y="36"/>
                  </a:lnTo>
                  <a:lnTo>
                    <a:pt x="36" y="32"/>
                  </a:lnTo>
                  <a:lnTo>
                    <a:pt x="36" y="18"/>
                  </a:lnTo>
                  <a:lnTo>
                    <a:pt x="36" y="18"/>
                  </a:lnTo>
                  <a:lnTo>
                    <a:pt x="36" y="12"/>
                  </a:lnTo>
                  <a:lnTo>
                    <a:pt x="32" y="8"/>
                  </a:lnTo>
                  <a:lnTo>
                    <a:pt x="28" y="6"/>
                  </a:lnTo>
                  <a:lnTo>
                    <a:pt x="22" y="4"/>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sp>
          <p:nvSpPr>
            <p:cNvPr id="88" name="Freeform 24"/>
            <p:cNvSpPr>
              <a:spLocks/>
            </p:cNvSpPr>
            <p:nvPr/>
          </p:nvSpPr>
          <p:spPr bwMode="auto">
            <a:xfrm>
              <a:off x="3621291" y="1089056"/>
              <a:ext cx="267103" cy="608838"/>
            </a:xfrm>
            <a:custGeom>
              <a:avLst/>
              <a:gdLst/>
              <a:ahLst/>
              <a:cxnLst>
                <a:cxn ang="0">
                  <a:pos x="124" y="140"/>
                </a:cxn>
                <a:cxn ang="0">
                  <a:pos x="136" y="140"/>
                </a:cxn>
                <a:cxn ang="0">
                  <a:pos x="112" y="16"/>
                </a:cxn>
                <a:cxn ang="0">
                  <a:pos x="112" y="14"/>
                </a:cxn>
                <a:cxn ang="0">
                  <a:pos x="112" y="14"/>
                </a:cxn>
                <a:cxn ang="0">
                  <a:pos x="110" y="12"/>
                </a:cxn>
                <a:cxn ang="0">
                  <a:pos x="110" y="12"/>
                </a:cxn>
                <a:cxn ang="0">
                  <a:pos x="108" y="10"/>
                </a:cxn>
                <a:cxn ang="0">
                  <a:pos x="84" y="0"/>
                </a:cxn>
                <a:cxn ang="0">
                  <a:pos x="68" y="60"/>
                </a:cxn>
                <a:cxn ang="0">
                  <a:pos x="54" y="0"/>
                </a:cxn>
                <a:cxn ang="0">
                  <a:pos x="30" y="10"/>
                </a:cxn>
                <a:cxn ang="0">
                  <a:pos x="30" y="10"/>
                </a:cxn>
                <a:cxn ang="0">
                  <a:pos x="30" y="10"/>
                </a:cxn>
                <a:cxn ang="0">
                  <a:pos x="28" y="10"/>
                </a:cxn>
                <a:cxn ang="0">
                  <a:pos x="28" y="12"/>
                </a:cxn>
                <a:cxn ang="0">
                  <a:pos x="28" y="12"/>
                </a:cxn>
                <a:cxn ang="0">
                  <a:pos x="28" y="12"/>
                </a:cxn>
                <a:cxn ang="0">
                  <a:pos x="28" y="12"/>
                </a:cxn>
                <a:cxn ang="0">
                  <a:pos x="26" y="14"/>
                </a:cxn>
                <a:cxn ang="0">
                  <a:pos x="26" y="14"/>
                </a:cxn>
                <a:cxn ang="0">
                  <a:pos x="0" y="140"/>
                </a:cxn>
                <a:cxn ang="0">
                  <a:pos x="14" y="140"/>
                </a:cxn>
                <a:cxn ang="0">
                  <a:pos x="34" y="76"/>
                </a:cxn>
                <a:cxn ang="0">
                  <a:pos x="34" y="96"/>
                </a:cxn>
                <a:cxn ang="0">
                  <a:pos x="20" y="154"/>
                </a:cxn>
                <a:cxn ang="0">
                  <a:pos x="32" y="154"/>
                </a:cxn>
                <a:cxn ang="0">
                  <a:pos x="44" y="310"/>
                </a:cxn>
                <a:cxn ang="0">
                  <a:pos x="62" y="310"/>
                </a:cxn>
                <a:cxn ang="0">
                  <a:pos x="62" y="154"/>
                </a:cxn>
                <a:cxn ang="0">
                  <a:pos x="72" y="154"/>
                </a:cxn>
                <a:cxn ang="0">
                  <a:pos x="72" y="310"/>
                </a:cxn>
                <a:cxn ang="0">
                  <a:pos x="90" y="310"/>
                </a:cxn>
                <a:cxn ang="0">
                  <a:pos x="104" y="154"/>
                </a:cxn>
                <a:cxn ang="0">
                  <a:pos x="116" y="154"/>
                </a:cxn>
                <a:cxn ang="0">
                  <a:pos x="104" y="96"/>
                </a:cxn>
                <a:cxn ang="0">
                  <a:pos x="104" y="76"/>
                </a:cxn>
                <a:cxn ang="0">
                  <a:pos x="124" y="140"/>
                </a:cxn>
              </a:cxnLst>
              <a:rect l="0" t="0" r="r" b="b"/>
              <a:pathLst>
                <a:path w="136" h="310">
                  <a:moveTo>
                    <a:pt x="124" y="140"/>
                  </a:moveTo>
                  <a:lnTo>
                    <a:pt x="136" y="140"/>
                  </a:lnTo>
                  <a:lnTo>
                    <a:pt x="112" y="16"/>
                  </a:lnTo>
                  <a:lnTo>
                    <a:pt x="112" y="14"/>
                  </a:lnTo>
                  <a:lnTo>
                    <a:pt x="112" y="14"/>
                  </a:lnTo>
                  <a:lnTo>
                    <a:pt x="110" y="12"/>
                  </a:lnTo>
                  <a:lnTo>
                    <a:pt x="110" y="12"/>
                  </a:lnTo>
                  <a:lnTo>
                    <a:pt x="108" y="10"/>
                  </a:lnTo>
                  <a:lnTo>
                    <a:pt x="84" y="0"/>
                  </a:lnTo>
                  <a:lnTo>
                    <a:pt x="68" y="60"/>
                  </a:lnTo>
                  <a:lnTo>
                    <a:pt x="54" y="0"/>
                  </a:lnTo>
                  <a:lnTo>
                    <a:pt x="30" y="10"/>
                  </a:lnTo>
                  <a:lnTo>
                    <a:pt x="30" y="10"/>
                  </a:lnTo>
                  <a:lnTo>
                    <a:pt x="30" y="10"/>
                  </a:lnTo>
                  <a:lnTo>
                    <a:pt x="28" y="10"/>
                  </a:lnTo>
                  <a:lnTo>
                    <a:pt x="28" y="12"/>
                  </a:lnTo>
                  <a:lnTo>
                    <a:pt x="28" y="12"/>
                  </a:lnTo>
                  <a:lnTo>
                    <a:pt x="28" y="12"/>
                  </a:lnTo>
                  <a:lnTo>
                    <a:pt x="28" y="12"/>
                  </a:lnTo>
                  <a:lnTo>
                    <a:pt x="26" y="14"/>
                  </a:lnTo>
                  <a:lnTo>
                    <a:pt x="26" y="14"/>
                  </a:lnTo>
                  <a:lnTo>
                    <a:pt x="0" y="140"/>
                  </a:lnTo>
                  <a:lnTo>
                    <a:pt x="14" y="140"/>
                  </a:lnTo>
                  <a:lnTo>
                    <a:pt x="34" y="76"/>
                  </a:lnTo>
                  <a:lnTo>
                    <a:pt x="34" y="96"/>
                  </a:lnTo>
                  <a:lnTo>
                    <a:pt x="20" y="154"/>
                  </a:lnTo>
                  <a:lnTo>
                    <a:pt x="32" y="154"/>
                  </a:lnTo>
                  <a:lnTo>
                    <a:pt x="44" y="310"/>
                  </a:lnTo>
                  <a:lnTo>
                    <a:pt x="62" y="310"/>
                  </a:lnTo>
                  <a:lnTo>
                    <a:pt x="62" y="154"/>
                  </a:lnTo>
                  <a:lnTo>
                    <a:pt x="72" y="154"/>
                  </a:lnTo>
                  <a:lnTo>
                    <a:pt x="72" y="310"/>
                  </a:lnTo>
                  <a:lnTo>
                    <a:pt x="90" y="310"/>
                  </a:lnTo>
                  <a:lnTo>
                    <a:pt x="104" y="154"/>
                  </a:lnTo>
                  <a:lnTo>
                    <a:pt x="116" y="154"/>
                  </a:lnTo>
                  <a:lnTo>
                    <a:pt x="104" y="96"/>
                  </a:lnTo>
                  <a:lnTo>
                    <a:pt x="104" y="76"/>
                  </a:lnTo>
                  <a:lnTo>
                    <a:pt x="124" y="140"/>
                  </a:lnTo>
                  <a:close/>
                </a:path>
              </a:pathLst>
            </a:custGeom>
            <a:solidFill>
              <a:srgbClr val="BFBFB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ＭＳ Ｐゴシック" pitchFamily="34" charset="-128"/>
                <a:cs typeface="Arial" pitchFamily="34" charset="0"/>
              </a:endParaRPr>
            </a:p>
          </p:txBody>
        </p:sp>
      </p:grpSp>
      <p:sp>
        <p:nvSpPr>
          <p:cNvPr id="91" name="Rectangle 90"/>
          <p:cNvSpPr/>
          <p:nvPr/>
        </p:nvSpPr>
        <p:spPr>
          <a:xfrm>
            <a:off x="4642061" y="1044602"/>
            <a:ext cx="4501938" cy="1169551"/>
          </a:xfrm>
          <a:prstGeom prst="rect">
            <a:avLst/>
          </a:prstGeom>
        </p:spPr>
        <p:txBody>
          <a:bodyPr wrap="square" anchor="ctr">
            <a:spAutoFit/>
          </a:bodyPr>
          <a:lstStyle/>
          <a:p>
            <a:pPr fontAlgn="base">
              <a:spcBef>
                <a:spcPct val="0"/>
              </a:spcBef>
              <a:spcAft>
                <a:spcPct val="0"/>
              </a:spcAft>
            </a:pPr>
            <a:r>
              <a:rPr lang="en-US"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rPr>
              <a:t>MASSIVE</a:t>
            </a:r>
          </a:p>
          <a:p>
            <a:pPr fontAlgn="base">
              <a:spcBef>
                <a:spcPct val="0"/>
              </a:spcBef>
              <a:spcAft>
                <a:spcPct val="0"/>
              </a:spcAft>
            </a:pPr>
            <a:r>
              <a:rPr lang="en-US"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rPr>
              <a:t>CUSTOMER INSTALL BASE</a:t>
            </a:r>
          </a:p>
          <a:p>
            <a:pPr indent="176213">
              <a:buClr>
                <a:srgbClr val="FF1414"/>
              </a:buClr>
              <a:buFont typeface="Wingdings" pitchFamily="2" charset="2"/>
              <a:buChar char="§"/>
            </a:pPr>
            <a:r>
              <a:rPr lang="en-US" sz="1600" dirty="0" smtClean="0">
                <a:solidFill>
                  <a:srgbClr val="000000"/>
                </a:solidFill>
                <a:ea typeface="ＭＳ Ｐゴシック" pitchFamily="34" charset="-128"/>
                <a:cs typeface="Arial" pitchFamily="34" charset="0"/>
              </a:rPr>
              <a:t>400,000</a:t>
            </a:r>
            <a:r>
              <a:rPr lang="en-US" sz="1600" dirty="0">
                <a:solidFill>
                  <a:srgbClr val="000000"/>
                </a:solidFill>
                <a:ea typeface="ＭＳ Ｐゴシック" pitchFamily="34" charset="-128"/>
                <a:cs typeface="Arial" pitchFamily="34" charset="0"/>
              </a:rPr>
              <a:t>+ Oracle customers</a:t>
            </a:r>
          </a:p>
          <a:p>
            <a:pPr fontAlgn="base">
              <a:spcBef>
                <a:spcPct val="0"/>
              </a:spcBef>
              <a:spcAft>
                <a:spcPct val="0"/>
              </a:spcAft>
            </a:pPr>
            <a:endParaRPr lang="en-US"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endParaRPr>
          </a:p>
        </p:txBody>
      </p:sp>
      <p:sp>
        <p:nvSpPr>
          <p:cNvPr id="92" name="Rectangle 91"/>
          <p:cNvSpPr/>
          <p:nvPr/>
        </p:nvSpPr>
        <p:spPr>
          <a:xfrm>
            <a:off x="4642060" y="2080397"/>
            <a:ext cx="4501939" cy="1169551"/>
          </a:xfrm>
          <a:prstGeom prst="rect">
            <a:avLst/>
          </a:prstGeom>
        </p:spPr>
        <p:txBody>
          <a:bodyPr wrap="square" anchor="ctr">
            <a:spAutoFit/>
          </a:bodyPr>
          <a:lstStyle/>
          <a:p>
            <a:pPr fontAlgn="base">
              <a:spcBef>
                <a:spcPct val="0"/>
              </a:spcBef>
              <a:spcAft>
                <a:spcPct val="0"/>
              </a:spcAft>
            </a:pPr>
            <a:r>
              <a:rPr lang="en-US"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rPr>
              <a:t>UNPARALELLED</a:t>
            </a:r>
          </a:p>
          <a:p>
            <a:pPr fontAlgn="base">
              <a:spcBef>
                <a:spcPct val="0"/>
              </a:spcBef>
              <a:spcAft>
                <a:spcPct val="0"/>
              </a:spcAft>
            </a:pPr>
            <a:r>
              <a:rPr lang="en-US"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rPr>
              <a:t>PRODUCT PORTFOLIO</a:t>
            </a:r>
          </a:p>
          <a:p>
            <a:pPr indent="176213">
              <a:buClr>
                <a:srgbClr val="FF1414"/>
              </a:buClr>
              <a:buFont typeface="Wingdings" pitchFamily="2" charset="2"/>
              <a:buChar char="§"/>
            </a:pPr>
            <a:r>
              <a:rPr lang="en-US" sz="1600" dirty="0">
                <a:solidFill>
                  <a:srgbClr val="000000"/>
                </a:solidFill>
                <a:ea typeface="ＭＳ Ｐゴシック" pitchFamily="34" charset="-128"/>
                <a:cs typeface="Arial" pitchFamily="34" charset="0"/>
              </a:rPr>
              <a:t>Innovation through Engineered Systems</a:t>
            </a:r>
          </a:p>
          <a:p>
            <a:pPr fontAlgn="base">
              <a:spcBef>
                <a:spcPct val="0"/>
              </a:spcBef>
              <a:spcAft>
                <a:spcPct val="0"/>
              </a:spcAft>
            </a:pPr>
            <a:endParaRPr lang="en-US"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endParaRPr>
          </a:p>
        </p:txBody>
      </p:sp>
      <p:sp>
        <p:nvSpPr>
          <p:cNvPr id="93" name="Rectangle 92"/>
          <p:cNvSpPr/>
          <p:nvPr/>
        </p:nvSpPr>
        <p:spPr>
          <a:xfrm>
            <a:off x="4642061" y="3100972"/>
            <a:ext cx="4075348" cy="1169551"/>
          </a:xfrm>
          <a:prstGeom prst="rect">
            <a:avLst/>
          </a:prstGeom>
        </p:spPr>
        <p:txBody>
          <a:bodyPr wrap="square" anchor="ctr">
            <a:spAutoFit/>
          </a:bodyPr>
          <a:lstStyle/>
          <a:p>
            <a:pPr fontAlgn="base">
              <a:spcBef>
                <a:spcPct val="0"/>
              </a:spcBef>
              <a:spcAft>
                <a:spcPct val="0"/>
              </a:spcAft>
            </a:pPr>
            <a:r>
              <a:rPr lang="en-US"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rPr>
              <a:t>COMPELLING</a:t>
            </a:r>
          </a:p>
          <a:p>
            <a:pPr fontAlgn="base">
              <a:spcBef>
                <a:spcPct val="0"/>
              </a:spcBef>
              <a:spcAft>
                <a:spcPct val="0"/>
              </a:spcAft>
            </a:pPr>
            <a:r>
              <a:rPr lang="en-US"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rPr>
              <a:t>CHANNEL PROGRAM</a:t>
            </a:r>
          </a:p>
          <a:p>
            <a:pPr indent="176213">
              <a:buClr>
                <a:srgbClr val="FF1414"/>
              </a:buClr>
              <a:buFont typeface="Wingdings" pitchFamily="2" charset="2"/>
              <a:buChar char="§"/>
            </a:pPr>
            <a:r>
              <a:rPr lang="en-US" sz="1600" dirty="0">
                <a:solidFill>
                  <a:srgbClr val="000000"/>
                </a:solidFill>
                <a:ea typeface="ＭＳ Ｐゴシック" pitchFamily="34" charset="-128"/>
                <a:cs typeface="Arial" pitchFamily="34" charset="0"/>
              </a:rPr>
              <a:t>Competitive margins and programs</a:t>
            </a:r>
          </a:p>
          <a:p>
            <a:pPr fontAlgn="base">
              <a:spcBef>
                <a:spcPct val="0"/>
              </a:spcBef>
              <a:spcAft>
                <a:spcPct val="0"/>
              </a:spcAft>
            </a:pPr>
            <a:endParaRPr lang="en-US"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ea typeface="ＭＳ Ｐゴシック" pitchFamily="34" charset="-128"/>
              <a:cs typeface="Arial" pitchFamily="34" charset="0"/>
            </a:endParaRPr>
          </a:p>
        </p:txBody>
      </p:sp>
    </p:spTree>
    <p:extLst>
      <p:ext uri="{BB962C8B-B14F-4D97-AF65-F5344CB8AC3E}">
        <p14:creationId xmlns:p14="http://schemas.microsoft.com/office/powerpoint/2010/main" val="277800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par>
                                <p:cTn id="8" presetID="1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p:tgtEl>
                                          <p:spTgt spid="3"/>
                                        </p:tgtEl>
                                        <p:attrNameLst>
                                          <p:attrName>ppt_x</p:attrName>
                                        </p:attrNameLst>
                                      </p:cBhvr>
                                      <p:tavLst>
                                        <p:tav tm="0">
                                          <p:val>
                                            <p:strVal val="#ppt_x-#ppt_w*1.125000"/>
                                          </p:val>
                                        </p:tav>
                                        <p:tav tm="100000">
                                          <p:val>
                                            <p:strVal val="#ppt_x"/>
                                          </p:val>
                                        </p:tav>
                                      </p:tavLst>
                                    </p:anim>
                                    <p:animEffect transition="in" filter="wipe(right)">
                                      <p:cBhvr>
                                        <p:cTn id="11" dur="1000"/>
                                        <p:tgtEl>
                                          <p:spTgt spid="3"/>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500" fill="hold"/>
                                        <p:tgtEl>
                                          <p:spTgt spid="4"/>
                                        </p:tgtEl>
                                        <p:attrNameLst>
                                          <p:attrName>ppt_w</p:attrName>
                                        </p:attrNameLst>
                                      </p:cBhvr>
                                      <p:tavLst>
                                        <p:tav tm="0">
                                          <p:val>
                                            <p:fltVal val="0"/>
                                          </p:val>
                                        </p:tav>
                                        <p:tav tm="100000">
                                          <p:val>
                                            <p:strVal val="#ppt_w"/>
                                          </p:val>
                                        </p:tav>
                                      </p:tavLst>
                                    </p:anim>
                                    <p:anim calcmode="lin" valueType="num">
                                      <p:cBhvr>
                                        <p:cTn id="16" dur="500" fill="hold"/>
                                        <p:tgtEl>
                                          <p:spTgt spid="4"/>
                                        </p:tgtEl>
                                        <p:attrNameLst>
                                          <p:attrName>ppt_h</p:attrName>
                                        </p:attrNameLst>
                                      </p:cBhvr>
                                      <p:tavLst>
                                        <p:tav tm="0">
                                          <p:val>
                                            <p:fltVal val="0"/>
                                          </p:val>
                                        </p:tav>
                                        <p:tav tm="100000">
                                          <p:val>
                                            <p:strVal val="#ppt_h"/>
                                          </p:val>
                                        </p:tav>
                                      </p:tavLst>
                                    </p:anim>
                                    <p:animEffect transition="in" filter="fade">
                                      <p:cBhvr>
                                        <p:cTn id="17" dur="500"/>
                                        <p:tgtEl>
                                          <p:spTgt spid="4"/>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91"/>
                                        </p:tgtEl>
                                        <p:attrNameLst>
                                          <p:attrName>style.visibility</p:attrName>
                                        </p:attrNameLst>
                                      </p:cBhvr>
                                      <p:to>
                                        <p:strVal val="visible"/>
                                      </p:to>
                                    </p:set>
                                    <p:animEffect transition="in" filter="fade">
                                      <p:cBhvr>
                                        <p:cTn id="21" dur="500"/>
                                        <p:tgtEl>
                                          <p:spTgt spid="91"/>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85"/>
                                        </p:tgtEl>
                                        <p:attrNameLst>
                                          <p:attrName>style.visibility</p:attrName>
                                        </p:attrNameLst>
                                      </p:cBhvr>
                                      <p:to>
                                        <p:strVal val="visible"/>
                                      </p:to>
                                    </p:set>
                                    <p:anim calcmode="lin" valueType="num">
                                      <p:cBhvr>
                                        <p:cTn id="25" dur="500" fill="hold"/>
                                        <p:tgtEl>
                                          <p:spTgt spid="85"/>
                                        </p:tgtEl>
                                        <p:attrNameLst>
                                          <p:attrName>ppt_w</p:attrName>
                                        </p:attrNameLst>
                                      </p:cBhvr>
                                      <p:tavLst>
                                        <p:tav tm="0">
                                          <p:val>
                                            <p:fltVal val="0"/>
                                          </p:val>
                                        </p:tav>
                                        <p:tav tm="100000">
                                          <p:val>
                                            <p:strVal val="#ppt_w"/>
                                          </p:val>
                                        </p:tav>
                                      </p:tavLst>
                                    </p:anim>
                                    <p:anim calcmode="lin" valueType="num">
                                      <p:cBhvr>
                                        <p:cTn id="26" dur="500" fill="hold"/>
                                        <p:tgtEl>
                                          <p:spTgt spid="85"/>
                                        </p:tgtEl>
                                        <p:attrNameLst>
                                          <p:attrName>ppt_h</p:attrName>
                                        </p:attrNameLst>
                                      </p:cBhvr>
                                      <p:tavLst>
                                        <p:tav tm="0">
                                          <p:val>
                                            <p:fltVal val="0"/>
                                          </p:val>
                                        </p:tav>
                                        <p:tav tm="100000">
                                          <p:val>
                                            <p:strVal val="#ppt_h"/>
                                          </p:val>
                                        </p:tav>
                                      </p:tavLst>
                                    </p:anim>
                                    <p:animEffect transition="in" filter="fade">
                                      <p:cBhvr>
                                        <p:cTn id="27" dur="500"/>
                                        <p:tgtEl>
                                          <p:spTgt spid="85"/>
                                        </p:tgtEl>
                                      </p:cBhvr>
                                    </p:animEffect>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fade">
                                      <p:cBhvr>
                                        <p:cTn id="31" dur="500"/>
                                        <p:tgtEl>
                                          <p:spTgt spid="92"/>
                                        </p:tgtEl>
                                      </p:cBhvr>
                                    </p:animEffect>
                                  </p:childTnLst>
                                </p:cTn>
                              </p:par>
                            </p:childTnLst>
                          </p:cTn>
                        </p:par>
                        <p:par>
                          <p:cTn id="32" fill="hold">
                            <p:stCondLst>
                              <p:cond delay="3000"/>
                            </p:stCondLst>
                            <p:childTnLst>
                              <p:par>
                                <p:cTn id="33" presetID="53" presetClass="entr" presetSubtype="16" fill="hold" nodeType="afterEffect">
                                  <p:stCondLst>
                                    <p:cond delay="0"/>
                                  </p:stCondLst>
                                  <p:childTnLst>
                                    <p:set>
                                      <p:cBhvr>
                                        <p:cTn id="34" dur="1" fill="hold">
                                          <p:stCondLst>
                                            <p:cond delay="0"/>
                                          </p:stCondLst>
                                        </p:cTn>
                                        <p:tgtEl>
                                          <p:spTgt spid="86"/>
                                        </p:tgtEl>
                                        <p:attrNameLst>
                                          <p:attrName>style.visibility</p:attrName>
                                        </p:attrNameLst>
                                      </p:cBhvr>
                                      <p:to>
                                        <p:strVal val="visible"/>
                                      </p:to>
                                    </p:set>
                                    <p:anim calcmode="lin" valueType="num">
                                      <p:cBhvr>
                                        <p:cTn id="35" dur="500" fill="hold"/>
                                        <p:tgtEl>
                                          <p:spTgt spid="86"/>
                                        </p:tgtEl>
                                        <p:attrNameLst>
                                          <p:attrName>ppt_w</p:attrName>
                                        </p:attrNameLst>
                                      </p:cBhvr>
                                      <p:tavLst>
                                        <p:tav tm="0">
                                          <p:val>
                                            <p:fltVal val="0"/>
                                          </p:val>
                                        </p:tav>
                                        <p:tav tm="100000">
                                          <p:val>
                                            <p:strVal val="#ppt_w"/>
                                          </p:val>
                                        </p:tav>
                                      </p:tavLst>
                                    </p:anim>
                                    <p:anim calcmode="lin" valueType="num">
                                      <p:cBhvr>
                                        <p:cTn id="36" dur="500" fill="hold"/>
                                        <p:tgtEl>
                                          <p:spTgt spid="86"/>
                                        </p:tgtEl>
                                        <p:attrNameLst>
                                          <p:attrName>ppt_h</p:attrName>
                                        </p:attrNameLst>
                                      </p:cBhvr>
                                      <p:tavLst>
                                        <p:tav tm="0">
                                          <p:val>
                                            <p:fltVal val="0"/>
                                          </p:val>
                                        </p:tav>
                                        <p:tav tm="100000">
                                          <p:val>
                                            <p:strVal val="#ppt_h"/>
                                          </p:val>
                                        </p:tav>
                                      </p:tavLst>
                                    </p:anim>
                                    <p:animEffect transition="in" filter="fade">
                                      <p:cBhvr>
                                        <p:cTn id="37" dur="500"/>
                                        <p:tgtEl>
                                          <p:spTgt spid="86"/>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93"/>
                                        </p:tgtEl>
                                        <p:attrNameLst>
                                          <p:attrName>style.visibility</p:attrName>
                                        </p:attrNameLst>
                                      </p:cBhvr>
                                      <p:to>
                                        <p:strVal val="visible"/>
                                      </p:to>
                                    </p:set>
                                    <p:animEffect transition="in" filter="fade">
                                      <p:cBhvr>
                                        <p:cTn id="41"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2" grpId="0"/>
      <p:bldP spid="9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custDataLst>
              <p:tags r:id="rId1"/>
            </p:custDataLst>
          </p:nvPr>
        </p:nvSpPr>
        <p:spPr>
          <a:xfrm>
            <a:off x="0" y="1008128"/>
            <a:ext cx="9144000" cy="3449572"/>
          </a:xfrm>
          <a:prstGeom prst="rect">
            <a:avLst/>
          </a:prstGeom>
          <a:gradFill flip="none" rotWithShape="1">
            <a:gsLst>
              <a:gs pos="0">
                <a:schemeClr val="bg1">
                  <a:lumMod val="85000"/>
                </a:schemeClr>
              </a:gs>
              <a:gs pos="100000">
                <a:schemeClr val="bg1">
                  <a:shade val="100000"/>
                  <a:satMod val="115000"/>
                </a:schemeClr>
              </a:gs>
            </a:gsLst>
            <a:lin ang="54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txBox="1">
            <a:spLocks/>
          </p:cNvSpPr>
          <p:nvPr/>
        </p:nvSpPr>
        <p:spPr>
          <a:xfrm>
            <a:off x="889000" y="-409737"/>
            <a:ext cx="7581900" cy="857250"/>
          </a:xfrm>
          <a:prstGeom prst="rect">
            <a:avLst/>
          </a:prstGeom>
        </p:spPr>
        <p:txBody>
          <a:bodyPr lIns="91420" tIns="45710" rIns="91420" bIns="45710"/>
          <a:lstStyle/>
          <a:p>
            <a:pPr defTabSz="914202">
              <a:defRPr/>
            </a:pPr>
            <a:r>
              <a:rPr lang="en-US" sz="2800" b="1" dirty="0" smtClean="0">
                <a:ea typeface="ＭＳ Ｐゴシック" pitchFamily="127" charset="-128"/>
                <a:cs typeface="ＭＳ Ｐゴシック" pitchFamily="127" charset="-128"/>
              </a:rPr>
              <a:t> </a:t>
            </a:r>
            <a:endParaRPr lang="en-US" sz="2800" b="1" dirty="0">
              <a:ea typeface="ＭＳ Ｐゴシック" pitchFamily="127" charset="-128"/>
              <a:cs typeface="ＭＳ Ｐゴシック" pitchFamily="127" charset="-128"/>
            </a:endParaRPr>
          </a:p>
        </p:txBody>
      </p:sp>
      <p:graphicFrame>
        <p:nvGraphicFramePr>
          <p:cNvPr id="5" name="s26_chart1"/>
          <p:cNvGraphicFramePr>
            <a:graphicFrameLocks/>
          </p:cNvGraphicFramePr>
          <p:nvPr>
            <p:extLst>
              <p:ext uri="{D42A27DB-BD31-4B8C-83A1-F6EECF244321}">
                <p14:modId xmlns:p14="http://schemas.microsoft.com/office/powerpoint/2010/main" val="1831866874"/>
              </p:ext>
            </p:extLst>
          </p:nvPr>
        </p:nvGraphicFramePr>
        <p:xfrm>
          <a:off x="107504" y="1100538"/>
          <a:ext cx="8724400" cy="3161624"/>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7"/>
          <p:cNvSpPr>
            <a:spLocks noGrp="1"/>
          </p:cNvSpPr>
          <p:nvPr>
            <p:ph type="title"/>
          </p:nvPr>
        </p:nvSpPr>
        <p:spPr/>
        <p:txBody>
          <a:bodyPr/>
          <a:lstStyle/>
          <a:p>
            <a:pPr lvl="0"/>
            <a:r>
              <a:rPr lang="en-US" dirty="0" smtClean="0"/>
              <a:t>Partner Revenue Mix – Today vs. Expected 2015</a:t>
            </a:r>
            <a:endParaRPr lang="en-US" dirty="0"/>
          </a:p>
        </p:txBody>
      </p:sp>
      <p:sp>
        <p:nvSpPr>
          <p:cNvPr id="12" name="TextBox 11"/>
          <p:cNvSpPr txBox="1"/>
          <p:nvPr/>
        </p:nvSpPr>
        <p:spPr>
          <a:xfrm>
            <a:off x="6572093" y="4092128"/>
            <a:ext cx="1447800" cy="246221"/>
          </a:xfrm>
          <a:prstGeom prst="rect">
            <a:avLst/>
          </a:prstGeom>
          <a:noFill/>
        </p:spPr>
        <p:txBody>
          <a:bodyPr wrap="square" rtlCol="0">
            <a:spAutoFit/>
          </a:bodyPr>
          <a:lstStyle/>
          <a:p>
            <a:r>
              <a:rPr lang="en-US" sz="1000" dirty="0" smtClean="0"/>
              <a:t>Source: UBM Channel</a:t>
            </a:r>
            <a:endParaRPr lang="en-US" sz="1000" dirty="0"/>
          </a:p>
        </p:txBody>
      </p:sp>
    </p:spTree>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208823" y="622019"/>
            <a:ext cx="2844000" cy="190800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700" dirty="0">
              <a:solidFill>
                <a:srgbClr val="000000"/>
              </a:solidFill>
            </a:endParaRPr>
          </a:p>
        </p:txBody>
      </p:sp>
      <p:sp>
        <p:nvSpPr>
          <p:cNvPr id="40" name="Rectangle 39"/>
          <p:cNvSpPr/>
          <p:nvPr/>
        </p:nvSpPr>
        <p:spPr>
          <a:xfrm>
            <a:off x="208823" y="2614236"/>
            <a:ext cx="2844000" cy="190800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700" dirty="0">
              <a:solidFill>
                <a:srgbClr val="000000"/>
              </a:solidFill>
            </a:endParaRPr>
          </a:p>
        </p:txBody>
      </p:sp>
      <p:sp>
        <p:nvSpPr>
          <p:cNvPr id="42" name="Rectangle 41"/>
          <p:cNvSpPr/>
          <p:nvPr/>
        </p:nvSpPr>
        <p:spPr>
          <a:xfrm>
            <a:off x="3159505" y="620183"/>
            <a:ext cx="2844000" cy="190800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700" dirty="0">
              <a:solidFill>
                <a:srgbClr val="000000"/>
              </a:solidFill>
            </a:endParaRPr>
          </a:p>
        </p:txBody>
      </p:sp>
      <p:sp>
        <p:nvSpPr>
          <p:cNvPr id="43" name="Rectangle 42"/>
          <p:cNvSpPr/>
          <p:nvPr/>
        </p:nvSpPr>
        <p:spPr>
          <a:xfrm>
            <a:off x="3159505" y="2612400"/>
            <a:ext cx="2844000" cy="190800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700" dirty="0">
              <a:solidFill>
                <a:srgbClr val="000000"/>
              </a:solidFill>
            </a:endParaRPr>
          </a:p>
        </p:txBody>
      </p:sp>
      <p:sp>
        <p:nvSpPr>
          <p:cNvPr id="44" name="Rectangle 43"/>
          <p:cNvSpPr/>
          <p:nvPr/>
        </p:nvSpPr>
        <p:spPr>
          <a:xfrm>
            <a:off x="6101007" y="609166"/>
            <a:ext cx="2844000" cy="190800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700" dirty="0">
              <a:solidFill>
                <a:srgbClr val="000000"/>
              </a:solidFill>
            </a:endParaRPr>
          </a:p>
        </p:txBody>
      </p:sp>
      <p:sp>
        <p:nvSpPr>
          <p:cNvPr id="45" name="Rectangle 44"/>
          <p:cNvSpPr/>
          <p:nvPr/>
        </p:nvSpPr>
        <p:spPr>
          <a:xfrm>
            <a:off x="6101007" y="2601383"/>
            <a:ext cx="2844000" cy="190800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700" dirty="0">
              <a:solidFill>
                <a:srgbClr val="000000"/>
              </a:solidFill>
            </a:endParaRPr>
          </a:p>
        </p:txBody>
      </p:sp>
      <p:sp>
        <p:nvSpPr>
          <p:cNvPr id="46" name="Rectangle 45"/>
          <p:cNvSpPr/>
          <p:nvPr/>
        </p:nvSpPr>
        <p:spPr>
          <a:xfrm>
            <a:off x="252556" y="696623"/>
            <a:ext cx="2766065" cy="523220"/>
          </a:xfrm>
          <a:prstGeom prst="rect">
            <a:avLst/>
          </a:prstGeom>
        </p:spPr>
        <p:txBody>
          <a:bodyPr wrap="square" anchor="ctr">
            <a:spAutoFit/>
          </a:bodyPr>
          <a:lstStyle/>
          <a:p>
            <a:pPr algn="ctr"/>
            <a:r>
              <a:rPr lang="en-US" sz="1400"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rPr>
              <a:t>25,000+ PARTNERS WORLDWIDE</a:t>
            </a:r>
            <a:endParaRPr lang="en-US" sz="1400"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endParaRPr>
          </a:p>
        </p:txBody>
      </p:sp>
      <p:sp>
        <p:nvSpPr>
          <p:cNvPr id="49" name="Rectangle 48"/>
          <p:cNvSpPr/>
          <p:nvPr/>
        </p:nvSpPr>
        <p:spPr>
          <a:xfrm>
            <a:off x="3203249" y="694786"/>
            <a:ext cx="2766065" cy="523220"/>
          </a:xfrm>
          <a:prstGeom prst="rect">
            <a:avLst/>
          </a:prstGeom>
        </p:spPr>
        <p:txBody>
          <a:bodyPr wrap="square" anchor="ctr">
            <a:spAutoFit/>
          </a:bodyPr>
          <a:lstStyle/>
          <a:p>
            <a:pPr algn="ctr"/>
            <a:r>
              <a:rPr lang="en-US" sz="1400"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rPr>
              <a:t>5,000+ SPECIALIZED PARTNERS</a:t>
            </a:r>
            <a:endParaRPr lang="en-US" sz="1400"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endParaRPr>
          </a:p>
        </p:txBody>
      </p:sp>
      <p:sp>
        <p:nvSpPr>
          <p:cNvPr id="50" name="Rectangle 49"/>
          <p:cNvSpPr/>
          <p:nvPr/>
        </p:nvSpPr>
        <p:spPr>
          <a:xfrm>
            <a:off x="6142950" y="692948"/>
            <a:ext cx="2766065" cy="523220"/>
          </a:xfrm>
          <a:prstGeom prst="rect">
            <a:avLst/>
          </a:prstGeom>
        </p:spPr>
        <p:txBody>
          <a:bodyPr wrap="square" anchor="ctr">
            <a:spAutoFit/>
          </a:bodyPr>
          <a:lstStyle/>
          <a:p>
            <a:pPr algn="ctr"/>
            <a:r>
              <a:rPr lang="en-US" sz="1400"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rPr>
              <a:t>150+ AVAILABLE SPECIALIZATIONS</a:t>
            </a:r>
            <a:endParaRPr lang="en-US" sz="1400"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endParaRPr>
          </a:p>
        </p:txBody>
      </p:sp>
      <p:sp>
        <p:nvSpPr>
          <p:cNvPr id="51" name="Rectangle 50"/>
          <p:cNvSpPr/>
          <p:nvPr/>
        </p:nvSpPr>
        <p:spPr>
          <a:xfrm>
            <a:off x="250718" y="2702328"/>
            <a:ext cx="2766065" cy="523220"/>
          </a:xfrm>
          <a:prstGeom prst="rect">
            <a:avLst/>
          </a:prstGeom>
        </p:spPr>
        <p:txBody>
          <a:bodyPr wrap="square" anchor="ctr">
            <a:spAutoFit/>
          </a:bodyPr>
          <a:lstStyle/>
          <a:p>
            <a:pPr algn="ctr"/>
            <a:r>
              <a:rPr lang="en-US" sz="1400"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rPr>
              <a:t>100,000+ CERTIFIED PROFESSIONALS</a:t>
            </a:r>
            <a:endParaRPr lang="en-US" sz="1400"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endParaRPr>
          </a:p>
        </p:txBody>
      </p:sp>
      <p:sp>
        <p:nvSpPr>
          <p:cNvPr id="52" name="Rectangle 51"/>
          <p:cNvSpPr/>
          <p:nvPr/>
        </p:nvSpPr>
        <p:spPr>
          <a:xfrm>
            <a:off x="3201411" y="2702328"/>
            <a:ext cx="2766065" cy="523220"/>
          </a:xfrm>
          <a:prstGeom prst="rect">
            <a:avLst/>
          </a:prstGeom>
        </p:spPr>
        <p:txBody>
          <a:bodyPr wrap="square" anchor="ctr">
            <a:spAutoFit/>
          </a:bodyPr>
          <a:lstStyle/>
          <a:p>
            <a:pPr algn="ctr"/>
            <a:r>
              <a:rPr lang="en-US" sz="1400"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rPr>
              <a:t>COMMON MODEL FOR SOFTWARE &amp; HARDWARE</a:t>
            </a:r>
            <a:endParaRPr lang="en-US" sz="1400"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endParaRPr>
          </a:p>
        </p:txBody>
      </p:sp>
      <p:sp>
        <p:nvSpPr>
          <p:cNvPr id="53" name="Rectangle 52"/>
          <p:cNvSpPr/>
          <p:nvPr/>
        </p:nvSpPr>
        <p:spPr>
          <a:xfrm>
            <a:off x="6141112" y="2702328"/>
            <a:ext cx="2766065" cy="523220"/>
          </a:xfrm>
          <a:prstGeom prst="rect">
            <a:avLst/>
          </a:prstGeom>
        </p:spPr>
        <p:txBody>
          <a:bodyPr wrap="square" anchor="ctr">
            <a:spAutoFit/>
          </a:bodyPr>
          <a:lstStyle/>
          <a:p>
            <a:pPr algn="ctr"/>
            <a:r>
              <a:rPr lang="en-US" sz="1400" b="1" dirty="0" smtClean="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rPr>
              <a:t>6,000+ PRODUCTS FOR PARTNER RESELL</a:t>
            </a:r>
            <a:endParaRPr lang="en-US" sz="1400" b="1" dirty="0">
              <a:gradFill flip="none" rotWithShape="1">
                <a:gsLst>
                  <a:gs pos="0">
                    <a:srgbClr val="FF1414">
                      <a:shade val="30000"/>
                      <a:satMod val="115000"/>
                    </a:srgbClr>
                  </a:gs>
                  <a:gs pos="50000">
                    <a:srgbClr val="FF1414">
                      <a:shade val="67500"/>
                      <a:satMod val="115000"/>
                    </a:srgbClr>
                  </a:gs>
                  <a:gs pos="100000">
                    <a:srgbClr val="FF1414">
                      <a:shade val="100000"/>
                      <a:satMod val="115000"/>
                    </a:srgbClr>
                  </a:gs>
                </a:gsLst>
                <a:lin ang="16200000" scaled="1"/>
                <a:tileRect/>
              </a:gradFill>
              <a:latin typeface="Arial"/>
              <a:ea typeface="ＭＳ Ｐゴシック" pitchFamily="34" charset="-128"/>
            </a:endParaRPr>
          </a:p>
        </p:txBody>
      </p:sp>
      <p:sp>
        <p:nvSpPr>
          <p:cNvPr id="200" name="developers"/>
          <p:cNvSpPr>
            <a:spLocks noEditPoints="1"/>
          </p:cNvSpPr>
          <p:nvPr/>
        </p:nvSpPr>
        <p:spPr bwMode="auto">
          <a:xfrm>
            <a:off x="4142431" y="1245097"/>
            <a:ext cx="893788" cy="1163782"/>
          </a:xfrm>
          <a:custGeom>
            <a:avLst/>
            <a:gdLst>
              <a:gd name="T0" fmla="*/ 350 w 488"/>
              <a:gd name="T1" fmla="*/ 268 h 635"/>
              <a:gd name="T2" fmla="*/ 300 w 488"/>
              <a:gd name="T3" fmla="*/ 494 h 635"/>
              <a:gd name="T4" fmla="*/ 304 w 488"/>
              <a:gd name="T5" fmla="*/ 611 h 635"/>
              <a:gd name="T6" fmla="*/ 337 w 488"/>
              <a:gd name="T7" fmla="*/ 566 h 635"/>
              <a:gd name="T8" fmla="*/ 356 w 488"/>
              <a:gd name="T9" fmla="*/ 357 h 635"/>
              <a:gd name="T10" fmla="*/ 358 w 488"/>
              <a:gd name="T11" fmla="*/ 289 h 635"/>
              <a:gd name="T12" fmla="*/ 383 w 488"/>
              <a:gd name="T13" fmla="*/ 422 h 635"/>
              <a:gd name="T14" fmla="*/ 393 w 488"/>
              <a:gd name="T15" fmla="*/ 588 h 635"/>
              <a:gd name="T16" fmla="*/ 392 w 488"/>
              <a:gd name="T17" fmla="*/ 619 h 635"/>
              <a:gd name="T18" fmla="*/ 450 w 488"/>
              <a:gd name="T19" fmla="*/ 615 h 635"/>
              <a:gd name="T20" fmla="*/ 475 w 488"/>
              <a:gd name="T21" fmla="*/ 498 h 635"/>
              <a:gd name="T22" fmla="*/ 479 w 488"/>
              <a:gd name="T23" fmla="*/ 315 h 635"/>
              <a:gd name="T24" fmla="*/ 488 w 488"/>
              <a:gd name="T25" fmla="*/ 158 h 635"/>
              <a:gd name="T26" fmla="*/ 441 w 488"/>
              <a:gd name="T27" fmla="*/ 57 h 635"/>
              <a:gd name="T28" fmla="*/ 372 w 488"/>
              <a:gd name="T29" fmla="*/ 150 h 635"/>
              <a:gd name="T30" fmla="*/ 341 w 488"/>
              <a:gd name="T31" fmla="*/ 147 h 635"/>
              <a:gd name="T32" fmla="*/ 318 w 488"/>
              <a:gd name="T33" fmla="*/ 126 h 635"/>
              <a:gd name="T34" fmla="*/ 305 w 488"/>
              <a:gd name="T35" fmla="*/ 57 h 635"/>
              <a:gd name="T36" fmla="*/ 280 w 488"/>
              <a:gd name="T37" fmla="*/ 121 h 635"/>
              <a:gd name="T38" fmla="*/ 239 w 488"/>
              <a:gd name="T39" fmla="*/ 160 h 635"/>
              <a:gd name="T40" fmla="*/ 208 w 488"/>
              <a:gd name="T41" fmla="*/ 152 h 635"/>
              <a:gd name="T42" fmla="*/ 219 w 488"/>
              <a:gd name="T43" fmla="*/ 106 h 635"/>
              <a:gd name="T44" fmla="*/ 166 w 488"/>
              <a:gd name="T45" fmla="*/ 124 h 635"/>
              <a:gd name="T46" fmla="*/ 157 w 488"/>
              <a:gd name="T47" fmla="*/ 161 h 635"/>
              <a:gd name="T48" fmla="*/ 104 w 488"/>
              <a:gd name="T49" fmla="*/ 86 h 635"/>
              <a:gd name="T50" fmla="*/ 121 w 488"/>
              <a:gd name="T51" fmla="*/ 45 h 635"/>
              <a:gd name="T52" fmla="*/ 125 w 488"/>
              <a:gd name="T53" fmla="*/ 28 h 635"/>
              <a:gd name="T54" fmla="*/ 108 w 488"/>
              <a:gd name="T55" fmla="*/ 4 h 635"/>
              <a:gd name="T56" fmla="*/ 95 w 488"/>
              <a:gd name="T57" fmla="*/ 4 h 635"/>
              <a:gd name="T58" fmla="*/ 81 w 488"/>
              <a:gd name="T59" fmla="*/ 5 h 635"/>
              <a:gd name="T60" fmla="*/ 67 w 488"/>
              <a:gd name="T61" fmla="*/ 23 h 635"/>
              <a:gd name="T62" fmla="*/ 73 w 488"/>
              <a:gd name="T63" fmla="*/ 54 h 635"/>
              <a:gd name="T64" fmla="*/ 10 w 488"/>
              <a:gd name="T65" fmla="*/ 128 h 635"/>
              <a:gd name="T66" fmla="*/ 14 w 488"/>
              <a:gd name="T67" fmla="*/ 353 h 635"/>
              <a:gd name="T68" fmla="*/ 20 w 488"/>
              <a:gd name="T69" fmla="*/ 484 h 635"/>
              <a:gd name="T70" fmla="*/ 6 w 488"/>
              <a:gd name="T71" fmla="*/ 563 h 635"/>
              <a:gd name="T72" fmla="*/ 9 w 488"/>
              <a:gd name="T73" fmla="*/ 596 h 635"/>
              <a:gd name="T74" fmla="*/ 36 w 488"/>
              <a:gd name="T75" fmla="*/ 625 h 635"/>
              <a:gd name="T76" fmla="*/ 56 w 488"/>
              <a:gd name="T77" fmla="*/ 575 h 635"/>
              <a:gd name="T78" fmla="*/ 77 w 488"/>
              <a:gd name="T79" fmla="*/ 365 h 635"/>
              <a:gd name="T80" fmla="*/ 79 w 488"/>
              <a:gd name="T81" fmla="*/ 483 h 635"/>
              <a:gd name="T82" fmla="*/ 76 w 488"/>
              <a:gd name="T83" fmla="*/ 567 h 635"/>
              <a:gd name="T84" fmla="*/ 85 w 488"/>
              <a:gd name="T85" fmla="*/ 602 h 635"/>
              <a:gd name="T86" fmla="*/ 120 w 488"/>
              <a:gd name="T87" fmla="*/ 608 h 635"/>
              <a:gd name="T88" fmla="*/ 157 w 488"/>
              <a:gd name="T89" fmla="*/ 628 h 635"/>
              <a:gd name="T90" fmla="*/ 144 w 488"/>
              <a:gd name="T91" fmla="*/ 563 h 635"/>
              <a:gd name="T92" fmla="*/ 184 w 488"/>
              <a:gd name="T93" fmla="*/ 467 h 635"/>
              <a:gd name="T94" fmla="*/ 182 w 488"/>
              <a:gd name="T95" fmla="*/ 580 h 635"/>
              <a:gd name="T96" fmla="*/ 221 w 488"/>
              <a:gd name="T97" fmla="*/ 600 h 635"/>
              <a:gd name="T98" fmla="*/ 216 w 488"/>
              <a:gd name="T99" fmla="*/ 487 h 635"/>
              <a:gd name="T100" fmla="*/ 241 w 488"/>
              <a:gd name="T101" fmla="*/ 402 h 635"/>
              <a:gd name="T102" fmla="*/ 231 w 488"/>
              <a:gd name="T103" fmla="*/ 286 h 635"/>
              <a:gd name="T104" fmla="*/ 245 w 488"/>
              <a:gd name="T105" fmla="*/ 367 h 635"/>
              <a:gd name="T106" fmla="*/ 247 w 488"/>
              <a:gd name="T107" fmla="*/ 556 h 635"/>
              <a:gd name="T108" fmla="*/ 277 w 488"/>
              <a:gd name="T109" fmla="*/ 621 h 635"/>
              <a:gd name="T110" fmla="*/ 286 w 488"/>
              <a:gd name="T111" fmla="*/ 516 h 635"/>
              <a:gd name="T112" fmla="*/ 299 w 488"/>
              <a:gd name="T113" fmla="*/ 368 h 635"/>
              <a:gd name="T114" fmla="*/ 131 w 488"/>
              <a:gd name="T115" fmla="*/ 452 h 635"/>
              <a:gd name="T116" fmla="*/ 116 w 488"/>
              <a:gd name="T117" fmla="*/ 556 h 635"/>
              <a:gd name="T118" fmla="*/ 127 w 488"/>
              <a:gd name="T119" fmla="*/ 556 h 635"/>
              <a:gd name="T120" fmla="*/ 170 w 488"/>
              <a:gd name="T121" fmla="*/ 141 h 635"/>
              <a:gd name="T122" fmla="*/ 87 w 488"/>
              <a:gd name="T123" fmla="*/ 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8" h="635">
                <a:moveTo>
                  <a:pt x="348" y="202"/>
                </a:moveTo>
                <a:cubicBezTo>
                  <a:pt x="347" y="200"/>
                  <a:pt x="347" y="201"/>
                  <a:pt x="347" y="202"/>
                </a:cubicBezTo>
                <a:cubicBezTo>
                  <a:pt x="346" y="203"/>
                  <a:pt x="344" y="209"/>
                  <a:pt x="344" y="212"/>
                </a:cubicBezTo>
                <a:cubicBezTo>
                  <a:pt x="344" y="214"/>
                  <a:pt x="345" y="213"/>
                  <a:pt x="346" y="211"/>
                </a:cubicBezTo>
                <a:cubicBezTo>
                  <a:pt x="346" y="210"/>
                  <a:pt x="349" y="205"/>
                  <a:pt x="349" y="204"/>
                </a:cubicBezTo>
                <a:cubicBezTo>
                  <a:pt x="350" y="203"/>
                  <a:pt x="350" y="203"/>
                  <a:pt x="348" y="202"/>
                </a:cubicBezTo>
                <a:close/>
                <a:moveTo>
                  <a:pt x="348" y="259"/>
                </a:moveTo>
                <a:cubicBezTo>
                  <a:pt x="346" y="258"/>
                  <a:pt x="345" y="258"/>
                  <a:pt x="346" y="259"/>
                </a:cubicBezTo>
                <a:cubicBezTo>
                  <a:pt x="346" y="261"/>
                  <a:pt x="346" y="262"/>
                  <a:pt x="346" y="263"/>
                </a:cubicBezTo>
                <a:cubicBezTo>
                  <a:pt x="347" y="264"/>
                  <a:pt x="347" y="264"/>
                  <a:pt x="347" y="264"/>
                </a:cubicBezTo>
                <a:cubicBezTo>
                  <a:pt x="348" y="264"/>
                  <a:pt x="348" y="264"/>
                  <a:pt x="349" y="266"/>
                </a:cubicBezTo>
                <a:cubicBezTo>
                  <a:pt x="350" y="267"/>
                  <a:pt x="350" y="267"/>
                  <a:pt x="350" y="268"/>
                </a:cubicBezTo>
                <a:cubicBezTo>
                  <a:pt x="351" y="269"/>
                  <a:pt x="350" y="269"/>
                  <a:pt x="351" y="270"/>
                </a:cubicBezTo>
                <a:cubicBezTo>
                  <a:pt x="352" y="270"/>
                  <a:pt x="352" y="271"/>
                  <a:pt x="354" y="272"/>
                </a:cubicBezTo>
                <a:cubicBezTo>
                  <a:pt x="356" y="274"/>
                  <a:pt x="355" y="274"/>
                  <a:pt x="356" y="274"/>
                </a:cubicBezTo>
                <a:cubicBezTo>
                  <a:pt x="357" y="275"/>
                  <a:pt x="357" y="275"/>
                  <a:pt x="357" y="273"/>
                </a:cubicBezTo>
                <a:cubicBezTo>
                  <a:pt x="357" y="272"/>
                  <a:pt x="358" y="271"/>
                  <a:pt x="359" y="269"/>
                </a:cubicBezTo>
                <a:cubicBezTo>
                  <a:pt x="359" y="267"/>
                  <a:pt x="360" y="264"/>
                  <a:pt x="360" y="262"/>
                </a:cubicBezTo>
                <a:cubicBezTo>
                  <a:pt x="361" y="261"/>
                  <a:pt x="361" y="261"/>
                  <a:pt x="358" y="260"/>
                </a:cubicBezTo>
                <a:cubicBezTo>
                  <a:pt x="356" y="260"/>
                  <a:pt x="350" y="259"/>
                  <a:pt x="348" y="259"/>
                </a:cubicBezTo>
                <a:close/>
                <a:moveTo>
                  <a:pt x="21" y="461"/>
                </a:moveTo>
                <a:cubicBezTo>
                  <a:pt x="21" y="461"/>
                  <a:pt x="21" y="461"/>
                  <a:pt x="21" y="461"/>
                </a:cubicBezTo>
                <a:moveTo>
                  <a:pt x="300" y="455"/>
                </a:moveTo>
                <a:cubicBezTo>
                  <a:pt x="301" y="459"/>
                  <a:pt x="300" y="481"/>
                  <a:pt x="300" y="494"/>
                </a:cubicBezTo>
                <a:cubicBezTo>
                  <a:pt x="300" y="506"/>
                  <a:pt x="300" y="509"/>
                  <a:pt x="300" y="511"/>
                </a:cubicBezTo>
                <a:cubicBezTo>
                  <a:pt x="300" y="514"/>
                  <a:pt x="299" y="520"/>
                  <a:pt x="299" y="523"/>
                </a:cubicBezTo>
                <a:cubicBezTo>
                  <a:pt x="298" y="527"/>
                  <a:pt x="297" y="530"/>
                  <a:pt x="297" y="536"/>
                </a:cubicBezTo>
                <a:cubicBezTo>
                  <a:pt x="296" y="542"/>
                  <a:pt x="297" y="542"/>
                  <a:pt x="296" y="546"/>
                </a:cubicBezTo>
                <a:cubicBezTo>
                  <a:pt x="295" y="549"/>
                  <a:pt x="294" y="552"/>
                  <a:pt x="295" y="553"/>
                </a:cubicBezTo>
                <a:cubicBezTo>
                  <a:pt x="295" y="554"/>
                  <a:pt x="295" y="556"/>
                  <a:pt x="295" y="560"/>
                </a:cubicBezTo>
                <a:cubicBezTo>
                  <a:pt x="296" y="564"/>
                  <a:pt x="297" y="569"/>
                  <a:pt x="297" y="572"/>
                </a:cubicBezTo>
                <a:cubicBezTo>
                  <a:pt x="298" y="575"/>
                  <a:pt x="298" y="582"/>
                  <a:pt x="299" y="585"/>
                </a:cubicBezTo>
                <a:cubicBezTo>
                  <a:pt x="299" y="588"/>
                  <a:pt x="299" y="588"/>
                  <a:pt x="299" y="590"/>
                </a:cubicBezTo>
                <a:cubicBezTo>
                  <a:pt x="299" y="592"/>
                  <a:pt x="297" y="594"/>
                  <a:pt x="299" y="595"/>
                </a:cubicBezTo>
                <a:cubicBezTo>
                  <a:pt x="300" y="595"/>
                  <a:pt x="300" y="594"/>
                  <a:pt x="300" y="596"/>
                </a:cubicBezTo>
                <a:cubicBezTo>
                  <a:pt x="300" y="597"/>
                  <a:pt x="301" y="610"/>
                  <a:pt x="304" y="611"/>
                </a:cubicBezTo>
                <a:cubicBezTo>
                  <a:pt x="305" y="611"/>
                  <a:pt x="305" y="611"/>
                  <a:pt x="305" y="613"/>
                </a:cubicBezTo>
                <a:cubicBezTo>
                  <a:pt x="305" y="614"/>
                  <a:pt x="306" y="621"/>
                  <a:pt x="308" y="621"/>
                </a:cubicBezTo>
                <a:cubicBezTo>
                  <a:pt x="310" y="620"/>
                  <a:pt x="313" y="620"/>
                  <a:pt x="316" y="620"/>
                </a:cubicBezTo>
                <a:cubicBezTo>
                  <a:pt x="319" y="620"/>
                  <a:pt x="328" y="619"/>
                  <a:pt x="331" y="619"/>
                </a:cubicBezTo>
                <a:cubicBezTo>
                  <a:pt x="333" y="619"/>
                  <a:pt x="334" y="619"/>
                  <a:pt x="335" y="617"/>
                </a:cubicBezTo>
                <a:cubicBezTo>
                  <a:pt x="336" y="616"/>
                  <a:pt x="337" y="609"/>
                  <a:pt x="335" y="605"/>
                </a:cubicBezTo>
                <a:cubicBezTo>
                  <a:pt x="334" y="605"/>
                  <a:pt x="334" y="605"/>
                  <a:pt x="333" y="603"/>
                </a:cubicBezTo>
                <a:cubicBezTo>
                  <a:pt x="333" y="602"/>
                  <a:pt x="332" y="599"/>
                  <a:pt x="331" y="597"/>
                </a:cubicBezTo>
                <a:cubicBezTo>
                  <a:pt x="330" y="595"/>
                  <a:pt x="331" y="596"/>
                  <a:pt x="331" y="595"/>
                </a:cubicBezTo>
                <a:cubicBezTo>
                  <a:pt x="332" y="593"/>
                  <a:pt x="331" y="593"/>
                  <a:pt x="333" y="589"/>
                </a:cubicBezTo>
                <a:cubicBezTo>
                  <a:pt x="334" y="586"/>
                  <a:pt x="334" y="582"/>
                  <a:pt x="335" y="578"/>
                </a:cubicBezTo>
                <a:cubicBezTo>
                  <a:pt x="336" y="574"/>
                  <a:pt x="337" y="570"/>
                  <a:pt x="337" y="566"/>
                </a:cubicBezTo>
                <a:cubicBezTo>
                  <a:pt x="337" y="562"/>
                  <a:pt x="339" y="561"/>
                  <a:pt x="338" y="558"/>
                </a:cubicBezTo>
                <a:cubicBezTo>
                  <a:pt x="337" y="555"/>
                  <a:pt x="337" y="545"/>
                  <a:pt x="337" y="540"/>
                </a:cubicBezTo>
                <a:cubicBezTo>
                  <a:pt x="337" y="536"/>
                  <a:pt x="338" y="523"/>
                  <a:pt x="338" y="520"/>
                </a:cubicBezTo>
                <a:cubicBezTo>
                  <a:pt x="338" y="516"/>
                  <a:pt x="337" y="501"/>
                  <a:pt x="337" y="495"/>
                </a:cubicBezTo>
                <a:cubicBezTo>
                  <a:pt x="337" y="489"/>
                  <a:pt x="336" y="475"/>
                  <a:pt x="336" y="468"/>
                </a:cubicBezTo>
                <a:cubicBezTo>
                  <a:pt x="336" y="462"/>
                  <a:pt x="336" y="455"/>
                  <a:pt x="337" y="454"/>
                </a:cubicBezTo>
                <a:cubicBezTo>
                  <a:pt x="337" y="452"/>
                  <a:pt x="337" y="451"/>
                  <a:pt x="338" y="449"/>
                </a:cubicBezTo>
                <a:cubicBezTo>
                  <a:pt x="339" y="448"/>
                  <a:pt x="341" y="439"/>
                  <a:pt x="342" y="435"/>
                </a:cubicBezTo>
                <a:cubicBezTo>
                  <a:pt x="343" y="432"/>
                  <a:pt x="343" y="423"/>
                  <a:pt x="344" y="417"/>
                </a:cubicBezTo>
                <a:cubicBezTo>
                  <a:pt x="346" y="409"/>
                  <a:pt x="347" y="398"/>
                  <a:pt x="347" y="395"/>
                </a:cubicBezTo>
                <a:cubicBezTo>
                  <a:pt x="348" y="391"/>
                  <a:pt x="350" y="385"/>
                  <a:pt x="351" y="381"/>
                </a:cubicBezTo>
                <a:cubicBezTo>
                  <a:pt x="352" y="379"/>
                  <a:pt x="355" y="363"/>
                  <a:pt x="356" y="357"/>
                </a:cubicBezTo>
                <a:cubicBezTo>
                  <a:pt x="357" y="350"/>
                  <a:pt x="358" y="344"/>
                  <a:pt x="358" y="333"/>
                </a:cubicBezTo>
                <a:cubicBezTo>
                  <a:pt x="357" y="327"/>
                  <a:pt x="357" y="326"/>
                  <a:pt x="357" y="325"/>
                </a:cubicBezTo>
                <a:cubicBezTo>
                  <a:pt x="357" y="324"/>
                  <a:pt x="358" y="323"/>
                  <a:pt x="357" y="322"/>
                </a:cubicBezTo>
                <a:cubicBezTo>
                  <a:pt x="357" y="321"/>
                  <a:pt x="357" y="319"/>
                  <a:pt x="357" y="318"/>
                </a:cubicBezTo>
                <a:cubicBezTo>
                  <a:pt x="357" y="318"/>
                  <a:pt x="357" y="315"/>
                  <a:pt x="356" y="313"/>
                </a:cubicBezTo>
                <a:cubicBezTo>
                  <a:pt x="355" y="311"/>
                  <a:pt x="356" y="310"/>
                  <a:pt x="357" y="309"/>
                </a:cubicBezTo>
                <a:cubicBezTo>
                  <a:pt x="357" y="308"/>
                  <a:pt x="357" y="306"/>
                  <a:pt x="357" y="305"/>
                </a:cubicBezTo>
                <a:cubicBezTo>
                  <a:pt x="357" y="305"/>
                  <a:pt x="357" y="303"/>
                  <a:pt x="357" y="301"/>
                </a:cubicBezTo>
                <a:cubicBezTo>
                  <a:pt x="357" y="300"/>
                  <a:pt x="357" y="296"/>
                  <a:pt x="355" y="294"/>
                </a:cubicBezTo>
                <a:cubicBezTo>
                  <a:pt x="354" y="293"/>
                  <a:pt x="355" y="292"/>
                  <a:pt x="355" y="292"/>
                </a:cubicBezTo>
                <a:cubicBezTo>
                  <a:pt x="356" y="291"/>
                  <a:pt x="355" y="291"/>
                  <a:pt x="356" y="290"/>
                </a:cubicBezTo>
                <a:cubicBezTo>
                  <a:pt x="357" y="289"/>
                  <a:pt x="357" y="289"/>
                  <a:pt x="358" y="289"/>
                </a:cubicBezTo>
                <a:cubicBezTo>
                  <a:pt x="359" y="290"/>
                  <a:pt x="360" y="290"/>
                  <a:pt x="361" y="290"/>
                </a:cubicBezTo>
                <a:cubicBezTo>
                  <a:pt x="362" y="290"/>
                  <a:pt x="363" y="291"/>
                  <a:pt x="364" y="290"/>
                </a:cubicBezTo>
                <a:cubicBezTo>
                  <a:pt x="365" y="290"/>
                  <a:pt x="365" y="290"/>
                  <a:pt x="365" y="291"/>
                </a:cubicBezTo>
                <a:cubicBezTo>
                  <a:pt x="365" y="292"/>
                  <a:pt x="363" y="304"/>
                  <a:pt x="363" y="308"/>
                </a:cubicBezTo>
                <a:cubicBezTo>
                  <a:pt x="362" y="313"/>
                  <a:pt x="362" y="315"/>
                  <a:pt x="361" y="318"/>
                </a:cubicBezTo>
                <a:cubicBezTo>
                  <a:pt x="360" y="321"/>
                  <a:pt x="361" y="323"/>
                  <a:pt x="360" y="323"/>
                </a:cubicBezTo>
                <a:cubicBezTo>
                  <a:pt x="360" y="324"/>
                  <a:pt x="360" y="324"/>
                  <a:pt x="362" y="324"/>
                </a:cubicBezTo>
                <a:cubicBezTo>
                  <a:pt x="364" y="324"/>
                  <a:pt x="367" y="324"/>
                  <a:pt x="368" y="324"/>
                </a:cubicBezTo>
                <a:cubicBezTo>
                  <a:pt x="370" y="324"/>
                  <a:pt x="370" y="324"/>
                  <a:pt x="370" y="326"/>
                </a:cubicBezTo>
                <a:cubicBezTo>
                  <a:pt x="370" y="327"/>
                  <a:pt x="369" y="339"/>
                  <a:pt x="370" y="353"/>
                </a:cubicBezTo>
                <a:cubicBezTo>
                  <a:pt x="372" y="366"/>
                  <a:pt x="372" y="376"/>
                  <a:pt x="378" y="398"/>
                </a:cubicBezTo>
                <a:cubicBezTo>
                  <a:pt x="379" y="406"/>
                  <a:pt x="381" y="417"/>
                  <a:pt x="383" y="422"/>
                </a:cubicBezTo>
                <a:cubicBezTo>
                  <a:pt x="384" y="427"/>
                  <a:pt x="384" y="427"/>
                  <a:pt x="385" y="430"/>
                </a:cubicBezTo>
                <a:cubicBezTo>
                  <a:pt x="385" y="433"/>
                  <a:pt x="387" y="447"/>
                  <a:pt x="387" y="450"/>
                </a:cubicBezTo>
                <a:cubicBezTo>
                  <a:pt x="388" y="453"/>
                  <a:pt x="388" y="454"/>
                  <a:pt x="388" y="455"/>
                </a:cubicBezTo>
                <a:cubicBezTo>
                  <a:pt x="389" y="456"/>
                  <a:pt x="389" y="456"/>
                  <a:pt x="389" y="458"/>
                </a:cubicBezTo>
                <a:cubicBezTo>
                  <a:pt x="389" y="459"/>
                  <a:pt x="388" y="465"/>
                  <a:pt x="389" y="472"/>
                </a:cubicBezTo>
                <a:cubicBezTo>
                  <a:pt x="389" y="474"/>
                  <a:pt x="389" y="475"/>
                  <a:pt x="389" y="479"/>
                </a:cubicBezTo>
                <a:cubicBezTo>
                  <a:pt x="389" y="483"/>
                  <a:pt x="389" y="486"/>
                  <a:pt x="389" y="490"/>
                </a:cubicBezTo>
                <a:cubicBezTo>
                  <a:pt x="389" y="495"/>
                  <a:pt x="389" y="499"/>
                  <a:pt x="389" y="502"/>
                </a:cubicBezTo>
                <a:cubicBezTo>
                  <a:pt x="390" y="504"/>
                  <a:pt x="390" y="504"/>
                  <a:pt x="390" y="506"/>
                </a:cubicBezTo>
                <a:cubicBezTo>
                  <a:pt x="390" y="507"/>
                  <a:pt x="390" y="525"/>
                  <a:pt x="391" y="535"/>
                </a:cubicBezTo>
                <a:cubicBezTo>
                  <a:pt x="392" y="545"/>
                  <a:pt x="393" y="552"/>
                  <a:pt x="393" y="564"/>
                </a:cubicBezTo>
                <a:cubicBezTo>
                  <a:pt x="393" y="575"/>
                  <a:pt x="393" y="586"/>
                  <a:pt x="393" y="588"/>
                </a:cubicBezTo>
                <a:cubicBezTo>
                  <a:pt x="393" y="589"/>
                  <a:pt x="393" y="589"/>
                  <a:pt x="393" y="590"/>
                </a:cubicBezTo>
                <a:cubicBezTo>
                  <a:pt x="393" y="590"/>
                  <a:pt x="394" y="589"/>
                  <a:pt x="393" y="592"/>
                </a:cubicBezTo>
                <a:cubicBezTo>
                  <a:pt x="393" y="593"/>
                  <a:pt x="392" y="594"/>
                  <a:pt x="392" y="595"/>
                </a:cubicBezTo>
                <a:cubicBezTo>
                  <a:pt x="392" y="596"/>
                  <a:pt x="391" y="595"/>
                  <a:pt x="390" y="597"/>
                </a:cubicBezTo>
                <a:cubicBezTo>
                  <a:pt x="390" y="599"/>
                  <a:pt x="389" y="601"/>
                  <a:pt x="386" y="604"/>
                </a:cubicBezTo>
                <a:cubicBezTo>
                  <a:pt x="382" y="608"/>
                  <a:pt x="382" y="607"/>
                  <a:pt x="380" y="608"/>
                </a:cubicBezTo>
                <a:cubicBezTo>
                  <a:pt x="379" y="609"/>
                  <a:pt x="379" y="610"/>
                  <a:pt x="376" y="611"/>
                </a:cubicBezTo>
                <a:cubicBezTo>
                  <a:pt x="372" y="612"/>
                  <a:pt x="368" y="613"/>
                  <a:pt x="368" y="615"/>
                </a:cubicBezTo>
                <a:cubicBezTo>
                  <a:pt x="367" y="616"/>
                  <a:pt x="367" y="616"/>
                  <a:pt x="367" y="617"/>
                </a:cubicBezTo>
                <a:cubicBezTo>
                  <a:pt x="367" y="617"/>
                  <a:pt x="366" y="618"/>
                  <a:pt x="368" y="618"/>
                </a:cubicBezTo>
                <a:cubicBezTo>
                  <a:pt x="370" y="619"/>
                  <a:pt x="370" y="620"/>
                  <a:pt x="376" y="620"/>
                </a:cubicBezTo>
                <a:cubicBezTo>
                  <a:pt x="382" y="620"/>
                  <a:pt x="384" y="620"/>
                  <a:pt x="392" y="619"/>
                </a:cubicBezTo>
                <a:cubicBezTo>
                  <a:pt x="400" y="617"/>
                  <a:pt x="401" y="617"/>
                  <a:pt x="401" y="617"/>
                </a:cubicBezTo>
                <a:cubicBezTo>
                  <a:pt x="401" y="617"/>
                  <a:pt x="397" y="620"/>
                  <a:pt x="397" y="621"/>
                </a:cubicBezTo>
                <a:cubicBezTo>
                  <a:pt x="397" y="622"/>
                  <a:pt x="398" y="622"/>
                  <a:pt x="398" y="622"/>
                </a:cubicBezTo>
                <a:cubicBezTo>
                  <a:pt x="398" y="623"/>
                  <a:pt x="397" y="623"/>
                  <a:pt x="398" y="624"/>
                </a:cubicBezTo>
                <a:cubicBezTo>
                  <a:pt x="399" y="624"/>
                  <a:pt x="400" y="626"/>
                  <a:pt x="405" y="626"/>
                </a:cubicBezTo>
                <a:cubicBezTo>
                  <a:pt x="409" y="627"/>
                  <a:pt x="414" y="627"/>
                  <a:pt x="423" y="626"/>
                </a:cubicBezTo>
                <a:cubicBezTo>
                  <a:pt x="432" y="624"/>
                  <a:pt x="435" y="624"/>
                  <a:pt x="437" y="623"/>
                </a:cubicBezTo>
                <a:cubicBezTo>
                  <a:pt x="440" y="623"/>
                  <a:pt x="442" y="622"/>
                  <a:pt x="443" y="619"/>
                </a:cubicBezTo>
                <a:cubicBezTo>
                  <a:pt x="445" y="616"/>
                  <a:pt x="445" y="614"/>
                  <a:pt x="446" y="611"/>
                </a:cubicBezTo>
                <a:cubicBezTo>
                  <a:pt x="447" y="608"/>
                  <a:pt x="448" y="607"/>
                  <a:pt x="449" y="606"/>
                </a:cubicBezTo>
                <a:cubicBezTo>
                  <a:pt x="450" y="605"/>
                  <a:pt x="450" y="605"/>
                  <a:pt x="450" y="607"/>
                </a:cubicBezTo>
                <a:cubicBezTo>
                  <a:pt x="450" y="609"/>
                  <a:pt x="450" y="615"/>
                  <a:pt x="450" y="615"/>
                </a:cubicBezTo>
                <a:cubicBezTo>
                  <a:pt x="450" y="615"/>
                  <a:pt x="450" y="615"/>
                  <a:pt x="451" y="616"/>
                </a:cubicBezTo>
                <a:cubicBezTo>
                  <a:pt x="452" y="616"/>
                  <a:pt x="457" y="616"/>
                  <a:pt x="457" y="616"/>
                </a:cubicBezTo>
                <a:cubicBezTo>
                  <a:pt x="458" y="617"/>
                  <a:pt x="458" y="617"/>
                  <a:pt x="459" y="617"/>
                </a:cubicBezTo>
                <a:cubicBezTo>
                  <a:pt x="460" y="616"/>
                  <a:pt x="461" y="617"/>
                  <a:pt x="461" y="616"/>
                </a:cubicBezTo>
                <a:cubicBezTo>
                  <a:pt x="461" y="615"/>
                  <a:pt x="461" y="597"/>
                  <a:pt x="462" y="595"/>
                </a:cubicBezTo>
                <a:cubicBezTo>
                  <a:pt x="462" y="592"/>
                  <a:pt x="462" y="592"/>
                  <a:pt x="462" y="592"/>
                </a:cubicBezTo>
                <a:cubicBezTo>
                  <a:pt x="464" y="592"/>
                  <a:pt x="465" y="591"/>
                  <a:pt x="466" y="591"/>
                </a:cubicBezTo>
                <a:cubicBezTo>
                  <a:pt x="467" y="590"/>
                  <a:pt x="467" y="591"/>
                  <a:pt x="469" y="591"/>
                </a:cubicBezTo>
                <a:cubicBezTo>
                  <a:pt x="471" y="591"/>
                  <a:pt x="474" y="590"/>
                  <a:pt x="476" y="589"/>
                </a:cubicBezTo>
                <a:cubicBezTo>
                  <a:pt x="477" y="589"/>
                  <a:pt x="477" y="589"/>
                  <a:pt x="476" y="587"/>
                </a:cubicBezTo>
                <a:cubicBezTo>
                  <a:pt x="476" y="584"/>
                  <a:pt x="476" y="577"/>
                  <a:pt x="476" y="555"/>
                </a:cubicBezTo>
                <a:cubicBezTo>
                  <a:pt x="476" y="533"/>
                  <a:pt x="476" y="502"/>
                  <a:pt x="475" y="498"/>
                </a:cubicBezTo>
                <a:cubicBezTo>
                  <a:pt x="475" y="493"/>
                  <a:pt x="476" y="468"/>
                  <a:pt x="475" y="463"/>
                </a:cubicBezTo>
                <a:cubicBezTo>
                  <a:pt x="474" y="457"/>
                  <a:pt x="472" y="443"/>
                  <a:pt x="472" y="442"/>
                </a:cubicBezTo>
                <a:cubicBezTo>
                  <a:pt x="472" y="439"/>
                  <a:pt x="472" y="437"/>
                  <a:pt x="470" y="435"/>
                </a:cubicBezTo>
                <a:cubicBezTo>
                  <a:pt x="469" y="433"/>
                  <a:pt x="468" y="430"/>
                  <a:pt x="468" y="429"/>
                </a:cubicBezTo>
                <a:cubicBezTo>
                  <a:pt x="468" y="428"/>
                  <a:pt x="470" y="426"/>
                  <a:pt x="470" y="424"/>
                </a:cubicBezTo>
                <a:cubicBezTo>
                  <a:pt x="470" y="421"/>
                  <a:pt x="469" y="420"/>
                  <a:pt x="469" y="418"/>
                </a:cubicBezTo>
                <a:cubicBezTo>
                  <a:pt x="469" y="417"/>
                  <a:pt x="469" y="415"/>
                  <a:pt x="469" y="414"/>
                </a:cubicBezTo>
                <a:cubicBezTo>
                  <a:pt x="471" y="394"/>
                  <a:pt x="477" y="356"/>
                  <a:pt x="477" y="356"/>
                </a:cubicBezTo>
                <a:cubicBezTo>
                  <a:pt x="477" y="355"/>
                  <a:pt x="478" y="350"/>
                  <a:pt x="479" y="345"/>
                </a:cubicBezTo>
                <a:cubicBezTo>
                  <a:pt x="480" y="340"/>
                  <a:pt x="480" y="339"/>
                  <a:pt x="480" y="327"/>
                </a:cubicBezTo>
                <a:cubicBezTo>
                  <a:pt x="479" y="323"/>
                  <a:pt x="481" y="326"/>
                  <a:pt x="480" y="323"/>
                </a:cubicBezTo>
                <a:cubicBezTo>
                  <a:pt x="480" y="321"/>
                  <a:pt x="479" y="318"/>
                  <a:pt x="479" y="315"/>
                </a:cubicBezTo>
                <a:cubicBezTo>
                  <a:pt x="479" y="313"/>
                  <a:pt x="479" y="311"/>
                  <a:pt x="478" y="310"/>
                </a:cubicBezTo>
                <a:cubicBezTo>
                  <a:pt x="478" y="309"/>
                  <a:pt x="476" y="295"/>
                  <a:pt x="475" y="292"/>
                </a:cubicBezTo>
                <a:cubicBezTo>
                  <a:pt x="474" y="288"/>
                  <a:pt x="473" y="282"/>
                  <a:pt x="473" y="278"/>
                </a:cubicBezTo>
                <a:cubicBezTo>
                  <a:pt x="472" y="274"/>
                  <a:pt x="469" y="263"/>
                  <a:pt x="462" y="248"/>
                </a:cubicBezTo>
                <a:cubicBezTo>
                  <a:pt x="462" y="246"/>
                  <a:pt x="462" y="245"/>
                  <a:pt x="462" y="245"/>
                </a:cubicBezTo>
                <a:cubicBezTo>
                  <a:pt x="463" y="244"/>
                  <a:pt x="469" y="239"/>
                  <a:pt x="473" y="228"/>
                </a:cubicBezTo>
                <a:cubicBezTo>
                  <a:pt x="478" y="217"/>
                  <a:pt x="480" y="211"/>
                  <a:pt x="482" y="195"/>
                </a:cubicBezTo>
                <a:cubicBezTo>
                  <a:pt x="484" y="179"/>
                  <a:pt x="483" y="181"/>
                  <a:pt x="483" y="180"/>
                </a:cubicBezTo>
                <a:cubicBezTo>
                  <a:pt x="484" y="178"/>
                  <a:pt x="486" y="179"/>
                  <a:pt x="486" y="175"/>
                </a:cubicBezTo>
                <a:cubicBezTo>
                  <a:pt x="485" y="172"/>
                  <a:pt x="485" y="171"/>
                  <a:pt x="486" y="170"/>
                </a:cubicBezTo>
                <a:cubicBezTo>
                  <a:pt x="486" y="169"/>
                  <a:pt x="487" y="166"/>
                  <a:pt x="487" y="164"/>
                </a:cubicBezTo>
                <a:cubicBezTo>
                  <a:pt x="488" y="161"/>
                  <a:pt x="487" y="160"/>
                  <a:pt x="488" y="158"/>
                </a:cubicBezTo>
                <a:cubicBezTo>
                  <a:pt x="488" y="157"/>
                  <a:pt x="488" y="156"/>
                  <a:pt x="488" y="155"/>
                </a:cubicBezTo>
                <a:cubicBezTo>
                  <a:pt x="488" y="154"/>
                  <a:pt x="487" y="148"/>
                  <a:pt x="482" y="145"/>
                </a:cubicBezTo>
                <a:cubicBezTo>
                  <a:pt x="478" y="142"/>
                  <a:pt x="473" y="142"/>
                  <a:pt x="469" y="141"/>
                </a:cubicBezTo>
                <a:cubicBezTo>
                  <a:pt x="466" y="140"/>
                  <a:pt x="461" y="138"/>
                  <a:pt x="460" y="136"/>
                </a:cubicBezTo>
                <a:cubicBezTo>
                  <a:pt x="459" y="134"/>
                  <a:pt x="458" y="133"/>
                  <a:pt x="458" y="131"/>
                </a:cubicBezTo>
                <a:cubicBezTo>
                  <a:pt x="459" y="130"/>
                  <a:pt x="459" y="128"/>
                  <a:pt x="459" y="126"/>
                </a:cubicBezTo>
                <a:cubicBezTo>
                  <a:pt x="459" y="124"/>
                  <a:pt x="458" y="125"/>
                  <a:pt x="458" y="121"/>
                </a:cubicBezTo>
                <a:cubicBezTo>
                  <a:pt x="459" y="116"/>
                  <a:pt x="459" y="112"/>
                  <a:pt x="460" y="109"/>
                </a:cubicBezTo>
                <a:cubicBezTo>
                  <a:pt x="460" y="107"/>
                  <a:pt x="460" y="104"/>
                  <a:pt x="460" y="100"/>
                </a:cubicBezTo>
                <a:cubicBezTo>
                  <a:pt x="460" y="97"/>
                  <a:pt x="459" y="88"/>
                  <a:pt x="458" y="84"/>
                </a:cubicBezTo>
                <a:cubicBezTo>
                  <a:pt x="457" y="79"/>
                  <a:pt x="455" y="72"/>
                  <a:pt x="452" y="68"/>
                </a:cubicBezTo>
                <a:cubicBezTo>
                  <a:pt x="449" y="65"/>
                  <a:pt x="447" y="61"/>
                  <a:pt x="441" y="57"/>
                </a:cubicBezTo>
                <a:cubicBezTo>
                  <a:pt x="434" y="54"/>
                  <a:pt x="430" y="52"/>
                  <a:pt x="424" y="55"/>
                </a:cubicBezTo>
                <a:cubicBezTo>
                  <a:pt x="421" y="55"/>
                  <a:pt x="422" y="56"/>
                  <a:pt x="419" y="55"/>
                </a:cubicBezTo>
                <a:cubicBezTo>
                  <a:pt x="415" y="55"/>
                  <a:pt x="415" y="56"/>
                  <a:pt x="413" y="56"/>
                </a:cubicBezTo>
                <a:cubicBezTo>
                  <a:pt x="411" y="56"/>
                  <a:pt x="408" y="57"/>
                  <a:pt x="405" y="59"/>
                </a:cubicBezTo>
                <a:cubicBezTo>
                  <a:pt x="403" y="60"/>
                  <a:pt x="398" y="63"/>
                  <a:pt x="393" y="73"/>
                </a:cubicBezTo>
                <a:cubicBezTo>
                  <a:pt x="392" y="77"/>
                  <a:pt x="390" y="82"/>
                  <a:pt x="389" y="86"/>
                </a:cubicBezTo>
                <a:cubicBezTo>
                  <a:pt x="388" y="90"/>
                  <a:pt x="386" y="99"/>
                  <a:pt x="386" y="104"/>
                </a:cubicBezTo>
                <a:cubicBezTo>
                  <a:pt x="385" y="108"/>
                  <a:pt x="385" y="114"/>
                  <a:pt x="385" y="118"/>
                </a:cubicBezTo>
                <a:cubicBezTo>
                  <a:pt x="385" y="123"/>
                  <a:pt x="388" y="129"/>
                  <a:pt x="388" y="132"/>
                </a:cubicBezTo>
                <a:cubicBezTo>
                  <a:pt x="388" y="135"/>
                  <a:pt x="389" y="138"/>
                  <a:pt x="389" y="140"/>
                </a:cubicBezTo>
                <a:cubicBezTo>
                  <a:pt x="390" y="143"/>
                  <a:pt x="392" y="144"/>
                  <a:pt x="390" y="144"/>
                </a:cubicBezTo>
                <a:cubicBezTo>
                  <a:pt x="383" y="145"/>
                  <a:pt x="379" y="145"/>
                  <a:pt x="372" y="150"/>
                </a:cubicBezTo>
                <a:cubicBezTo>
                  <a:pt x="371" y="150"/>
                  <a:pt x="370" y="148"/>
                  <a:pt x="367" y="152"/>
                </a:cubicBezTo>
                <a:cubicBezTo>
                  <a:pt x="365" y="153"/>
                  <a:pt x="365" y="155"/>
                  <a:pt x="365" y="156"/>
                </a:cubicBezTo>
                <a:cubicBezTo>
                  <a:pt x="365" y="159"/>
                  <a:pt x="363" y="158"/>
                  <a:pt x="364" y="164"/>
                </a:cubicBezTo>
                <a:cubicBezTo>
                  <a:pt x="364" y="165"/>
                  <a:pt x="364" y="165"/>
                  <a:pt x="363" y="166"/>
                </a:cubicBezTo>
                <a:cubicBezTo>
                  <a:pt x="362" y="166"/>
                  <a:pt x="362" y="166"/>
                  <a:pt x="362" y="167"/>
                </a:cubicBezTo>
                <a:cubicBezTo>
                  <a:pt x="361" y="168"/>
                  <a:pt x="361" y="167"/>
                  <a:pt x="360" y="166"/>
                </a:cubicBezTo>
                <a:cubicBezTo>
                  <a:pt x="359" y="165"/>
                  <a:pt x="357" y="161"/>
                  <a:pt x="357" y="160"/>
                </a:cubicBezTo>
                <a:cubicBezTo>
                  <a:pt x="356" y="158"/>
                  <a:pt x="356" y="159"/>
                  <a:pt x="356" y="157"/>
                </a:cubicBezTo>
                <a:cubicBezTo>
                  <a:pt x="355" y="154"/>
                  <a:pt x="356" y="153"/>
                  <a:pt x="351" y="151"/>
                </a:cubicBezTo>
                <a:cubicBezTo>
                  <a:pt x="348" y="151"/>
                  <a:pt x="349" y="150"/>
                  <a:pt x="348" y="150"/>
                </a:cubicBezTo>
                <a:cubicBezTo>
                  <a:pt x="347" y="150"/>
                  <a:pt x="348" y="150"/>
                  <a:pt x="346" y="149"/>
                </a:cubicBezTo>
                <a:cubicBezTo>
                  <a:pt x="345" y="149"/>
                  <a:pt x="342" y="148"/>
                  <a:pt x="341" y="147"/>
                </a:cubicBezTo>
                <a:cubicBezTo>
                  <a:pt x="339" y="146"/>
                  <a:pt x="338" y="146"/>
                  <a:pt x="336" y="146"/>
                </a:cubicBezTo>
                <a:cubicBezTo>
                  <a:pt x="335" y="145"/>
                  <a:pt x="333" y="145"/>
                  <a:pt x="330" y="144"/>
                </a:cubicBezTo>
                <a:cubicBezTo>
                  <a:pt x="326" y="143"/>
                  <a:pt x="325" y="141"/>
                  <a:pt x="322" y="140"/>
                </a:cubicBezTo>
                <a:cubicBezTo>
                  <a:pt x="320" y="139"/>
                  <a:pt x="320" y="138"/>
                  <a:pt x="313" y="133"/>
                </a:cubicBezTo>
                <a:cubicBezTo>
                  <a:pt x="312" y="132"/>
                  <a:pt x="312" y="133"/>
                  <a:pt x="312" y="131"/>
                </a:cubicBezTo>
                <a:cubicBezTo>
                  <a:pt x="312" y="130"/>
                  <a:pt x="312" y="129"/>
                  <a:pt x="312" y="127"/>
                </a:cubicBezTo>
                <a:cubicBezTo>
                  <a:pt x="312" y="125"/>
                  <a:pt x="312" y="126"/>
                  <a:pt x="313" y="124"/>
                </a:cubicBezTo>
                <a:cubicBezTo>
                  <a:pt x="315" y="123"/>
                  <a:pt x="315" y="124"/>
                  <a:pt x="315" y="123"/>
                </a:cubicBezTo>
                <a:cubicBezTo>
                  <a:pt x="316" y="122"/>
                  <a:pt x="317" y="124"/>
                  <a:pt x="317" y="124"/>
                </a:cubicBezTo>
                <a:cubicBezTo>
                  <a:pt x="318" y="123"/>
                  <a:pt x="319" y="123"/>
                  <a:pt x="319" y="124"/>
                </a:cubicBezTo>
                <a:cubicBezTo>
                  <a:pt x="318" y="124"/>
                  <a:pt x="317" y="125"/>
                  <a:pt x="316" y="126"/>
                </a:cubicBezTo>
                <a:cubicBezTo>
                  <a:pt x="316" y="126"/>
                  <a:pt x="317" y="126"/>
                  <a:pt x="318" y="126"/>
                </a:cubicBezTo>
                <a:cubicBezTo>
                  <a:pt x="318" y="125"/>
                  <a:pt x="318" y="126"/>
                  <a:pt x="318" y="127"/>
                </a:cubicBezTo>
                <a:cubicBezTo>
                  <a:pt x="318" y="127"/>
                  <a:pt x="318" y="126"/>
                  <a:pt x="319" y="126"/>
                </a:cubicBezTo>
                <a:cubicBezTo>
                  <a:pt x="320" y="125"/>
                  <a:pt x="319" y="127"/>
                  <a:pt x="320" y="126"/>
                </a:cubicBezTo>
                <a:cubicBezTo>
                  <a:pt x="320" y="126"/>
                  <a:pt x="320" y="126"/>
                  <a:pt x="320" y="126"/>
                </a:cubicBezTo>
                <a:cubicBezTo>
                  <a:pt x="320" y="126"/>
                  <a:pt x="320" y="128"/>
                  <a:pt x="321" y="126"/>
                </a:cubicBezTo>
                <a:cubicBezTo>
                  <a:pt x="322" y="125"/>
                  <a:pt x="323" y="127"/>
                  <a:pt x="323" y="126"/>
                </a:cubicBezTo>
                <a:cubicBezTo>
                  <a:pt x="324" y="125"/>
                  <a:pt x="325" y="123"/>
                  <a:pt x="326" y="121"/>
                </a:cubicBezTo>
                <a:cubicBezTo>
                  <a:pt x="328" y="119"/>
                  <a:pt x="331" y="110"/>
                  <a:pt x="331" y="105"/>
                </a:cubicBezTo>
                <a:cubicBezTo>
                  <a:pt x="331" y="100"/>
                  <a:pt x="332" y="93"/>
                  <a:pt x="331" y="88"/>
                </a:cubicBezTo>
                <a:cubicBezTo>
                  <a:pt x="330" y="82"/>
                  <a:pt x="330" y="74"/>
                  <a:pt x="324" y="67"/>
                </a:cubicBezTo>
                <a:cubicBezTo>
                  <a:pt x="319" y="61"/>
                  <a:pt x="315" y="59"/>
                  <a:pt x="313" y="58"/>
                </a:cubicBezTo>
                <a:cubicBezTo>
                  <a:pt x="311" y="57"/>
                  <a:pt x="308" y="56"/>
                  <a:pt x="305" y="57"/>
                </a:cubicBezTo>
                <a:cubicBezTo>
                  <a:pt x="303" y="58"/>
                  <a:pt x="305" y="59"/>
                  <a:pt x="301" y="58"/>
                </a:cubicBezTo>
                <a:cubicBezTo>
                  <a:pt x="298" y="57"/>
                  <a:pt x="297" y="58"/>
                  <a:pt x="295" y="58"/>
                </a:cubicBezTo>
                <a:cubicBezTo>
                  <a:pt x="294" y="57"/>
                  <a:pt x="293" y="57"/>
                  <a:pt x="289" y="58"/>
                </a:cubicBezTo>
                <a:cubicBezTo>
                  <a:pt x="286" y="61"/>
                  <a:pt x="283" y="63"/>
                  <a:pt x="280" y="65"/>
                </a:cubicBezTo>
                <a:cubicBezTo>
                  <a:pt x="278" y="67"/>
                  <a:pt x="274" y="69"/>
                  <a:pt x="271" y="77"/>
                </a:cubicBezTo>
                <a:cubicBezTo>
                  <a:pt x="271" y="79"/>
                  <a:pt x="269" y="85"/>
                  <a:pt x="268" y="90"/>
                </a:cubicBezTo>
                <a:cubicBezTo>
                  <a:pt x="268" y="95"/>
                  <a:pt x="267" y="102"/>
                  <a:pt x="268" y="104"/>
                </a:cubicBezTo>
                <a:cubicBezTo>
                  <a:pt x="268" y="106"/>
                  <a:pt x="268" y="107"/>
                  <a:pt x="268" y="107"/>
                </a:cubicBezTo>
                <a:cubicBezTo>
                  <a:pt x="268" y="107"/>
                  <a:pt x="269" y="105"/>
                  <a:pt x="270" y="107"/>
                </a:cubicBezTo>
                <a:cubicBezTo>
                  <a:pt x="270" y="109"/>
                  <a:pt x="271" y="115"/>
                  <a:pt x="276" y="118"/>
                </a:cubicBezTo>
                <a:cubicBezTo>
                  <a:pt x="278" y="121"/>
                  <a:pt x="278" y="118"/>
                  <a:pt x="279" y="119"/>
                </a:cubicBezTo>
                <a:cubicBezTo>
                  <a:pt x="280" y="119"/>
                  <a:pt x="280" y="120"/>
                  <a:pt x="280" y="121"/>
                </a:cubicBezTo>
                <a:cubicBezTo>
                  <a:pt x="281" y="121"/>
                  <a:pt x="280" y="122"/>
                  <a:pt x="280" y="123"/>
                </a:cubicBezTo>
                <a:cubicBezTo>
                  <a:pt x="280" y="123"/>
                  <a:pt x="280" y="131"/>
                  <a:pt x="279" y="132"/>
                </a:cubicBezTo>
                <a:cubicBezTo>
                  <a:pt x="279" y="134"/>
                  <a:pt x="279" y="134"/>
                  <a:pt x="278" y="134"/>
                </a:cubicBezTo>
                <a:cubicBezTo>
                  <a:pt x="277" y="133"/>
                  <a:pt x="273" y="134"/>
                  <a:pt x="273" y="134"/>
                </a:cubicBezTo>
                <a:cubicBezTo>
                  <a:pt x="271" y="134"/>
                  <a:pt x="270" y="135"/>
                  <a:pt x="268" y="136"/>
                </a:cubicBezTo>
                <a:cubicBezTo>
                  <a:pt x="268" y="138"/>
                  <a:pt x="266" y="140"/>
                  <a:pt x="265" y="141"/>
                </a:cubicBezTo>
                <a:cubicBezTo>
                  <a:pt x="263" y="143"/>
                  <a:pt x="262" y="145"/>
                  <a:pt x="260" y="145"/>
                </a:cubicBezTo>
                <a:cubicBezTo>
                  <a:pt x="259" y="146"/>
                  <a:pt x="259" y="147"/>
                  <a:pt x="258" y="148"/>
                </a:cubicBezTo>
                <a:cubicBezTo>
                  <a:pt x="257" y="149"/>
                  <a:pt x="257" y="150"/>
                  <a:pt x="256" y="150"/>
                </a:cubicBezTo>
                <a:cubicBezTo>
                  <a:pt x="255" y="151"/>
                  <a:pt x="251" y="153"/>
                  <a:pt x="249" y="153"/>
                </a:cubicBezTo>
                <a:cubicBezTo>
                  <a:pt x="247" y="154"/>
                  <a:pt x="246" y="155"/>
                  <a:pt x="244" y="156"/>
                </a:cubicBezTo>
                <a:cubicBezTo>
                  <a:pt x="242" y="156"/>
                  <a:pt x="240" y="159"/>
                  <a:pt x="239" y="160"/>
                </a:cubicBezTo>
                <a:cubicBezTo>
                  <a:pt x="237" y="160"/>
                  <a:pt x="236" y="162"/>
                  <a:pt x="234" y="163"/>
                </a:cubicBezTo>
                <a:cubicBezTo>
                  <a:pt x="231" y="165"/>
                  <a:pt x="230" y="166"/>
                  <a:pt x="230" y="168"/>
                </a:cubicBezTo>
                <a:cubicBezTo>
                  <a:pt x="230" y="169"/>
                  <a:pt x="231" y="170"/>
                  <a:pt x="231" y="171"/>
                </a:cubicBezTo>
                <a:cubicBezTo>
                  <a:pt x="231" y="172"/>
                  <a:pt x="230" y="177"/>
                  <a:pt x="230" y="178"/>
                </a:cubicBezTo>
                <a:cubicBezTo>
                  <a:pt x="230" y="179"/>
                  <a:pt x="230" y="179"/>
                  <a:pt x="228" y="178"/>
                </a:cubicBezTo>
                <a:cubicBezTo>
                  <a:pt x="227" y="178"/>
                  <a:pt x="225" y="177"/>
                  <a:pt x="224" y="177"/>
                </a:cubicBezTo>
                <a:cubicBezTo>
                  <a:pt x="223" y="176"/>
                  <a:pt x="221" y="175"/>
                  <a:pt x="219" y="174"/>
                </a:cubicBezTo>
                <a:cubicBezTo>
                  <a:pt x="217" y="174"/>
                  <a:pt x="212" y="171"/>
                  <a:pt x="210" y="171"/>
                </a:cubicBezTo>
                <a:cubicBezTo>
                  <a:pt x="209" y="170"/>
                  <a:pt x="209" y="170"/>
                  <a:pt x="209" y="169"/>
                </a:cubicBezTo>
                <a:cubicBezTo>
                  <a:pt x="209" y="167"/>
                  <a:pt x="210" y="162"/>
                  <a:pt x="207" y="158"/>
                </a:cubicBezTo>
                <a:cubicBezTo>
                  <a:pt x="206" y="157"/>
                  <a:pt x="206" y="157"/>
                  <a:pt x="207" y="156"/>
                </a:cubicBezTo>
                <a:cubicBezTo>
                  <a:pt x="207" y="155"/>
                  <a:pt x="208" y="153"/>
                  <a:pt x="208" y="152"/>
                </a:cubicBezTo>
                <a:cubicBezTo>
                  <a:pt x="208" y="151"/>
                  <a:pt x="208" y="151"/>
                  <a:pt x="209" y="150"/>
                </a:cubicBezTo>
                <a:cubicBezTo>
                  <a:pt x="210" y="149"/>
                  <a:pt x="213" y="146"/>
                  <a:pt x="214" y="143"/>
                </a:cubicBezTo>
                <a:cubicBezTo>
                  <a:pt x="214" y="142"/>
                  <a:pt x="214" y="142"/>
                  <a:pt x="215" y="142"/>
                </a:cubicBezTo>
                <a:cubicBezTo>
                  <a:pt x="215" y="146"/>
                  <a:pt x="217" y="145"/>
                  <a:pt x="218" y="143"/>
                </a:cubicBezTo>
                <a:cubicBezTo>
                  <a:pt x="218" y="142"/>
                  <a:pt x="218" y="142"/>
                  <a:pt x="218" y="141"/>
                </a:cubicBezTo>
                <a:cubicBezTo>
                  <a:pt x="219" y="140"/>
                  <a:pt x="220" y="135"/>
                  <a:pt x="221" y="133"/>
                </a:cubicBezTo>
                <a:cubicBezTo>
                  <a:pt x="221" y="131"/>
                  <a:pt x="221" y="131"/>
                  <a:pt x="222" y="128"/>
                </a:cubicBezTo>
                <a:cubicBezTo>
                  <a:pt x="222" y="125"/>
                  <a:pt x="222" y="125"/>
                  <a:pt x="222" y="124"/>
                </a:cubicBezTo>
                <a:cubicBezTo>
                  <a:pt x="221" y="124"/>
                  <a:pt x="221" y="124"/>
                  <a:pt x="221" y="123"/>
                </a:cubicBezTo>
                <a:cubicBezTo>
                  <a:pt x="221" y="122"/>
                  <a:pt x="221" y="117"/>
                  <a:pt x="221" y="116"/>
                </a:cubicBezTo>
                <a:cubicBezTo>
                  <a:pt x="221" y="115"/>
                  <a:pt x="220" y="114"/>
                  <a:pt x="220" y="113"/>
                </a:cubicBezTo>
                <a:cubicBezTo>
                  <a:pt x="220" y="111"/>
                  <a:pt x="220" y="108"/>
                  <a:pt x="219" y="106"/>
                </a:cubicBezTo>
                <a:cubicBezTo>
                  <a:pt x="218" y="104"/>
                  <a:pt x="218" y="103"/>
                  <a:pt x="217" y="101"/>
                </a:cubicBezTo>
                <a:cubicBezTo>
                  <a:pt x="216" y="100"/>
                  <a:pt x="216" y="97"/>
                  <a:pt x="211" y="93"/>
                </a:cubicBezTo>
                <a:cubicBezTo>
                  <a:pt x="206" y="91"/>
                  <a:pt x="202" y="88"/>
                  <a:pt x="200" y="88"/>
                </a:cubicBezTo>
                <a:cubicBezTo>
                  <a:pt x="197" y="88"/>
                  <a:pt x="197" y="89"/>
                  <a:pt x="195" y="88"/>
                </a:cubicBezTo>
                <a:cubicBezTo>
                  <a:pt x="193" y="88"/>
                  <a:pt x="188" y="88"/>
                  <a:pt x="186" y="89"/>
                </a:cubicBezTo>
                <a:cubicBezTo>
                  <a:pt x="184" y="90"/>
                  <a:pt x="183" y="91"/>
                  <a:pt x="181" y="91"/>
                </a:cubicBezTo>
                <a:cubicBezTo>
                  <a:pt x="179" y="92"/>
                  <a:pt x="178" y="93"/>
                  <a:pt x="177" y="94"/>
                </a:cubicBezTo>
                <a:cubicBezTo>
                  <a:pt x="176" y="96"/>
                  <a:pt x="173" y="97"/>
                  <a:pt x="172" y="100"/>
                </a:cubicBezTo>
                <a:cubicBezTo>
                  <a:pt x="170" y="103"/>
                  <a:pt x="169" y="106"/>
                  <a:pt x="168" y="108"/>
                </a:cubicBezTo>
                <a:cubicBezTo>
                  <a:pt x="168" y="109"/>
                  <a:pt x="168" y="113"/>
                  <a:pt x="168" y="114"/>
                </a:cubicBezTo>
                <a:cubicBezTo>
                  <a:pt x="168" y="115"/>
                  <a:pt x="167" y="118"/>
                  <a:pt x="168" y="119"/>
                </a:cubicBezTo>
                <a:cubicBezTo>
                  <a:pt x="168" y="121"/>
                  <a:pt x="166" y="120"/>
                  <a:pt x="166" y="124"/>
                </a:cubicBezTo>
                <a:cubicBezTo>
                  <a:pt x="166" y="126"/>
                  <a:pt x="166" y="128"/>
                  <a:pt x="166" y="129"/>
                </a:cubicBezTo>
                <a:cubicBezTo>
                  <a:pt x="167" y="129"/>
                  <a:pt x="168" y="135"/>
                  <a:pt x="168" y="135"/>
                </a:cubicBezTo>
                <a:cubicBezTo>
                  <a:pt x="168" y="136"/>
                  <a:pt x="169" y="137"/>
                  <a:pt x="169" y="138"/>
                </a:cubicBezTo>
                <a:cubicBezTo>
                  <a:pt x="168" y="140"/>
                  <a:pt x="171" y="144"/>
                  <a:pt x="172" y="140"/>
                </a:cubicBezTo>
                <a:cubicBezTo>
                  <a:pt x="173" y="139"/>
                  <a:pt x="173" y="144"/>
                  <a:pt x="174" y="145"/>
                </a:cubicBezTo>
                <a:cubicBezTo>
                  <a:pt x="175" y="146"/>
                  <a:pt x="175" y="147"/>
                  <a:pt x="175" y="148"/>
                </a:cubicBezTo>
                <a:cubicBezTo>
                  <a:pt x="175" y="150"/>
                  <a:pt x="175" y="150"/>
                  <a:pt x="174" y="151"/>
                </a:cubicBezTo>
                <a:cubicBezTo>
                  <a:pt x="173" y="151"/>
                  <a:pt x="171" y="153"/>
                  <a:pt x="169" y="154"/>
                </a:cubicBezTo>
                <a:cubicBezTo>
                  <a:pt x="168" y="155"/>
                  <a:pt x="164" y="160"/>
                  <a:pt x="163" y="161"/>
                </a:cubicBezTo>
                <a:cubicBezTo>
                  <a:pt x="163" y="161"/>
                  <a:pt x="163" y="162"/>
                  <a:pt x="162" y="161"/>
                </a:cubicBezTo>
                <a:cubicBezTo>
                  <a:pt x="160" y="161"/>
                  <a:pt x="160" y="161"/>
                  <a:pt x="159" y="161"/>
                </a:cubicBezTo>
                <a:cubicBezTo>
                  <a:pt x="158" y="161"/>
                  <a:pt x="158" y="161"/>
                  <a:pt x="157" y="161"/>
                </a:cubicBezTo>
                <a:cubicBezTo>
                  <a:pt x="155" y="161"/>
                  <a:pt x="154" y="162"/>
                  <a:pt x="152" y="162"/>
                </a:cubicBezTo>
                <a:cubicBezTo>
                  <a:pt x="150" y="162"/>
                  <a:pt x="150" y="162"/>
                  <a:pt x="150" y="161"/>
                </a:cubicBezTo>
                <a:cubicBezTo>
                  <a:pt x="150" y="159"/>
                  <a:pt x="149" y="153"/>
                  <a:pt x="149" y="148"/>
                </a:cubicBezTo>
                <a:cubicBezTo>
                  <a:pt x="148" y="142"/>
                  <a:pt x="147" y="127"/>
                  <a:pt x="146" y="125"/>
                </a:cubicBezTo>
                <a:cubicBezTo>
                  <a:pt x="146" y="123"/>
                  <a:pt x="145" y="121"/>
                  <a:pt x="145" y="119"/>
                </a:cubicBezTo>
                <a:cubicBezTo>
                  <a:pt x="144" y="118"/>
                  <a:pt x="143" y="117"/>
                  <a:pt x="143" y="116"/>
                </a:cubicBezTo>
                <a:cubicBezTo>
                  <a:pt x="143" y="115"/>
                  <a:pt x="141" y="111"/>
                  <a:pt x="139" y="110"/>
                </a:cubicBezTo>
                <a:cubicBezTo>
                  <a:pt x="138" y="109"/>
                  <a:pt x="137" y="108"/>
                  <a:pt x="134" y="106"/>
                </a:cubicBezTo>
                <a:cubicBezTo>
                  <a:pt x="131" y="104"/>
                  <a:pt x="120" y="99"/>
                  <a:pt x="117" y="98"/>
                </a:cubicBezTo>
                <a:cubicBezTo>
                  <a:pt x="113" y="97"/>
                  <a:pt x="108" y="94"/>
                  <a:pt x="107" y="93"/>
                </a:cubicBezTo>
                <a:cubicBezTo>
                  <a:pt x="105" y="93"/>
                  <a:pt x="105" y="93"/>
                  <a:pt x="105" y="91"/>
                </a:cubicBezTo>
                <a:cubicBezTo>
                  <a:pt x="105" y="90"/>
                  <a:pt x="105" y="88"/>
                  <a:pt x="104" y="86"/>
                </a:cubicBezTo>
                <a:cubicBezTo>
                  <a:pt x="104" y="83"/>
                  <a:pt x="103" y="84"/>
                  <a:pt x="104" y="83"/>
                </a:cubicBezTo>
                <a:cubicBezTo>
                  <a:pt x="104" y="81"/>
                  <a:pt x="105" y="74"/>
                  <a:pt x="105" y="72"/>
                </a:cubicBezTo>
                <a:cubicBezTo>
                  <a:pt x="106" y="70"/>
                  <a:pt x="106" y="70"/>
                  <a:pt x="107" y="69"/>
                </a:cubicBezTo>
                <a:cubicBezTo>
                  <a:pt x="108" y="68"/>
                  <a:pt x="110" y="66"/>
                  <a:pt x="111" y="60"/>
                </a:cubicBezTo>
                <a:cubicBezTo>
                  <a:pt x="112" y="59"/>
                  <a:pt x="112" y="59"/>
                  <a:pt x="113" y="58"/>
                </a:cubicBezTo>
                <a:cubicBezTo>
                  <a:pt x="114" y="58"/>
                  <a:pt x="116" y="56"/>
                  <a:pt x="116" y="54"/>
                </a:cubicBezTo>
                <a:cubicBezTo>
                  <a:pt x="117" y="53"/>
                  <a:pt x="117" y="52"/>
                  <a:pt x="118" y="51"/>
                </a:cubicBezTo>
                <a:cubicBezTo>
                  <a:pt x="118" y="51"/>
                  <a:pt x="119" y="49"/>
                  <a:pt x="119" y="48"/>
                </a:cubicBezTo>
                <a:cubicBezTo>
                  <a:pt x="119" y="47"/>
                  <a:pt x="119" y="47"/>
                  <a:pt x="120" y="47"/>
                </a:cubicBezTo>
                <a:cubicBezTo>
                  <a:pt x="120" y="47"/>
                  <a:pt x="120" y="47"/>
                  <a:pt x="121" y="48"/>
                </a:cubicBezTo>
                <a:cubicBezTo>
                  <a:pt x="122" y="49"/>
                  <a:pt x="121" y="47"/>
                  <a:pt x="120" y="46"/>
                </a:cubicBezTo>
                <a:cubicBezTo>
                  <a:pt x="120" y="45"/>
                  <a:pt x="121" y="44"/>
                  <a:pt x="121" y="45"/>
                </a:cubicBezTo>
                <a:cubicBezTo>
                  <a:pt x="122" y="45"/>
                  <a:pt x="123" y="46"/>
                  <a:pt x="123" y="46"/>
                </a:cubicBezTo>
                <a:cubicBezTo>
                  <a:pt x="124" y="46"/>
                  <a:pt x="124" y="46"/>
                  <a:pt x="123" y="45"/>
                </a:cubicBezTo>
                <a:cubicBezTo>
                  <a:pt x="123" y="44"/>
                  <a:pt x="124" y="43"/>
                  <a:pt x="123" y="41"/>
                </a:cubicBezTo>
                <a:cubicBezTo>
                  <a:pt x="123" y="41"/>
                  <a:pt x="124" y="39"/>
                  <a:pt x="124" y="37"/>
                </a:cubicBezTo>
                <a:cubicBezTo>
                  <a:pt x="124" y="36"/>
                  <a:pt x="124" y="36"/>
                  <a:pt x="124" y="36"/>
                </a:cubicBezTo>
                <a:cubicBezTo>
                  <a:pt x="125" y="36"/>
                  <a:pt x="126" y="36"/>
                  <a:pt x="126" y="36"/>
                </a:cubicBezTo>
                <a:cubicBezTo>
                  <a:pt x="127" y="36"/>
                  <a:pt x="128" y="37"/>
                  <a:pt x="127" y="37"/>
                </a:cubicBezTo>
                <a:cubicBezTo>
                  <a:pt x="127" y="36"/>
                  <a:pt x="126" y="36"/>
                  <a:pt x="125" y="35"/>
                </a:cubicBezTo>
                <a:cubicBezTo>
                  <a:pt x="125" y="34"/>
                  <a:pt x="124" y="32"/>
                  <a:pt x="124" y="31"/>
                </a:cubicBezTo>
                <a:cubicBezTo>
                  <a:pt x="124" y="30"/>
                  <a:pt x="124" y="28"/>
                  <a:pt x="126" y="30"/>
                </a:cubicBezTo>
                <a:cubicBezTo>
                  <a:pt x="127" y="31"/>
                  <a:pt x="127" y="32"/>
                  <a:pt x="128" y="32"/>
                </a:cubicBezTo>
                <a:cubicBezTo>
                  <a:pt x="128" y="31"/>
                  <a:pt x="123" y="28"/>
                  <a:pt x="125" y="28"/>
                </a:cubicBezTo>
                <a:cubicBezTo>
                  <a:pt x="127" y="28"/>
                  <a:pt x="126" y="27"/>
                  <a:pt x="125" y="26"/>
                </a:cubicBezTo>
                <a:cubicBezTo>
                  <a:pt x="124" y="25"/>
                  <a:pt x="123" y="23"/>
                  <a:pt x="122" y="22"/>
                </a:cubicBezTo>
                <a:cubicBezTo>
                  <a:pt x="121" y="21"/>
                  <a:pt x="122" y="20"/>
                  <a:pt x="121" y="20"/>
                </a:cubicBezTo>
                <a:cubicBezTo>
                  <a:pt x="120" y="19"/>
                  <a:pt x="120" y="17"/>
                  <a:pt x="119" y="16"/>
                </a:cubicBezTo>
                <a:cubicBezTo>
                  <a:pt x="118" y="15"/>
                  <a:pt x="120" y="15"/>
                  <a:pt x="118" y="13"/>
                </a:cubicBezTo>
                <a:cubicBezTo>
                  <a:pt x="117" y="11"/>
                  <a:pt x="116" y="11"/>
                  <a:pt x="115" y="10"/>
                </a:cubicBezTo>
                <a:cubicBezTo>
                  <a:pt x="115" y="10"/>
                  <a:pt x="115" y="9"/>
                  <a:pt x="115" y="9"/>
                </a:cubicBezTo>
                <a:cubicBezTo>
                  <a:pt x="114" y="8"/>
                  <a:pt x="114" y="7"/>
                  <a:pt x="113" y="7"/>
                </a:cubicBezTo>
                <a:cubicBezTo>
                  <a:pt x="112" y="6"/>
                  <a:pt x="113" y="5"/>
                  <a:pt x="112" y="5"/>
                </a:cubicBezTo>
                <a:cubicBezTo>
                  <a:pt x="110" y="6"/>
                  <a:pt x="110" y="6"/>
                  <a:pt x="109" y="6"/>
                </a:cubicBezTo>
                <a:cubicBezTo>
                  <a:pt x="108" y="6"/>
                  <a:pt x="107" y="6"/>
                  <a:pt x="108" y="5"/>
                </a:cubicBezTo>
                <a:cubicBezTo>
                  <a:pt x="108" y="5"/>
                  <a:pt x="109" y="4"/>
                  <a:pt x="108" y="4"/>
                </a:cubicBezTo>
                <a:cubicBezTo>
                  <a:pt x="108" y="4"/>
                  <a:pt x="105" y="6"/>
                  <a:pt x="106" y="5"/>
                </a:cubicBezTo>
                <a:cubicBezTo>
                  <a:pt x="106" y="4"/>
                  <a:pt x="106" y="4"/>
                  <a:pt x="107" y="3"/>
                </a:cubicBezTo>
                <a:cubicBezTo>
                  <a:pt x="107" y="3"/>
                  <a:pt x="109" y="3"/>
                  <a:pt x="108" y="2"/>
                </a:cubicBezTo>
                <a:cubicBezTo>
                  <a:pt x="106" y="1"/>
                  <a:pt x="106" y="6"/>
                  <a:pt x="104" y="4"/>
                </a:cubicBezTo>
                <a:cubicBezTo>
                  <a:pt x="103" y="4"/>
                  <a:pt x="105" y="3"/>
                  <a:pt x="104" y="3"/>
                </a:cubicBezTo>
                <a:cubicBezTo>
                  <a:pt x="103" y="3"/>
                  <a:pt x="104" y="2"/>
                  <a:pt x="103" y="2"/>
                </a:cubicBezTo>
                <a:cubicBezTo>
                  <a:pt x="102" y="2"/>
                  <a:pt x="102" y="3"/>
                  <a:pt x="101" y="3"/>
                </a:cubicBezTo>
                <a:cubicBezTo>
                  <a:pt x="101" y="4"/>
                  <a:pt x="100" y="4"/>
                  <a:pt x="100" y="3"/>
                </a:cubicBezTo>
                <a:cubicBezTo>
                  <a:pt x="99" y="2"/>
                  <a:pt x="98" y="2"/>
                  <a:pt x="99" y="2"/>
                </a:cubicBezTo>
                <a:cubicBezTo>
                  <a:pt x="100" y="3"/>
                  <a:pt x="100" y="4"/>
                  <a:pt x="99" y="4"/>
                </a:cubicBezTo>
                <a:cubicBezTo>
                  <a:pt x="98" y="4"/>
                  <a:pt x="98" y="5"/>
                  <a:pt x="97" y="5"/>
                </a:cubicBezTo>
                <a:cubicBezTo>
                  <a:pt x="96" y="5"/>
                  <a:pt x="96" y="4"/>
                  <a:pt x="95" y="4"/>
                </a:cubicBezTo>
                <a:cubicBezTo>
                  <a:pt x="95" y="4"/>
                  <a:pt x="94" y="4"/>
                  <a:pt x="94" y="4"/>
                </a:cubicBezTo>
                <a:cubicBezTo>
                  <a:pt x="94" y="3"/>
                  <a:pt x="93" y="3"/>
                  <a:pt x="93" y="4"/>
                </a:cubicBezTo>
                <a:cubicBezTo>
                  <a:pt x="93" y="4"/>
                  <a:pt x="92" y="4"/>
                  <a:pt x="92" y="3"/>
                </a:cubicBezTo>
                <a:cubicBezTo>
                  <a:pt x="91" y="2"/>
                  <a:pt x="90" y="2"/>
                  <a:pt x="91" y="3"/>
                </a:cubicBezTo>
                <a:cubicBezTo>
                  <a:pt x="91" y="4"/>
                  <a:pt x="91" y="5"/>
                  <a:pt x="90" y="5"/>
                </a:cubicBezTo>
                <a:cubicBezTo>
                  <a:pt x="89" y="4"/>
                  <a:pt x="89" y="5"/>
                  <a:pt x="88" y="4"/>
                </a:cubicBezTo>
                <a:cubicBezTo>
                  <a:pt x="88" y="2"/>
                  <a:pt x="86" y="0"/>
                  <a:pt x="84" y="1"/>
                </a:cubicBezTo>
                <a:cubicBezTo>
                  <a:pt x="84" y="2"/>
                  <a:pt x="79" y="1"/>
                  <a:pt x="79" y="2"/>
                </a:cubicBezTo>
                <a:cubicBezTo>
                  <a:pt x="79" y="2"/>
                  <a:pt x="80" y="2"/>
                  <a:pt x="83" y="3"/>
                </a:cubicBezTo>
                <a:cubicBezTo>
                  <a:pt x="84" y="3"/>
                  <a:pt x="84" y="4"/>
                  <a:pt x="84" y="4"/>
                </a:cubicBezTo>
                <a:cubicBezTo>
                  <a:pt x="83" y="4"/>
                  <a:pt x="82" y="4"/>
                  <a:pt x="82" y="4"/>
                </a:cubicBezTo>
                <a:cubicBezTo>
                  <a:pt x="80" y="4"/>
                  <a:pt x="81" y="5"/>
                  <a:pt x="81" y="5"/>
                </a:cubicBezTo>
                <a:cubicBezTo>
                  <a:pt x="80" y="5"/>
                  <a:pt x="81" y="6"/>
                  <a:pt x="78" y="6"/>
                </a:cubicBezTo>
                <a:cubicBezTo>
                  <a:pt x="75" y="7"/>
                  <a:pt x="74" y="7"/>
                  <a:pt x="73" y="7"/>
                </a:cubicBezTo>
                <a:cubicBezTo>
                  <a:pt x="72" y="8"/>
                  <a:pt x="74" y="7"/>
                  <a:pt x="74" y="9"/>
                </a:cubicBezTo>
                <a:cubicBezTo>
                  <a:pt x="73" y="10"/>
                  <a:pt x="73" y="10"/>
                  <a:pt x="73" y="10"/>
                </a:cubicBezTo>
                <a:cubicBezTo>
                  <a:pt x="71" y="10"/>
                  <a:pt x="70" y="11"/>
                  <a:pt x="70" y="12"/>
                </a:cubicBezTo>
                <a:cubicBezTo>
                  <a:pt x="70" y="12"/>
                  <a:pt x="72" y="12"/>
                  <a:pt x="71" y="13"/>
                </a:cubicBezTo>
                <a:cubicBezTo>
                  <a:pt x="70" y="14"/>
                  <a:pt x="70" y="15"/>
                  <a:pt x="69" y="15"/>
                </a:cubicBezTo>
                <a:cubicBezTo>
                  <a:pt x="68" y="16"/>
                  <a:pt x="67" y="17"/>
                  <a:pt x="68" y="17"/>
                </a:cubicBezTo>
                <a:cubicBezTo>
                  <a:pt x="68" y="17"/>
                  <a:pt x="69" y="17"/>
                  <a:pt x="68" y="18"/>
                </a:cubicBezTo>
                <a:cubicBezTo>
                  <a:pt x="68" y="19"/>
                  <a:pt x="68" y="19"/>
                  <a:pt x="67" y="20"/>
                </a:cubicBezTo>
                <a:cubicBezTo>
                  <a:pt x="67" y="20"/>
                  <a:pt x="66" y="21"/>
                  <a:pt x="66" y="22"/>
                </a:cubicBezTo>
                <a:cubicBezTo>
                  <a:pt x="64" y="24"/>
                  <a:pt x="67" y="22"/>
                  <a:pt x="67" y="23"/>
                </a:cubicBezTo>
                <a:cubicBezTo>
                  <a:pt x="66" y="24"/>
                  <a:pt x="67" y="25"/>
                  <a:pt x="66" y="25"/>
                </a:cubicBezTo>
                <a:cubicBezTo>
                  <a:pt x="65" y="25"/>
                  <a:pt x="64" y="25"/>
                  <a:pt x="65" y="26"/>
                </a:cubicBezTo>
                <a:cubicBezTo>
                  <a:pt x="65" y="26"/>
                  <a:pt x="65" y="27"/>
                  <a:pt x="65" y="27"/>
                </a:cubicBezTo>
                <a:cubicBezTo>
                  <a:pt x="66" y="27"/>
                  <a:pt x="66" y="28"/>
                  <a:pt x="65" y="28"/>
                </a:cubicBezTo>
                <a:cubicBezTo>
                  <a:pt x="64" y="29"/>
                  <a:pt x="65" y="30"/>
                  <a:pt x="64" y="30"/>
                </a:cubicBezTo>
                <a:cubicBezTo>
                  <a:pt x="63" y="30"/>
                  <a:pt x="65" y="30"/>
                  <a:pt x="65" y="32"/>
                </a:cubicBezTo>
                <a:cubicBezTo>
                  <a:pt x="64" y="34"/>
                  <a:pt x="63" y="35"/>
                  <a:pt x="64" y="35"/>
                </a:cubicBezTo>
                <a:cubicBezTo>
                  <a:pt x="65" y="35"/>
                  <a:pt x="64" y="36"/>
                  <a:pt x="65" y="36"/>
                </a:cubicBezTo>
                <a:cubicBezTo>
                  <a:pt x="66" y="36"/>
                  <a:pt x="66" y="36"/>
                  <a:pt x="66" y="37"/>
                </a:cubicBezTo>
                <a:cubicBezTo>
                  <a:pt x="66" y="37"/>
                  <a:pt x="65" y="40"/>
                  <a:pt x="65" y="41"/>
                </a:cubicBezTo>
                <a:cubicBezTo>
                  <a:pt x="66" y="43"/>
                  <a:pt x="67" y="51"/>
                  <a:pt x="71" y="52"/>
                </a:cubicBezTo>
                <a:cubicBezTo>
                  <a:pt x="73" y="52"/>
                  <a:pt x="73" y="52"/>
                  <a:pt x="73" y="54"/>
                </a:cubicBezTo>
                <a:cubicBezTo>
                  <a:pt x="73" y="56"/>
                  <a:pt x="73" y="59"/>
                  <a:pt x="73" y="60"/>
                </a:cubicBezTo>
                <a:cubicBezTo>
                  <a:pt x="73" y="61"/>
                  <a:pt x="73" y="62"/>
                  <a:pt x="73" y="65"/>
                </a:cubicBezTo>
                <a:cubicBezTo>
                  <a:pt x="73" y="68"/>
                  <a:pt x="73" y="74"/>
                  <a:pt x="73" y="76"/>
                </a:cubicBezTo>
                <a:cubicBezTo>
                  <a:pt x="72" y="79"/>
                  <a:pt x="72" y="77"/>
                  <a:pt x="71" y="78"/>
                </a:cubicBezTo>
                <a:cubicBezTo>
                  <a:pt x="69" y="80"/>
                  <a:pt x="68" y="83"/>
                  <a:pt x="66" y="85"/>
                </a:cubicBezTo>
                <a:cubicBezTo>
                  <a:pt x="63" y="88"/>
                  <a:pt x="64" y="88"/>
                  <a:pt x="63" y="89"/>
                </a:cubicBezTo>
                <a:cubicBezTo>
                  <a:pt x="61" y="89"/>
                  <a:pt x="58" y="91"/>
                  <a:pt x="57" y="92"/>
                </a:cubicBezTo>
                <a:cubicBezTo>
                  <a:pt x="56" y="92"/>
                  <a:pt x="48" y="95"/>
                  <a:pt x="44" y="96"/>
                </a:cubicBezTo>
                <a:cubicBezTo>
                  <a:pt x="41" y="98"/>
                  <a:pt x="24" y="105"/>
                  <a:pt x="21" y="109"/>
                </a:cubicBezTo>
                <a:cubicBezTo>
                  <a:pt x="18" y="111"/>
                  <a:pt x="17" y="113"/>
                  <a:pt x="16" y="114"/>
                </a:cubicBezTo>
                <a:cubicBezTo>
                  <a:pt x="15" y="115"/>
                  <a:pt x="15" y="117"/>
                  <a:pt x="14" y="119"/>
                </a:cubicBezTo>
                <a:cubicBezTo>
                  <a:pt x="13" y="120"/>
                  <a:pt x="11" y="123"/>
                  <a:pt x="10" y="128"/>
                </a:cubicBezTo>
                <a:cubicBezTo>
                  <a:pt x="10" y="133"/>
                  <a:pt x="8" y="147"/>
                  <a:pt x="8" y="150"/>
                </a:cubicBezTo>
                <a:cubicBezTo>
                  <a:pt x="8" y="150"/>
                  <a:pt x="8" y="222"/>
                  <a:pt x="7" y="224"/>
                </a:cubicBezTo>
                <a:cubicBezTo>
                  <a:pt x="6" y="226"/>
                  <a:pt x="7" y="246"/>
                  <a:pt x="7" y="250"/>
                </a:cubicBezTo>
                <a:cubicBezTo>
                  <a:pt x="7" y="255"/>
                  <a:pt x="8" y="270"/>
                  <a:pt x="8" y="273"/>
                </a:cubicBezTo>
                <a:cubicBezTo>
                  <a:pt x="8" y="277"/>
                  <a:pt x="9" y="286"/>
                  <a:pt x="10" y="291"/>
                </a:cubicBezTo>
                <a:cubicBezTo>
                  <a:pt x="12" y="322"/>
                  <a:pt x="12" y="322"/>
                  <a:pt x="12" y="322"/>
                </a:cubicBezTo>
                <a:cubicBezTo>
                  <a:pt x="11" y="323"/>
                  <a:pt x="13" y="320"/>
                  <a:pt x="15" y="322"/>
                </a:cubicBezTo>
                <a:cubicBezTo>
                  <a:pt x="17" y="324"/>
                  <a:pt x="12" y="332"/>
                  <a:pt x="12" y="333"/>
                </a:cubicBezTo>
                <a:cubicBezTo>
                  <a:pt x="11" y="335"/>
                  <a:pt x="11" y="335"/>
                  <a:pt x="11" y="336"/>
                </a:cubicBezTo>
                <a:cubicBezTo>
                  <a:pt x="10" y="338"/>
                  <a:pt x="10" y="339"/>
                  <a:pt x="11" y="341"/>
                </a:cubicBezTo>
                <a:cubicBezTo>
                  <a:pt x="12" y="342"/>
                  <a:pt x="12" y="344"/>
                  <a:pt x="13" y="348"/>
                </a:cubicBezTo>
                <a:cubicBezTo>
                  <a:pt x="13" y="351"/>
                  <a:pt x="13" y="352"/>
                  <a:pt x="14" y="353"/>
                </a:cubicBezTo>
                <a:cubicBezTo>
                  <a:pt x="14" y="353"/>
                  <a:pt x="15" y="354"/>
                  <a:pt x="15" y="354"/>
                </a:cubicBezTo>
                <a:cubicBezTo>
                  <a:pt x="15" y="355"/>
                  <a:pt x="14" y="359"/>
                  <a:pt x="15" y="360"/>
                </a:cubicBezTo>
                <a:cubicBezTo>
                  <a:pt x="16" y="360"/>
                  <a:pt x="17" y="361"/>
                  <a:pt x="17" y="362"/>
                </a:cubicBezTo>
                <a:cubicBezTo>
                  <a:pt x="18" y="363"/>
                  <a:pt x="19" y="365"/>
                  <a:pt x="20" y="365"/>
                </a:cubicBezTo>
                <a:cubicBezTo>
                  <a:pt x="21" y="365"/>
                  <a:pt x="23" y="369"/>
                  <a:pt x="24" y="369"/>
                </a:cubicBezTo>
                <a:cubicBezTo>
                  <a:pt x="26" y="369"/>
                  <a:pt x="25" y="369"/>
                  <a:pt x="26" y="370"/>
                </a:cubicBezTo>
                <a:cubicBezTo>
                  <a:pt x="27" y="370"/>
                  <a:pt x="27" y="371"/>
                  <a:pt x="28" y="371"/>
                </a:cubicBezTo>
                <a:cubicBezTo>
                  <a:pt x="29" y="371"/>
                  <a:pt x="29" y="371"/>
                  <a:pt x="29" y="372"/>
                </a:cubicBezTo>
                <a:cubicBezTo>
                  <a:pt x="29" y="374"/>
                  <a:pt x="30" y="380"/>
                  <a:pt x="30" y="380"/>
                </a:cubicBezTo>
                <a:cubicBezTo>
                  <a:pt x="31" y="382"/>
                  <a:pt x="31" y="396"/>
                  <a:pt x="31" y="397"/>
                </a:cubicBezTo>
                <a:cubicBezTo>
                  <a:pt x="31" y="397"/>
                  <a:pt x="22" y="448"/>
                  <a:pt x="21" y="455"/>
                </a:cubicBezTo>
                <a:cubicBezTo>
                  <a:pt x="20" y="484"/>
                  <a:pt x="20" y="484"/>
                  <a:pt x="20" y="484"/>
                </a:cubicBezTo>
                <a:cubicBezTo>
                  <a:pt x="20" y="484"/>
                  <a:pt x="19" y="506"/>
                  <a:pt x="17" y="511"/>
                </a:cubicBezTo>
                <a:cubicBezTo>
                  <a:pt x="16" y="514"/>
                  <a:pt x="16" y="515"/>
                  <a:pt x="16" y="520"/>
                </a:cubicBezTo>
                <a:cubicBezTo>
                  <a:pt x="15" y="524"/>
                  <a:pt x="14" y="528"/>
                  <a:pt x="14" y="531"/>
                </a:cubicBezTo>
                <a:cubicBezTo>
                  <a:pt x="15" y="534"/>
                  <a:pt x="15" y="537"/>
                  <a:pt x="15" y="537"/>
                </a:cubicBezTo>
                <a:cubicBezTo>
                  <a:pt x="15" y="538"/>
                  <a:pt x="15" y="540"/>
                  <a:pt x="17" y="543"/>
                </a:cubicBezTo>
                <a:cubicBezTo>
                  <a:pt x="18" y="544"/>
                  <a:pt x="18" y="545"/>
                  <a:pt x="17" y="545"/>
                </a:cubicBezTo>
                <a:cubicBezTo>
                  <a:pt x="16" y="546"/>
                  <a:pt x="16" y="546"/>
                  <a:pt x="15" y="547"/>
                </a:cubicBezTo>
                <a:cubicBezTo>
                  <a:pt x="13" y="547"/>
                  <a:pt x="13" y="548"/>
                  <a:pt x="11" y="548"/>
                </a:cubicBezTo>
                <a:cubicBezTo>
                  <a:pt x="10" y="548"/>
                  <a:pt x="10" y="548"/>
                  <a:pt x="9" y="549"/>
                </a:cubicBezTo>
                <a:cubicBezTo>
                  <a:pt x="8" y="550"/>
                  <a:pt x="6" y="552"/>
                  <a:pt x="6" y="553"/>
                </a:cubicBezTo>
                <a:cubicBezTo>
                  <a:pt x="6" y="555"/>
                  <a:pt x="7" y="557"/>
                  <a:pt x="6" y="558"/>
                </a:cubicBezTo>
                <a:cubicBezTo>
                  <a:pt x="6" y="559"/>
                  <a:pt x="6" y="562"/>
                  <a:pt x="6" y="563"/>
                </a:cubicBezTo>
                <a:cubicBezTo>
                  <a:pt x="5" y="564"/>
                  <a:pt x="6" y="565"/>
                  <a:pt x="6" y="566"/>
                </a:cubicBezTo>
                <a:cubicBezTo>
                  <a:pt x="6" y="567"/>
                  <a:pt x="6" y="568"/>
                  <a:pt x="7" y="569"/>
                </a:cubicBezTo>
                <a:cubicBezTo>
                  <a:pt x="7" y="570"/>
                  <a:pt x="8" y="573"/>
                  <a:pt x="9" y="574"/>
                </a:cubicBezTo>
                <a:cubicBezTo>
                  <a:pt x="9" y="574"/>
                  <a:pt x="10" y="574"/>
                  <a:pt x="10" y="575"/>
                </a:cubicBezTo>
                <a:cubicBezTo>
                  <a:pt x="10" y="577"/>
                  <a:pt x="11" y="579"/>
                  <a:pt x="12" y="579"/>
                </a:cubicBezTo>
                <a:cubicBezTo>
                  <a:pt x="12" y="580"/>
                  <a:pt x="13" y="580"/>
                  <a:pt x="14" y="579"/>
                </a:cubicBezTo>
                <a:cubicBezTo>
                  <a:pt x="15" y="579"/>
                  <a:pt x="16" y="579"/>
                  <a:pt x="16" y="579"/>
                </a:cubicBezTo>
                <a:cubicBezTo>
                  <a:pt x="16" y="580"/>
                  <a:pt x="16" y="581"/>
                  <a:pt x="15" y="581"/>
                </a:cubicBezTo>
                <a:cubicBezTo>
                  <a:pt x="15" y="582"/>
                  <a:pt x="13" y="583"/>
                  <a:pt x="13" y="585"/>
                </a:cubicBezTo>
                <a:cubicBezTo>
                  <a:pt x="13" y="585"/>
                  <a:pt x="13" y="586"/>
                  <a:pt x="13" y="587"/>
                </a:cubicBezTo>
                <a:cubicBezTo>
                  <a:pt x="12" y="587"/>
                  <a:pt x="11" y="590"/>
                  <a:pt x="10" y="591"/>
                </a:cubicBezTo>
                <a:cubicBezTo>
                  <a:pt x="10" y="592"/>
                  <a:pt x="11" y="592"/>
                  <a:pt x="9" y="596"/>
                </a:cubicBezTo>
                <a:cubicBezTo>
                  <a:pt x="8" y="597"/>
                  <a:pt x="10" y="595"/>
                  <a:pt x="10" y="598"/>
                </a:cubicBezTo>
                <a:cubicBezTo>
                  <a:pt x="9" y="600"/>
                  <a:pt x="9" y="600"/>
                  <a:pt x="8" y="600"/>
                </a:cubicBezTo>
                <a:cubicBezTo>
                  <a:pt x="8" y="601"/>
                  <a:pt x="8" y="602"/>
                  <a:pt x="8" y="602"/>
                </a:cubicBezTo>
                <a:cubicBezTo>
                  <a:pt x="8" y="603"/>
                  <a:pt x="7" y="603"/>
                  <a:pt x="7" y="604"/>
                </a:cubicBezTo>
                <a:cubicBezTo>
                  <a:pt x="6" y="605"/>
                  <a:pt x="5" y="606"/>
                  <a:pt x="5" y="607"/>
                </a:cubicBezTo>
                <a:cubicBezTo>
                  <a:pt x="5" y="608"/>
                  <a:pt x="3" y="609"/>
                  <a:pt x="3" y="612"/>
                </a:cubicBezTo>
                <a:cubicBezTo>
                  <a:pt x="3" y="614"/>
                  <a:pt x="0" y="614"/>
                  <a:pt x="0" y="618"/>
                </a:cubicBezTo>
                <a:cubicBezTo>
                  <a:pt x="0" y="619"/>
                  <a:pt x="0" y="621"/>
                  <a:pt x="0" y="622"/>
                </a:cubicBezTo>
                <a:cubicBezTo>
                  <a:pt x="0" y="623"/>
                  <a:pt x="0" y="625"/>
                  <a:pt x="3" y="625"/>
                </a:cubicBezTo>
                <a:cubicBezTo>
                  <a:pt x="6" y="625"/>
                  <a:pt x="18" y="626"/>
                  <a:pt x="21" y="626"/>
                </a:cubicBezTo>
                <a:cubicBezTo>
                  <a:pt x="23" y="625"/>
                  <a:pt x="29" y="625"/>
                  <a:pt x="31" y="625"/>
                </a:cubicBezTo>
                <a:cubicBezTo>
                  <a:pt x="34" y="625"/>
                  <a:pt x="34" y="625"/>
                  <a:pt x="36" y="625"/>
                </a:cubicBezTo>
                <a:cubicBezTo>
                  <a:pt x="37" y="624"/>
                  <a:pt x="39" y="623"/>
                  <a:pt x="39" y="622"/>
                </a:cubicBezTo>
                <a:cubicBezTo>
                  <a:pt x="39" y="621"/>
                  <a:pt x="39" y="617"/>
                  <a:pt x="39" y="616"/>
                </a:cubicBezTo>
                <a:cubicBezTo>
                  <a:pt x="39" y="615"/>
                  <a:pt x="39" y="614"/>
                  <a:pt x="39" y="614"/>
                </a:cubicBezTo>
                <a:cubicBezTo>
                  <a:pt x="40" y="613"/>
                  <a:pt x="42" y="612"/>
                  <a:pt x="42" y="611"/>
                </a:cubicBezTo>
                <a:cubicBezTo>
                  <a:pt x="42" y="610"/>
                  <a:pt x="43" y="610"/>
                  <a:pt x="43" y="608"/>
                </a:cubicBezTo>
                <a:cubicBezTo>
                  <a:pt x="43" y="605"/>
                  <a:pt x="43" y="601"/>
                  <a:pt x="43" y="600"/>
                </a:cubicBezTo>
                <a:cubicBezTo>
                  <a:pt x="43" y="598"/>
                  <a:pt x="41" y="599"/>
                  <a:pt x="41" y="597"/>
                </a:cubicBezTo>
                <a:cubicBezTo>
                  <a:pt x="41" y="596"/>
                  <a:pt x="42" y="591"/>
                  <a:pt x="42" y="589"/>
                </a:cubicBezTo>
                <a:cubicBezTo>
                  <a:pt x="41" y="586"/>
                  <a:pt x="44" y="587"/>
                  <a:pt x="45" y="587"/>
                </a:cubicBezTo>
                <a:cubicBezTo>
                  <a:pt x="45" y="587"/>
                  <a:pt x="46" y="586"/>
                  <a:pt x="47" y="584"/>
                </a:cubicBezTo>
                <a:cubicBezTo>
                  <a:pt x="47" y="583"/>
                  <a:pt x="47" y="582"/>
                  <a:pt x="50" y="580"/>
                </a:cubicBezTo>
                <a:cubicBezTo>
                  <a:pt x="52" y="579"/>
                  <a:pt x="55" y="577"/>
                  <a:pt x="56" y="575"/>
                </a:cubicBezTo>
                <a:cubicBezTo>
                  <a:pt x="57" y="574"/>
                  <a:pt x="58" y="573"/>
                  <a:pt x="58" y="569"/>
                </a:cubicBezTo>
                <a:cubicBezTo>
                  <a:pt x="58" y="564"/>
                  <a:pt x="60" y="531"/>
                  <a:pt x="62" y="525"/>
                </a:cubicBezTo>
                <a:cubicBezTo>
                  <a:pt x="63" y="518"/>
                  <a:pt x="64" y="506"/>
                  <a:pt x="64" y="501"/>
                </a:cubicBezTo>
                <a:cubicBezTo>
                  <a:pt x="64" y="496"/>
                  <a:pt x="63" y="493"/>
                  <a:pt x="63" y="485"/>
                </a:cubicBezTo>
                <a:cubicBezTo>
                  <a:pt x="62" y="479"/>
                  <a:pt x="62" y="475"/>
                  <a:pt x="62" y="468"/>
                </a:cubicBezTo>
                <a:cubicBezTo>
                  <a:pt x="62" y="462"/>
                  <a:pt x="63" y="448"/>
                  <a:pt x="64" y="443"/>
                </a:cubicBezTo>
                <a:cubicBezTo>
                  <a:pt x="64" y="439"/>
                  <a:pt x="65" y="420"/>
                  <a:pt x="65" y="415"/>
                </a:cubicBezTo>
                <a:cubicBezTo>
                  <a:pt x="66" y="411"/>
                  <a:pt x="66" y="407"/>
                  <a:pt x="67" y="406"/>
                </a:cubicBezTo>
                <a:cubicBezTo>
                  <a:pt x="67" y="404"/>
                  <a:pt x="70" y="396"/>
                  <a:pt x="71" y="392"/>
                </a:cubicBezTo>
                <a:cubicBezTo>
                  <a:pt x="72" y="389"/>
                  <a:pt x="73" y="380"/>
                  <a:pt x="74" y="375"/>
                </a:cubicBezTo>
                <a:cubicBezTo>
                  <a:pt x="74" y="371"/>
                  <a:pt x="75" y="367"/>
                  <a:pt x="76" y="365"/>
                </a:cubicBezTo>
                <a:cubicBezTo>
                  <a:pt x="76" y="363"/>
                  <a:pt x="77" y="364"/>
                  <a:pt x="77" y="365"/>
                </a:cubicBezTo>
                <a:cubicBezTo>
                  <a:pt x="78" y="365"/>
                  <a:pt x="78" y="367"/>
                  <a:pt x="78" y="368"/>
                </a:cubicBezTo>
                <a:cubicBezTo>
                  <a:pt x="79" y="369"/>
                  <a:pt x="79" y="372"/>
                  <a:pt x="79" y="376"/>
                </a:cubicBezTo>
                <a:cubicBezTo>
                  <a:pt x="79" y="381"/>
                  <a:pt x="79" y="387"/>
                  <a:pt x="80" y="393"/>
                </a:cubicBezTo>
                <a:cubicBezTo>
                  <a:pt x="80" y="399"/>
                  <a:pt x="81" y="404"/>
                  <a:pt x="81" y="409"/>
                </a:cubicBezTo>
                <a:cubicBezTo>
                  <a:pt x="82" y="414"/>
                  <a:pt x="82" y="421"/>
                  <a:pt x="83" y="427"/>
                </a:cubicBezTo>
                <a:cubicBezTo>
                  <a:pt x="84" y="433"/>
                  <a:pt x="84" y="433"/>
                  <a:pt x="84" y="434"/>
                </a:cubicBezTo>
                <a:cubicBezTo>
                  <a:pt x="84" y="436"/>
                  <a:pt x="84" y="436"/>
                  <a:pt x="83" y="439"/>
                </a:cubicBezTo>
                <a:cubicBezTo>
                  <a:pt x="82" y="442"/>
                  <a:pt x="80" y="447"/>
                  <a:pt x="79" y="452"/>
                </a:cubicBezTo>
                <a:cubicBezTo>
                  <a:pt x="79" y="453"/>
                  <a:pt x="80" y="455"/>
                  <a:pt x="79" y="456"/>
                </a:cubicBezTo>
                <a:cubicBezTo>
                  <a:pt x="79" y="457"/>
                  <a:pt x="78" y="462"/>
                  <a:pt x="79" y="468"/>
                </a:cubicBezTo>
                <a:cubicBezTo>
                  <a:pt x="79" y="470"/>
                  <a:pt x="79" y="474"/>
                  <a:pt x="79" y="475"/>
                </a:cubicBezTo>
                <a:cubicBezTo>
                  <a:pt x="79" y="477"/>
                  <a:pt x="79" y="480"/>
                  <a:pt x="79" y="483"/>
                </a:cubicBezTo>
                <a:cubicBezTo>
                  <a:pt x="80" y="486"/>
                  <a:pt x="80" y="492"/>
                  <a:pt x="81" y="495"/>
                </a:cubicBezTo>
                <a:cubicBezTo>
                  <a:pt x="81" y="499"/>
                  <a:pt x="81" y="503"/>
                  <a:pt x="81" y="506"/>
                </a:cubicBezTo>
                <a:cubicBezTo>
                  <a:pt x="82" y="508"/>
                  <a:pt x="82" y="508"/>
                  <a:pt x="81" y="510"/>
                </a:cubicBezTo>
                <a:cubicBezTo>
                  <a:pt x="80" y="512"/>
                  <a:pt x="77" y="522"/>
                  <a:pt x="76" y="525"/>
                </a:cubicBezTo>
                <a:cubicBezTo>
                  <a:pt x="74" y="527"/>
                  <a:pt x="73" y="531"/>
                  <a:pt x="73" y="532"/>
                </a:cubicBezTo>
                <a:cubicBezTo>
                  <a:pt x="73" y="533"/>
                  <a:pt x="73" y="538"/>
                  <a:pt x="73" y="540"/>
                </a:cubicBezTo>
                <a:cubicBezTo>
                  <a:pt x="73" y="542"/>
                  <a:pt x="74" y="542"/>
                  <a:pt x="75" y="545"/>
                </a:cubicBezTo>
                <a:cubicBezTo>
                  <a:pt x="76" y="548"/>
                  <a:pt x="77" y="549"/>
                  <a:pt x="78" y="551"/>
                </a:cubicBezTo>
                <a:cubicBezTo>
                  <a:pt x="79" y="553"/>
                  <a:pt x="79" y="553"/>
                  <a:pt x="78" y="554"/>
                </a:cubicBezTo>
                <a:cubicBezTo>
                  <a:pt x="78" y="555"/>
                  <a:pt x="77" y="557"/>
                  <a:pt x="77" y="558"/>
                </a:cubicBezTo>
                <a:cubicBezTo>
                  <a:pt x="76" y="558"/>
                  <a:pt x="76" y="559"/>
                  <a:pt x="76" y="561"/>
                </a:cubicBezTo>
                <a:cubicBezTo>
                  <a:pt x="76" y="563"/>
                  <a:pt x="75" y="566"/>
                  <a:pt x="76" y="567"/>
                </a:cubicBezTo>
                <a:cubicBezTo>
                  <a:pt x="77" y="569"/>
                  <a:pt x="76" y="569"/>
                  <a:pt x="76" y="570"/>
                </a:cubicBezTo>
                <a:cubicBezTo>
                  <a:pt x="75" y="571"/>
                  <a:pt x="75" y="573"/>
                  <a:pt x="76" y="574"/>
                </a:cubicBezTo>
                <a:cubicBezTo>
                  <a:pt x="76" y="574"/>
                  <a:pt x="77" y="575"/>
                  <a:pt x="77" y="576"/>
                </a:cubicBezTo>
                <a:cubicBezTo>
                  <a:pt x="76" y="577"/>
                  <a:pt x="76" y="581"/>
                  <a:pt x="77" y="585"/>
                </a:cubicBezTo>
                <a:cubicBezTo>
                  <a:pt x="78" y="586"/>
                  <a:pt x="77" y="587"/>
                  <a:pt x="76" y="588"/>
                </a:cubicBezTo>
                <a:cubicBezTo>
                  <a:pt x="75" y="588"/>
                  <a:pt x="74" y="588"/>
                  <a:pt x="74" y="590"/>
                </a:cubicBezTo>
                <a:cubicBezTo>
                  <a:pt x="74" y="592"/>
                  <a:pt x="75" y="596"/>
                  <a:pt x="74" y="598"/>
                </a:cubicBezTo>
                <a:cubicBezTo>
                  <a:pt x="74" y="599"/>
                  <a:pt x="75" y="600"/>
                  <a:pt x="77" y="600"/>
                </a:cubicBezTo>
                <a:cubicBezTo>
                  <a:pt x="78" y="600"/>
                  <a:pt x="79" y="600"/>
                  <a:pt x="79" y="600"/>
                </a:cubicBezTo>
                <a:cubicBezTo>
                  <a:pt x="80" y="601"/>
                  <a:pt x="79" y="600"/>
                  <a:pt x="80" y="600"/>
                </a:cubicBezTo>
                <a:cubicBezTo>
                  <a:pt x="81" y="600"/>
                  <a:pt x="80" y="601"/>
                  <a:pt x="82" y="601"/>
                </a:cubicBezTo>
                <a:cubicBezTo>
                  <a:pt x="84" y="601"/>
                  <a:pt x="84" y="602"/>
                  <a:pt x="85" y="602"/>
                </a:cubicBezTo>
                <a:cubicBezTo>
                  <a:pt x="87" y="602"/>
                  <a:pt x="86" y="601"/>
                  <a:pt x="87" y="601"/>
                </a:cubicBezTo>
                <a:cubicBezTo>
                  <a:pt x="88" y="601"/>
                  <a:pt x="88" y="602"/>
                  <a:pt x="89" y="602"/>
                </a:cubicBezTo>
                <a:cubicBezTo>
                  <a:pt x="90" y="602"/>
                  <a:pt x="91" y="602"/>
                  <a:pt x="92" y="602"/>
                </a:cubicBezTo>
                <a:cubicBezTo>
                  <a:pt x="94" y="602"/>
                  <a:pt x="98" y="601"/>
                  <a:pt x="100" y="600"/>
                </a:cubicBezTo>
                <a:cubicBezTo>
                  <a:pt x="102" y="600"/>
                  <a:pt x="102" y="600"/>
                  <a:pt x="102" y="600"/>
                </a:cubicBezTo>
                <a:cubicBezTo>
                  <a:pt x="103" y="600"/>
                  <a:pt x="104" y="601"/>
                  <a:pt x="105" y="601"/>
                </a:cubicBezTo>
                <a:cubicBezTo>
                  <a:pt x="105" y="601"/>
                  <a:pt x="106" y="602"/>
                  <a:pt x="107" y="603"/>
                </a:cubicBezTo>
                <a:cubicBezTo>
                  <a:pt x="108" y="605"/>
                  <a:pt x="108" y="605"/>
                  <a:pt x="109" y="606"/>
                </a:cubicBezTo>
                <a:cubicBezTo>
                  <a:pt x="110" y="606"/>
                  <a:pt x="110" y="606"/>
                  <a:pt x="111" y="606"/>
                </a:cubicBezTo>
                <a:cubicBezTo>
                  <a:pt x="112" y="605"/>
                  <a:pt x="112" y="607"/>
                  <a:pt x="113" y="607"/>
                </a:cubicBezTo>
                <a:cubicBezTo>
                  <a:pt x="114" y="607"/>
                  <a:pt x="115" y="608"/>
                  <a:pt x="116" y="607"/>
                </a:cubicBezTo>
                <a:cubicBezTo>
                  <a:pt x="119" y="607"/>
                  <a:pt x="117" y="608"/>
                  <a:pt x="120" y="608"/>
                </a:cubicBezTo>
                <a:cubicBezTo>
                  <a:pt x="121" y="608"/>
                  <a:pt x="121" y="608"/>
                  <a:pt x="123" y="608"/>
                </a:cubicBezTo>
                <a:cubicBezTo>
                  <a:pt x="124" y="608"/>
                  <a:pt x="124" y="608"/>
                  <a:pt x="124" y="609"/>
                </a:cubicBezTo>
                <a:cubicBezTo>
                  <a:pt x="124" y="610"/>
                  <a:pt x="123" y="620"/>
                  <a:pt x="123" y="621"/>
                </a:cubicBezTo>
                <a:cubicBezTo>
                  <a:pt x="123" y="621"/>
                  <a:pt x="123" y="622"/>
                  <a:pt x="125" y="624"/>
                </a:cubicBezTo>
                <a:cubicBezTo>
                  <a:pt x="126" y="625"/>
                  <a:pt x="127" y="626"/>
                  <a:pt x="127" y="626"/>
                </a:cubicBezTo>
                <a:cubicBezTo>
                  <a:pt x="127" y="626"/>
                  <a:pt x="127" y="627"/>
                  <a:pt x="127" y="628"/>
                </a:cubicBezTo>
                <a:cubicBezTo>
                  <a:pt x="126" y="629"/>
                  <a:pt x="126" y="631"/>
                  <a:pt x="129" y="632"/>
                </a:cubicBezTo>
                <a:cubicBezTo>
                  <a:pt x="132" y="633"/>
                  <a:pt x="133" y="634"/>
                  <a:pt x="135" y="635"/>
                </a:cubicBezTo>
                <a:cubicBezTo>
                  <a:pt x="136" y="635"/>
                  <a:pt x="136" y="635"/>
                  <a:pt x="140" y="635"/>
                </a:cubicBezTo>
                <a:cubicBezTo>
                  <a:pt x="143" y="634"/>
                  <a:pt x="155" y="633"/>
                  <a:pt x="157" y="633"/>
                </a:cubicBezTo>
                <a:cubicBezTo>
                  <a:pt x="159" y="633"/>
                  <a:pt x="159" y="632"/>
                  <a:pt x="159" y="631"/>
                </a:cubicBezTo>
                <a:cubicBezTo>
                  <a:pt x="158" y="629"/>
                  <a:pt x="157" y="629"/>
                  <a:pt x="157" y="628"/>
                </a:cubicBezTo>
                <a:cubicBezTo>
                  <a:pt x="158" y="626"/>
                  <a:pt x="157" y="625"/>
                  <a:pt x="157" y="624"/>
                </a:cubicBezTo>
                <a:cubicBezTo>
                  <a:pt x="156" y="622"/>
                  <a:pt x="158" y="620"/>
                  <a:pt x="155" y="616"/>
                </a:cubicBezTo>
                <a:cubicBezTo>
                  <a:pt x="152" y="612"/>
                  <a:pt x="151" y="607"/>
                  <a:pt x="151" y="606"/>
                </a:cubicBezTo>
                <a:cubicBezTo>
                  <a:pt x="151" y="605"/>
                  <a:pt x="150" y="604"/>
                  <a:pt x="152" y="604"/>
                </a:cubicBezTo>
                <a:cubicBezTo>
                  <a:pt x="155" y="603"/>
                  <a:pt x="155" y="602"/>
                  <a:pt x="154" y="601"/>
                </a:cubicBezTo>
                <a:cubicBezTo>
                  <a:pt x="154" y="599"/>
                  <a:pt x="154" y="598"/>
                  <a:pt x="153" y="598"/>
                </a:cubicBezTo>
                <a:cubicBezTo>
                  <a:pt x="152" y="598"/>
                  <a:pt x="152" y="598"/>
                  <a:pt x="152" y="597"/>
                </a:cubicBezTo>
                <a:cubicBezTo>
                  <a:pt x="151" y="596"/>
                  <a:pt x="150" y="597"/>
                  <a:pt x="151" y="595"/>
                </a:cubicBezTo>
                <a:cubicBezTo>
                  <a:pt x="151" y="594"/>
                  <a:pt x="150" y="589"/>
                  <a:pt x="147" y="588"/>
                </a:cubicBezTo>
                <a:cubicBezTo>
                  <a:pt x="146" y="587"/>
                  <a:pt x="146" y="587"/>
                  <a:pt x="146" y="586"/>
                </a:cubicBezTo>
                <a:cubicBezTo>
                  <a:pt x="146" y="584"/>
                  <a:pt x="146" y="582"/>
                  <a:pt x="145" y="579"/>
                </a:cubicBezTo>
                <a:cubicBezTo>
                  <a:pt x="144" y="576"/>
                  <a:pt x="142" y="572"/>
                  <a:pt x="144" y="563"/>
                </a:cubicBezTo>
                <a:cubicBezTo>
                  <a:pt x="145" y="554"/>
                  <a:pt x="147" y="549"/>
                  <a:pt x="147" y="547"/>
                </a:cubicBezTo>
                <a:cubicBezTo>
                  <a:pt x="147" y="544"/>
                  <a:pt x="150" y="534"/>
                  <a:pt x="150" y="531"/>
                </a:cubicBezTo>
                <a:cubicBezTo>
                  <a:pt x="151" y="528"/>
                  <a:pt x="157" y="496"/>
                  <a:pt x="158" y="492"/>
                </a:cubicBezTo>
                <a:cubicBezTo>
                  <a:pt x="158" y="489"/>
                  <a:pt x="159" y="478"/>
                  <a:pt x="160" y="475"/>
                </a:cubicBezTo>
                <a:cubicBezTo>
                  <a:pt x="160" y="472"/>
                  <a:pt x="162" y="466"/>
                  <a:pt x="163" y="464"/>
                </a:cubicBezTo>
                <a:cubicBezTo>
                  <a:pt x="164" y="462"/>
                  <a:pt x="166" y="453"/>
                  <a:pt x="167" y="450"/>
                </a:cubicBezTo>
                <a:cubicBezTo>
                  <a:pt x="168" y="448"/>
                  <a:pt x="168" y="448"/>
                  <a:pt x="168" y="447"/>
                </a:cubicBezTo>
                <a:cubicBezTo>
                  <a:pt x="168" y="446"/>
                  <a:pt x="167" y="446"/>
                  <a:pt x="169" y="446"/>
                </a:cubicBezTo>
                <a:cubicBezTo>
                  <a:pt x="170" y="445"/>
                  <a:pt x="177" y="444"/>
                  <a:pt x="178" y="444"/>
                </a:cubicBezTo>
                <a:cubicBezTo>
                  <a:pt x="179" y="444"/>
                  <a:pt x="180" y="443"/>
                  <a:pt x="180" y="444"/>
                </a:cubicBezTo>
                <a:cubicBezTo>
                  <a:pt x="180" y="446"/>
                  <a:pt x="183" y="454"/>
                  <a:pt x="183" y="455"/>
                </a:cubicBezTo>
                <a:cubicBezTo>
                  <a:pt x="184" y="457"/>
                  <a:pt x="185" y="464"/>
                  <a:pt x="184" y="467"/>
                </a:cubicBezTo>
                <a:cubicBezTo>
                  <a:pt x="184" y="470"/>
                  <a:pt x="184" y="482"/>
                  <a:pt x="184" y="485"/>
                </a:cubicBezTo>
                <a:cubicBezTo>
                  <a:pt x="184" y="487"/>
                  <a:pt x="184" y="493"/>
                  <a:pt x="185" y="498"/>
                </a:cubicBezTo>
                <a:cubicBezTo>
                  <a:pt x="186" y="500"/>
                  <a:pt x="187" y="507"/>
                  <a:pt x="187" y="511"/>
                </a:cubicBezTo>
                <a:cubicBezTo>
                  <a:pt x="188" y="515"/>
                  <a:pt x="190" y="536"/>
                  <a:pt x="191" y="540"/>
                </a:cubicBezTo>
                <a:cubicBezTo>
                  <a:pt x="191" y="544"/>
                  <a:pt x="192" y="551"/>
                  <a:pt x="192" y="554"/>
                </a:cubicBezTo>
                <a:cubicBezTo>
                  <a:pt x="191" y="557"/>
                  <a:pt x="191" y="558"/>
                  <a:pt x="191" y="558"/>
                </a:cubicBezTo>
                <a:cubicBezTo>
                  <a:pt x="191" y="558"/>
                  <a:pt x="191" y="559"/>
                  <a:pt x="190" y="560"/>
                </a:cubicBezTo>
                <a:cubicBezTo>
                  <a:pt x="190" y="561"/>
                  <a:pt x="191" y="561"/>
                  <a:pt x="189" y="562"/>
                </a:cubicBezTo>
                <a:cubicBezTo>
                  <a:pt x="189" y="562"/>
                  <a:pt x="188" y="561"/>
                  <a:pt x="187" y="563"/>
                </a:cubicBezTo>
                <a:cubicBezTo>
                  <a:pt x="185" y="566"/>
                  <a:pt x="184" y="570"/>
                  <a:pt x="183" y="571"/>
                </a:cubicBezTo>
                <a:cubicBezTo>
                  <a:pt x="182" y="572"/>
                  <a:pt x="182" y="575"/>
                  <a:pt x="182" y="578"/>
                </a:cubicBezTo>
                <a:cubicBezTo>
                  <a:pt x="182" y="579"/>
                  <a:pt x="182" y="579"/>
                  <a:pt x="182" y="580"/>
                </a:cubicBezTo>
                <a:cubicBezTo>
                  <a:pt x="181" y="581"/>
                  <a:pt x="179" y="597"/>
                  <a:pt x="180" y="599"/>
                </a:cubicBezTo>
                <a:cubicBezTo>
                  <a:pt x="180" y="601"/>
                  <a:pt x="179" y="601"/>
                  <a:pt x="181" y="602"/>
                </a:cubicBezTo>
                <a:cubicBezTo>
                  <a:pt x="183" y="602"/>
                  <a:pt x="188" y="604"/>
                  <a:pt x="191" y="605"/>
                </a:cubicBezTo>
                <a:cubicBezTo>
                  <a:pt x="194" y="605"/>
                  <a:pt x="194" y="606"/>
                  <a:pt x="194" y="606"/>
                </a:cubicBezTo>
                <a:cubicBezTo>
                  <a:pt x="193" y="607"/>
                  <a:pt x="192" y="609"/>
                  <a:pt x="196" y="610"/>
                </a:cubicBezTo>
                <a:cubicBezTo>
                  <a:pt x="200" y="611"/>
                  <a:pt x="201" y="612"/>
                  <a:pt x="203" y="612"/>
                </a:cubicBezTo>
                <a:cubicBezTo>
                  <a:pt x="204" y="613"/>
                  <a:pt x="206" y="612"/>
                  <a:pt x="209" y="612"/>
                </a:cubicBezTo>
                <a:cubicBezTo>
                  <a:pt x="212" y="612"/>
                  <a:pt x="221" y="610"/>
                  <a:pt x="223" y="610"/>
                </a:cubicBezTo>
                <a:cubicBezTo>
                  <a:pt x="226" y="610"/>
                  <a:pt x="224" y="609"/>
                  <a:pt x="224" y="608"/>
                </a:cubicBezTo>
                <a:cubicBezTo>
                  <a:pt x="224" y="607"/>
                  <a:pt x="223" y="607"/>
                  <a:pt x="223" y="606"/>
                </a:cubicBezTo>
                <a:cubicBezTo>
                  <a:pt x="224" y="605"/>
                  <a:pt x="223" y="603"/>
                  <a:pt x="222" y="603"/>
                </a:cubicBezTo>
                <a:cubicBezTo>
                  <a:pt x="222" y="602"/>
                  <a:pt x="221" y="601"/>
                  <a:pt x="221" y="600"/>
                </a:cubicBezTo>
                <a:cubicBezTo>
                  <a:pt x="221" y="600"/>
                  <a:pt x="220" y="598"/>
                  <a:pt x="219" y="597"/>
                </a:cubicBezTo>
                <a:cubicBezTo>
                  <a:pt x="218" y="597"/>
                  <a:pt x="216" y="594"/>
                  <a:pt x="215" y="591"/>
                </a:cubicBezTo>
                <a:cubicBezTo>
                  <a:pt x="214" y="589"/>
                  <a:pt x="211" y="584"/>
                  <a:pt x="210" y="583"/>
                </a:cubicBezTo>
                <a:cubicBezTo>
                  <a:pt x="210" y="581"/>
                  <a:pt x="209" y="580"/>
                  <a:pt x="209" y="579"/>
                </a:cubicBezTo>
                <a:cubicBezTo>
                  <a:pt x="208" y="577"/>
                  <a:pt x="208" y="575"/>
                  <a:pt x="207" y="574"/>
                </a:cubicBezTo>
                <a:cubicBezTo>
                  <a:pt x="206" y="573"/>
                  <a:pt x="206" y="570"/>
                  <a:pt x="206" y="568"/>
                </a:cubicBezTo>
                <a:cubicBezTo>
                  <a:pt x="207" y="565"/>
                  <a:pt x="206" y="562"/>
                  <a:pt x="206" y="561"/>
                </a:cubicBezTo>
                <a:cubicBezTo>
                  <a:pt x="206" y="560"/>
                  <a:pt x="207" y="560"/>
                  <a:pt x="206" y="560"/>
                </a:cubicBezTo>
                <a:cubicBezTo>
                  <a:pt x="206" y="559"/>
                  <a:pt x="206" y="558"/>
                  <a:pt x="206" y="554"/>
                </a:cubicBezTo>
                <a:cubicBezTo>
                  <a:pt x="207" y="550"/>
                  <a:pt x="207" y="548"/>
                  <a:pt x="208" y="545"/>
                </a:cubicBezTo>
                <a:cubicBezTo>
                  <a:pt x="208" y="542"/>
                  <a:pt x="212" y="519"/>
                  <a:pt x="214" y="513"/>
                </a:cubicBezTo>
                <a:cubicBezTo>
                  <a:pt x="215" y="506"/>
                  <a:pt x="216" y="497"/>
                  <a:pt x="216" y="487"/>
                </a:cubicBezTo>
                <a:cubicBezTo>
                  <a:pt x="216" y="477"/>
                  <a:pt x="216" y="469"/>
                  <a:pt x="215" y="463"/>
                </a:cubicBezTo>
                <a:cubicBezTo>
                  <a:pt x="214" y="459"/>
                  <a:pt x="214" y="457"/>
                  <a:pt x="214" y="456"/>
                </a:cubicBezTo>
                <a:cubicBezTo>
                  <a:pt x="214" y="454"/>
                  <a:pt x="214" y="448"/>
                  <a:pt x="214" y="446"/>
                </a:cubicBezTo>
                <a:cubicBezTo>
                  <a:pt x="215" y="444"/>
                  <a:pt x="215" y="443"/>
                  <a:pt x="215" y="443"/>
                </a:cubicBezTo>
                <a:cubicBezTo>
                  <a:pt x="215" y="442"/>
                  <a:pt x="215" y="442"/>
                  <a:pt x="216" y="442"/>
                </a:cubicBezTo>
                <a:cubicBezTo>
                  <a:pt x="218" y="442"/>
                  <a:pt x="227" y="441"/>
                  <a:pt x="230" y="441"/>
                </a:cubicBezTo>
                <a:cubicBezTo>
                  <a:pt x="233" y="441"/>
                  <a:pt x="235" y="440"/>
                  <a:pt x="237" y="440"/>
                </a:cubicBezTo>
                <a:cubicBezTo>
                  <a:pt x="239" y="440"/>
                  <a:pt x="242" y="440"/>
                  <a:pt x="243" y="440"/>
                </a:cubicBezTo>
                <a:cubicBezTo>
                  <a:pt x="245" y="439"/>
                  <a:pt x="245" y="439"/>
                  <a:pt x="245" y="438"/>
                </a:cubicBezTo>
                <a:cubicBezTo>
                  <a:pt x="244" y="436"/>
                  <a:pt x="243" y="431"/>
                  <a:pt x="243" y="429"/>
                </a:cubicBezTo>
                <a:cubicBezTo>
                  <a:pt x="242" y="427"/>
                  <a:pt x="242" y="421"/>
                  <a:pt x="242" y="419"/>
                </a:cubicBezTo>
                <a:cubicBezTo>
                  <a:pt x="242" y="417"/>
                  <a:pt x="241" y="405"/>
                  <a:pt x="241" y="402"/>
                </a:cubicBezTo>
                <a:cubicBezTo>
                  <a:pt x="241" y="399"/>
                  <a:pt x="240" y="396"/>
                  <a:pt x="240" y="391"/>
                </a:cubicBezTo>
                <a:cubicBezTo>
                  <a:pt x="240" y="387"/>
                  <a:pt x="239" y="375"/>
                  <a:pt x="239" y="371"/>
                </a:cubicBezTo>
                <a:cubicBezTo>
                  <a:pt x="239" y="367"/>
                  <a:pt x="238" y="363"/>
                  <a:pt x="238" y="361"/>
                </a:cubicBezTo>
                <a:cubicBezTo>
                  <a:pt x="238" y="360"/>
                  <a:pt x="239" y="360"/>
                  <a:pt x="240" y="359"/>
                </a:cubicBezTo>
                <a:cubicBezTo>
                  <a:pt x="241" y="358"/>
                  <a:pt x="241" y="357"/>
                  <a:pt x="240" y="354"/>
                </a:cubicBezTo>
                <a:cubicBezTo>
                  <a:pt x="240" y="351"/>
                  <a:pt x="238" y="333"/>
                  <a:pt x="238" y="330"/>
                </a:cubicBezTo>
                <a:cubicBezTo>
                  <a:pt x="237" y="327"/>
                  <a:pt x="236" y="321"/>
                  <a:pt x="236" y="319"/>
                </a:cubicBezTo>
                <a:cubicBezTo>
                  <a:pt x="235" y="317"/>
                  <a:pt x="236" y="318"/>
                  <a:pt x="236" y="318"/>
                </a:cubicBezTo>
                <a:cubicBezTo>
                  <a:pt x="237" y="318"/>
                  <a:pt x="237" y="318"/>
                  <a:pt x="236" y="316"/>
                </a:cubicBezTo>
                <a:cubicBezTo>
                  <a:pt x="236" y="313"/>
                  <a:pt x="234" y="307"/>
                  <a:pt x="233" y="305"/>
                </a:cubicBezTo>
                <a:cubicBezTo>
                  <a:pt x="233" y="302"/>
                  <a:pt x="233" y="302"/>
                  <a:pt x="233" y="301"/>
                </a:cubicBezTo>
                <a:cubicBezTo>
                  <a:pt x="233" y="300"/>
                  <a:pt x="232" y="288"/>
                  <a:pt x="231" y="286"/>
                </a:cubicBezTo>
                <a:cubicBezTo>
                  <a:pt x="231" y="285"/>
                  <a:pt x="232" y="285"/>
                  <a:pt x="233" y="285"/>
                </a:cubicBezTo>
                <a:cubicBezTo>
                  <a:pt x="235" y="285"/>
                  <a:pt x="240" y="283"/>
                  <a:pt x="242" y="283"/>
                </a:cubicBezTo>
                <a:cubicBezTo>
                  <a:pt x="243" y="283"/>
                  <a:pt x="244" y="282"/>
                  <a:pt x="244" y="284"/>
                </a:cubicBezTo>
                <a:cubicBezTo>
                  <a:pt x="244" y="285"/>
                  <a:pt x="246" y="299"/>
                  <a:pt x="246" y="302"/>
                </a:cubicBezTo>
                <a:cubicBezTo>
                  <a:pt x="246" y="304"/>
                  <a:pt x="245" y="305"/>
                  <a:pt x="246" y="305"/>
                </a:cubicBezTo>
                <a:cubicBezTo>
                  <a:pt x="246" y="305"/>
                  <a:pt x="246" y="305"/>
                  <a:pt x="246" y="307"/>
                </a:cubicBezTo>
                <a:cubicBezTo>
                  <a:pt x="246" y="307"/>
                  <a:pt x="246" y="311"/>
                  <a:pt x="246" y="312"/>
                </a:cubicBezTo>
                <a:cubicBezTo>
                  <a:pt x="246" y="313"/>
                  <a:pt x="246" y="317"/>
                  <a:pt x="246" y="318"/>
                </a:cubicBezTo>
                <a:cubicBezTo>
                  <a:pt x="246" y="320"/>
                  <a:pt x="246" y="326"/>
                  <a:pt x="246" y="327"/>
                </a:cubicBezTo>
                <a:cubicBezTo>
                  <a:pt x="246" y="328"/>
                  <a:pt x="246" y="329"/>
                  <a:pt x="246" y="330"/>
                </a:cubicBezTo>
                <a:cubicBezTo>
                  <a:pt x="245" y="331"/>
                  <a:pt x="244" y="344"/>
                  <a:pt x="244" y="347"/>
                </a:cubicBezTo>
                <a:cubicBezTo>
                  <a:pt x="244" y="350"/>
                  <a:pt x="244" y="359"/>
                  <a:pt x="245" y="367"/>
                </a:cubicBezTo>
                <a:cubicBezTo>
                  <a:pt x="246" y="374"/>
                  <a:pt x="247" y="380"/>
                  <a:pt x="248" y="387"/>
                </a:cubicBezTo>
                <a:cubicBezTo>
                  <a:pt x="249" y="393"/>
                  <a:pt x="251" y="398"/>
                  <a:pt x="251" y="407"/>
                </a:cubicBezTo>
                <a:cubicBezTo>
                  <a:pt x="251" y="417"/>
                  <a:pt x="250" y="426"/>
                  <a:pt x="250" y="429"/>
                </a:cubicBezTo>
                <a:cubicBezTo>
                  <a:pt x="250" y="432"/>
                  <a:pt x="250" y="435"/>
                  <a:pt x="251" y="441"/>
                </a:cubicBezTo>
                <a:cubicBezTo>
                  <a:pt x="252" y="446"/>
                  <a:pt x="253" y="449"/>
                  <a:pt x="253" y="452"/>
                </a:cubicBezTo>
                <a:cubicBezTo>
                  <a:pt x="253" y="454"/>
                  <a:pt x="255" y="460"/>
                  <a:pt x="255" y="461"/>
                </a:cubicBezTo>
                <a:cubicBezTo>
                  <a:pt x="255" y="462"/>
                  <a:pt x="256" y="462"/>
                  <a:pt x="255" y="463"/>
                </a:cubicBezTo>
                <a:cubicBezTo>
                  <a:pt x="255" y="464"/>
                  <a:pt x="255" y="468"/>
                  <a:pt x="254" y="472"/>
                </a:cubicBezTo>
                <a:cubicBezTo>
                  <a:pt x="253" y="476"/>
                  <a:pt x="252" y="486"/>
                  <a:pt x="252" y="490"/>
                </a:cubicBezTo>
                <a:cubicBezTo>
                  <a:pt x="252" y="493"/>
                  <a:pt x="252" y="496"/>
                  <a:pt x="251" y="499"/>
                </a:cubicBezTo>
                <a:cubicBezTo>
                  <a:pt x="251" y="502"/>
                  <a:pt x="250" y="527"/>
                  <a:pt x="249" y="532"/>
                </a:cubicBezTo>
                <a:cubicBezTo>
                  <a:pt x="248" y="538"/>
                  <a:pt x="248" y="552"/>
                  <a:pt x="247" y="556"/>
                </a:cubicBezTo>
                <a:cubicBezTo>
                  <a:pt x="247" y="561"/>
                  <a:pt x="246" y="571"/>
                  <a:pt x="246" y="574"/>
                </a:cubicBezTo>
                <a:cubicBezTo>
                  <a:pt x="246" y="577"/>
                  <a:pt x="245" y="581"/>
                  <a:pt x="247" y="586"/>
                </a:cubicBezTo>
                <a:cubicBezTo>
                  <a:pt x="247" y="588"/>
                  <a:pt x="248" y="590"/>
                  <a:pt x="248" y="593"/>
                </a:cubicBezTo>
                <a:cubicBezTo>
                  <a:pt x="249" y="595"/>
                  <a:pt x="250" y="596"/>
                  <a:pt x="250" y="597"/>
                </a:cubicBezTo>
                <a:cubicBezTo>
                  <a:pt x="250" y="598"/>
                  <a:pt x="250" y="599"/>
                  <a:pt x="251" y="598"/>
                </a:cubicBezTo>
                <a:cubicBezTo>
                  <a:pt x="252" y="598"/>
                  <a:pt x="253" y="598"/>
                  <a:pt x="252" y="600"/>
                </a:cubicBezTo>
                <a:cubicBezTo>
                  <a:pt x="252" y="601"/>
                  <a:pt x="251" y="603"/>
                  <a:pt x="250" y="605"/>
                </a:cubicBezTo>
                <a:cubicBezTo>
                  <a:pt x="250" y="607"/>
                  <a:pt x="248" y="606"/>
                  <a:pt x="248" y="609"/>
                </a:cubicBezTo>
                <a:cubicBezTo>
                  <a:pt x="248" y="610"/>
                  <a:pt x="248" y="616"/>
                  <a:pt x="249" y="617"/>
                </a:cubicBezTo>
                <a:cubicBezTo>
                  <a:pt x="250" y="620"/>
                  <a:pt x="250" y="620"/>
                  <a:pt x="251" y="620"/>
                </a:cubicBezTo>
                <a:cubicBezTo>
                  <a:pt x="252" y="621"/>
                  <a:pt x="270" y="621"/>
                  <a:pt x="273" y="621"/>
                </a:cubicBezTo>
                <a:cubicBezTo>
                  <a:pt x="274" y="621"/>
                  <a:pt x="276" y="622"/>
                  <a:pt x="277" y="621"/>
                </a:cubicBezTo>
                <a:cubicBezTo>
                  <a:pt x="278" y="620"/>
                  <a:pt x="279" y="616"/>
                  <a:pt x="279" y="612"/>
                </a:cubicBezTo>
                <a:cubicBezTo>
                  <a:pt x="279" y="610"/>
                  <a:pt x="280" y="610"/>
                  <a:pt x="281" y="608"/>
                </a:cubicBezTo>
                <a:cubicBezTo>
                  <a:pt x="281" y="605"/>
                  <a:pt x="282" y="602"/>
                  <a:pt x="282" y="599"/>
                </a:cubicBezTo>
                <a:cubicBezTo>
                  <a:pt x="281" y="597"/>
                  <a:pt x="283" y="599"/>
                  <a:pt x="283" y="598"/>
                </a:cubicBezTo>
                <a:cubicBezTo>
                  <a:pt x="283" y="596"/>
                  <a:pt x="287" y="586"/>
                  <a:pt x="288" y="583"/>
                </a:cubicBezTo>
                <a:cubicBezTo>
                  <a:pt x="289" y="579"/>
                  <a:pt x="289" y="579"/>
                  <a:pt x="290" y="578"/>
                </a:cubicBezTo>
                <a:cubicBezTo>
                  <a:pt x="291" y="576"/>
                  <a:pt x="290" y="574"/>
                  <a:pt x="289" y="572"/>
                </a:cubicBezTo>
                <a:cubicBezTo>
                  <a:pt x="289" y="570"/>
                  <a:pt x="289" y="567"/>
                  <a:pt x="289" y="565"/>
                </a:cubicBezTo>
                <a:cubicBezTo>
                  <a:pt x="289" y="563"/>
                  <a:pt x="289" y="553"/>
                  <a:pt x="289" y="548"/>
                </a:cubicBezTo>
                <a:cubicBezTo>
                  <a:pt x="288" y="544"/>
                  <a:pt x="288" y="542"/>
                  <a:pt x="287" y="537"/>
                </a:cubicBezTo>
                <a:cubicBezTo>
                  <a:pt x="287" y="532"/>
                  <a:pt x="287" y="528"/>
                  <a:pt x="287" y="526"/>
                </a:cubicBezTo>
                <a:cubicBezTo>
                  <a:pt x="287" y="524"/>
                  <a:pt x="286" y="520"/>
                  <a:pt x="286" y="516"/>
                </a:cubicBezTo>
                <a:cubicBezTo>
                  <a:pt x="286" y="511"/>
                  <a:pt x="287" y="507"/>
                  <a:pt x="287" y="502"/>
                </a:cubicBezTo>
                <a:cubicBezTo>
                  <a:pt x="287" y="496"/>
                  <a:pt x="288" y="496"/>
                  <a:pt x="288" y="493"/>
                </a:cubicBezTo>
                <a:cubicBezTo>
                  <a:pt x="288" y="490"/>
                  <a:pt x="289" y="483"/>
                  <a:pt x="289" y="480"/>
                </a:cubicBezTo>
                <a:cubicBezTo>
                  <a:pt x="289" y="478"/>
                  <a:pt x="289" y="477"/>
                  <a:pt x="289" y="476"/>
                </a:cubicBezTo>
                <a:cubicBezTo>
                  <a:pt x="288" y="475"/>
                  <a:pt x="289" y="475"/>
                  <a:pt x="290" y="473"/>
                </a:cubicBezTo>
                <a:cubicBezTo>
                  <a:pt x="290" y="471"/>
                  <a:pt x="292" y="467"/>
                  <a:pt x="292" y="462"/>
                </a:cubicBezTo>
                <a:cubicBezTo>
                  <a:pt x="293" y="457"/>
                  <a:pt x="294" y="451"/>
                  <a:pt x="294" y="449"/>
                </a:cubicBezTo>
                <a:cubicBezTo>
                  <a:pt x="294" y="447"/>
                  <a:pt x="294" y="440"/>
                  <a:pt x="294" y="438"/>
                </a:cubicBezTo>
                <a:cubicBezTo>
                  <a:pt x="294" y="435"/>
                  <a:pt x="293" y="431"/>
                  <a:pt x="294" y="425"/>
                </a:cubicBezTo>
                <a:cubicBezTo>
                  <a:pt x="294" y="418"/>
                  <a:pt x="294" y="407"/>
                  <a:pt x="294" y="400"/>
                </a:cubicBezTo>
                <a:cubicBezTo>
                  <a:pt x="295" y="393"/>
                  <a:pt x="295" y="382"/>
                  <a:pt x="297" y="377"/>
                </a:cubicBezTo>
                <a:cubicBezTo>
                  <a:pt x="298" y="371"/>
                  <a:pt x="298" y="370"/>
                  <a:pt x="299" y="368"/>
                </a:cubicBezTo>
                <a:cubicBezTo>
                  <a:pt x="300" y="366"/>
                  <a:pt x="300" y="367"/>
                  <a:pt x="300" y="368"/>
                </a:cubicBezTo>
                <a:cubicBezTo>
                  <a:pt x="300" y="369"/>
                  <a:pt x="301" y="373"/>
                  <a:pt x="302" y="375"/>
                </a:cubicBezTo>
                <a:cubicBezTo>
                  <a:pt x="302" y="379"/>
                  <a:pt x="303" y="391"/>
                  <a:pt x="303" y="396"/>
                </a:cubicBezTo>
                <a:cubicBezTo>
                  <a:pt x="303" y="396"/>
                  <a:pt x="298" y="439"/>
                  <a:pt x="300" y="455"/>
                </a:cubicBezTo>
                <a:close/>
                <a:moveTo>
                  <a:pt x="419" y="600"/>
                </a:moveTo>
                <a:cubicBezTo>
                  <a:pt x="420" y="598"/>
                  <a:pt x="420" y="600"/>
                  <a:pt x="421" y="598"/>
                </a:cubicBezTo>
                <a:cubicBezTo>
                  <a:pt x="421" y="597"/>
                  <a:pt x="420" y="592"/>
                  <a:pt x="420" y="590"/>
                </a:cubicBezTo>
                <a:cubicBezTo>
                  <a:pt x="420" y="589"/>
                  <a:pt x="420" y="589"/>
                  <a:pt x="419" y="589"/>
                </a:cubicBezTo>
                <a:cubicBezTo>
                  <a:pt x="415" y="595"/>
                  <a:pt x="408" y="597"/>
                  <a:pt x="407" y="612"/>
                </a:cubicBezTo>
                <a:cubicBezTo>
                  <a:pt x="407" y="614"/>
                  <a:pt x="407" y="615"/>
                  <a:pt x="409" y="613"/>
                </a:cubicBezTo>
                <a:cubicBezTo>
                  <a:pt x="414" y="608"/>
                  <a:pt x="418" y="601"/>
                  <a:pt x="419" y="600"/>
                </a:cubicBezTo>
                <a:close/>
                <a:moveTo>
                  <a:pt x="131" y="452"/>
                </a:moveTo>
                <a:cubicBezTo>
                  <a:pt x="131" y="448"/>
                  <a:pt x="130" y="448"/>
                  <a:pt x="130" y="450"/>
                </a:cubicBezTo>
                <a:cubicBezTo>
                  <a:pt x="129" y="452"/>
                  <a:pt x="128" y="455"/>
                  <a:pt x="127" y="457"/>
                </a:cubicBezTo>
                <a:cubicBezTo>
                  <a:pt x="127" y="459"/>
                  <a:pt x="125" y="466"/>
                  <a:pt x="125" y="467"/>
                </a:cubicBezTo>
                <a:cubicBezTo>
                  <a:pt x="125" y="469"/>
                  <a:pt x="124" y="473"/>
                  <a:pt x="123" y="475"/>
                </a:cubicBezTo>
                <a:cubicBezTo>
                  <a:pt x="123" y="476"/>
                  <a:pt x="122" y="479"/>
                  <a:pt x="121" y="480"/>
                </a:cubicBezTo>
                <a:cubicBezTo>
                  <a:pt x="121" y="482"/>
                  <a:pt x="121" y="489"/>
                  <a:pt x="121" y="490"/>
                </a:cubicBezTo>
                <a:cubicBezTo>
                  <a:pt x="121" y="491"/>
                  <a:pt x="120" y="496"/>
                  <a:pt x="120" y="498"/>
                </a:cubicBezTo>
                <a:cubicBezTo>
                  <a:pt x="120" y="500"/>
                  <a:pt x="119" y="510"/>
                  <a:pt x="118" y="513"/>
                </a:cubicBezTo>
                <a:cubicBezTo>
                  <a:pt x="118" y="516"/>
                  <a:pt x="117" y="522"/>
                  <a:pt x="117" y="527"/>
                </a:cubicBezTo>
                <a:cubicBezTo>
                  <a:pt x="117" y="532"/>
                  <a:pt x="118" y="541"/>
                  <a:pt x="118" y="544"/>
                </a:cubicBezTo>
                <a:cubicBezTo>
                  <a:pt x="119" y="546"/>
                  <a:pt x="119" y="548"/>
                  <a:pt x="119" y="549"/>
                </a:cubicBezTo>
                <a:cubicBezTo>
                  <a:pt x="119" y="551"/>
                  <a:pt x="117" y="554"/>
                  <a:pt x="116" y="556"/>
                </a:cubicBezTo>
                <a:cubicBezTo>
                  <a:pt x="115" y="558"/>
                  <a:pt x="115" y="559"/>
                  <a:pt x="115" y="560"/>
                </a:cubicBezTo>
                <a:cubicBezTo>
                  <a:pt x="115" y="561"/>
                  <a:pt x="115" y="562"/>
                  <a:pt x="115" y="563"/>
                </a:cubicBezTo>
                <a:cubicBezTo>
                  <a:pt x="115" y="563"/>
                  <a:pt x="115" y="564"/>
                  <a:pt x="115" y="565"/>
                </a:cubicBezTo>
                <a:cubicBezTo>
                  <a:pt x="117" y="566"/>
                  <a:pt x="117" y="567"/>
                  <a:pt x="118" y="567"/>
                </a:cubicBezTo>
                <a:cubicBezTo>
                  <a:pt x="119" y="569"/>
                  <a:pt x="119" y="568"/>
                  <a:pt x="120" y="568"/>
                </a:cubicBezTo>
                <a:cubicBezTo>
                  <a:pt x="120" y="568"/>
                  <a:pt x="124" y="568"/>
                  <a:pt x="123" y="569"/>
                </a:cubicBezTo>
                <a:cubicBezTo>
                  <a:pt x="121" y="570"/>
                  <a:pt x="123" y="570"/>
                  <a:pt x="123" y="572"/>
                </a:cubicBezTo>
                <a:cubicBezTo>
                  <a:pt x="123" y="573"/>
                  <a:pt x="123" y="573"/>
                  <a:pt x="124" y="574"/>
                </a:cubicBezTo>
                <a:cubicBezTo>
                  <a:pt x="125" y="574"/>
                  <a:pt x="125" y="575"/>
                  <a:pt x="126" y="575"/>
                </a:cubicBezTo>
                <a:cubicBezTo>
                  <a:pt x="126" y="575"/>
                  <a:pt x="127" y="574"/>
                  <a:pt x="127" y="575"/>
                </a:cubicBezTo>
                <a:cubicBezTo>
                  <a:pt x="128" y="575"/>
                  <a:pt x="128" y="575"/>
                  <a:pt x="128" y="573"/>
                </a:cubicBezTo>
                <a:cubicBezTo>
                  <a:pt x="128" y="572"/>
                  <a:pt x="129" y="568"/>
                  <a:pt x="127" y="556"/>
                </a:cubicBezTo>
                <a:cubicBezTo>
                  <a:pt x="126" y="543"/>
                  <a:pt x="126" y="527"/>
                  <a:pt x="125" y="518"/>
                </a:cubicBezTo>
                <a:cubicBezTo>
                  <a:pt x="122" y="502"/>
                  <a:pt x="123" y="501"/>
                  <a:pt x="124" y="491"/>
                </a:cubicBezTo>
                <a:cubicBezTo>
                  <a:pt x="125" y="488"/>
                  <a:pt x="126" y="485"/>
                  <a:pt x="126" y="482"/>
                </a:cubicBezTo>
                <a:cubicBezTo>
                  <a:pt x="126" y="479"/>
                  <a:pt x="127" y="471"/>
                  <a:pt x="129" y="467"/>
                </a:cubicBezTo>
                <a:cubicBezTo>
                  <a:pt x="130" y="463"/>
                  <a:pt x="131" y="462"/>
                  <a:pt x="131" y="459"/>
                </a:cubicBezTo>
                <a:cubicBezTo>
                  <a:pt x="131" y="457"/>
                  <a:pt x="131" y="454"/>
                  <a:pt x="131" y="452"/>
                </a:cubicBezTo>
                <a:close/>
                <a:moveTo>
                  <a:pt x="216" y="143"/>
                </a:moveTo>
                <a:cubicBezTo>
                  <a:pt x="215" y="143"/>
                  <a:pt x="215" y="143"/>
                  <a:pt x="215" y="144"/>
                </a:cubicBezTo>
                <a:cubicBezTo>
                  <a:pt x="215" y="145"/>
                  <a:pt x="216" y="145"/>
                  <a:pt x="217" y="144"/>
                </a:cubicBezTo>
                <a:cubicBezTo>
                  <a:pt x="218" y="143"/>
                  <a:pt x="217" y="143"/>
                  <a:pt x="216" y="143"/>
                </a:cubicBezTo>
                <a:close/>
                <a:moveTo>
                  <a:pt x="170" y="140"/>
                </a:moveTo>
                <a:cubicBezTo>
                  <a:pt x="170" y="140"/>
                  <a:pt x="169" y="140"/>
                  <a:pt x="170" y="141"/>
                </a:cubicBezTo>
                <a:cubicBezTo>
                  <a:pt x="171" y="142"/>
                  <a:pt x="172" y="141"/>
                  <a:pt x="172" y="140"/>
                </a:cubicBezTo>
                <a:cubicBezTo>
                  <a:pt x="172" y="140"/>
                  <a:pt x="172" y="140"/>
                  <a:pt x="171" y="140"/>
                </a:cubicBezTo>
                <a:cubicBezTo>
                  <a:pt x="171" y="140"/>
                  <a:pt x="171" y="140"/>
                  <a:pt x="170" y="140"/>
                </a:cubicBezTo>
                <a:close/>
                <a:moveTo>
                  <a:pt x="121" y="41"/>
                </a:moveTo>
                <a:cubicBezTo>
                  <a:pt x="121" y="41"/>
                  <a:pt x="121" y="43"/>
                  <a:pt x="122" y="44"/>
                </a:cubicBezTo>
                <a:cubicBezTo>
                  <a:pt x="123" y="44"/>
                  <a:pt x="121" y="40"/>
                  <a:pt x="121" y="41"/>
                </a:cubicBezTo>
                <a:close/>
                <a:moveTo>
                  <a:pt x="123" y="32"/>
                </a:moveTo>
                <a:cubicBezTo>
                  <a:pt x="123" y="32"/>
                  <a:pt x="124" y="34"/>
                  <a:pt x="124" y="33"/>
                </a:cubicBezTo>
                <a:cubicBezTo>
                  <a:pt x="124" y="32"/>
                  <a:pt x="123" y="31"/>
                  <a:pt x="123" y="32"/>
                </a:cubicBezTo>
                <a:close/>
                <a:moveTo>
                  <a:pt x="87" y="4"/>
                </a:moveTo>
                <a:cubicBezTo>
                  <a:pt x="87" y="4"/>
                  <a:pt x="87" y="5"/>
                  <a:pt x="88" y="5"/>
                </a:cubicBezTo>
                <a:cubicBezTo>
                  <a:pt x="89" y="5"/>
                  <a:pt x="87" y="4"/>
                  <a:pt x="87" y="4"/>
                </a:cubicBezTo>
                <a:close/>
                <a:moveTo>
                  <a:pt x="85" y="3"/>
                </a:moveTo>
                <a:cubicBezTo>
                  <a:pt x="86" y="3"/>
                  <a:pt x="86" y="3"/>
                  <a:pt x="87" y="3"/>
                </a:cubicBezTo>
                <a:cubicBezTo>
                  <a:pt x="87" y="3"/>
                  <a:pt x="87" y="2"/>
                  <a:pt x="86" y="2"/>
                </a:cubicBezTo>
                <a:cubicBezTo>
                  <a:pt x="85" y="2"/>
                  <a:pt x="84" y="3"/>
                  <a:pt x="85" y="3"/>
                </a:cubicBezTo>
                <a:close/>
                <a:moveTo>
                  <a:pt x="114" y="9"/>
                </a:moveTo>
                <a:cubicBezTo>
                  <a:pt x="114" y="9"/>
                  <a:pt x="112" y="9"/>
                  <a:pt x="113" y="9"/>
                </a:cubicBezTo>
                <a:cubicBezTo>
                  <a:pt x="113" y="10"/>
                  <a:pt x="114" y="10"/>
                  <a:pt x="114" y="9"/>
                </a:cubicBezTo>
                <a:close/>
              </a:path>
            </a:pathLst>
          </a:custGeom>
          <a:solidFill>
            <a:schemeClr val="bg2">
              <a:lumMod val="75000"/>
            </a:schemeClr>
          </a:solidFill>
          <a:ln>
            <a:gradFill>
              <a:gsLst>
                <a:gs pos="0">
                  <a:schemeClr val="accent1">
                    <a:tint val="66000"/>
                    <a:satMod val="160000"/>
                    <a:lumMod val="41000"/>
                    <a:alpha val="48000"/>
                  </a:schemeClr>
                </a:gs>
                <a:gs pos="100000">
                  <a:schemeClr val="accent1">
                    <a:tint val="23500"/>
                    <a:satMod val="160000"/>
                    <a:lumMod val="37000"/>
                    <a:alpha val="55000"/>
                  </a:schemeClr>
                </a:gs>
              </a:gsLst>
              <a:lin ang="5400000" scaled="0"/>
            </a:grad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srgbClr val="000000"/>
              </a:solidFill>
              <a:latin typeface="Arial"/>
              <a:ea typeface="ＭＳ Ｐゴシック" pitchFamily="34" charset="-128"/>
            </a:endParaRPr>
          </a:p>
        </p:txBody>
      </p:sp>
      <p:pic>
        <p:nvPicPr>
          <p:cNvPr id="203" name="Globe"/>
          <p:cNvPicPr>
            <a:picLocks noChangeAspect="1" noChangeArrowheads="1"/>
          </p:cNvPicPr>
          <p:nvPr/>
        </p:nvPicPr>
        <p:blipFill>
          <a:blip r:embed="rId3" cstate="print">
            <a:extLst/>
          </a:blip>
          <a:srcRect/>
          <a:stretch>
            <a:fillRect/>
          </a:stretch>
        </p:blipFill>
        <p:spPr bwMode="auto">
          <a:xfrm>
            <a:off x="372691" y="1289992"/>
            <a:ext cx="2495200" cy="1191622"/>
          </a:xfrm>
          <a:prstGeom prst="rect">
            <a:avLst/>
          </a:prstGeom>
          <a:noFill/>
          <a:ln>
            <a:noFill/>
          </a:ln>
          <a:effectLst>
            <a:innerShdw blurRad="317500" dist="50800" dir="5400000">
              <a:schemeClr val="tx1">
                <a:lumMod val="85000"/>
                <a:lumOff val="15000"/>
                <a:alpha val="50000"/>
              </a:schemeClr>
            </a:innerShdw>
          </a:effectLst>
          <a:extLst/>
        </p:spPr>
      </p:pic>
      <p:grpSp>
        <p:nvGrpSpPr>
          <p:cNvPr id="2" name="Group 264"/>
          <p:cNvGrpSpPr/>
          <p:nvPr/>
        </p:nvGrpSpPr>
        <p:grpSpPr>
          <a:xfrm>
            <a:off x="3962757" y="3330035"/>
            <a:ext cx="1253480" cy="1016334"/>
            <a:chOff x="1676757" y="3070924"/>
            <a:chExt cx="507442" cy="411439"/>
          </a:xfrm>
          <a:solidFill>
            <a:schemeClr val="bg2">
              <a:lumMod val="75000"/>
            </a:schemeClr>
          </a:solidFill>
        </p:grpSpPr>
        <p:sp>
          <p:nvSpPr>
            <p:cNvPr id="266" name="Freeform 31"/>
            <p:cNvSpPr>
              <a:spLocks/>
            </p:cNvSpPr>
            <p:nvPr/>
          </p:nvSpPr>
          <p:spPr bwMode="auto">
            <a:xfrm>
              <a:off x="1849170" y="3070924"/>
              <a:ext cx="162617" cy="186127"/>
            </a:xfrm>
            <a:custGeom>
              <a:avLst/>
              <a:gdLst/>
              <a:ahLst/>
              <a:cxnLst>
                <a:cxn ang="0">
                  <a:pos x="166" y="154"/>
                </a:cxn>
                <a:cxn ang="0">
                  <a:pos x="82" y="190"/>
                </a:cxn>
                <a:cxn ang="0">
                  <a:pos x="0" y="154"/>
                </a:cxn>
                <a:cxn ang="0">
                  <a:pos x="0" y="36"/>
                </a:cxn>
                <a:cxn ang="0">
                  <a:pos x="82" y="0"/>
                </a:cxn>
                <a:cxn ang="0">
                  <a:pos x="166" y="36"/>
                </a:cxn>
                <a:cxn ang="0">
                  <a:pos x="166" y="154"/>
                </a:cxn>
              </a:cxnLst>
              <a:rect l="0" t="0" r="r" b="b"/>
              <a:pathLst>
                <a:path w="166" h="190">
                  <a:moveTo>
                    <a:pt x="166" y="154"/>
                  </a:moveTo>
                  <a:lnTo>
                    <a:pt x="82" y="190"/>
                  </a:lnTo>
                  <a:lnTo>
                    <a:pt x="0" y="154"/>
                  </a:lnTo>
                  <a:lnTo>
                    <a:pt x="0" y="36"/>
                  </a:lnTo>
                  <a:lnTo>
                    <a:pt x="82" y="0"/>
                  </a:lnTo>
                  <a:lnTo>
                    <a:pt x="166" y="36"/>
                  </a:lnTo>
                  <a:lnTo>
                    <a:pt x="166" y="1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700" dirty="0">
                <a:solidFill>
                  <a:srgbClr val="000000"/>
                </a:solidFill>
                <a:ea typeface="ＭＳ Ｐゴシック" pitchFamily="34" charset="-128"/>
              </a:endParaRPr>
            </a:p>
          </p:txBody>
        </p:sp>
        <p:sp>
          <p:nvSpPr>
            <p:cNvPr id="267" name="Freeform 32"/>
            <p:cNvSpPr>
              <a:spLocks/>
            </p:cNvSpPr>
            <p:nvPr/>
          </p:nvSpPr>
          <p:spPr bwMode="auto">
            <a:xfrm>
              <a:off x="1676757" y="3296236"/>
              <a:ext cx="162617" cy="186127"/>
            </a:xfrm>
            <a:custGeom>
              <a:avLst/>
              <a:gdLst/>
              <a:ahLst/>
              <a:cxnLst>
                <a:cxn ang="0">
                  <a:pos x="166" y="156"/>
                </a:cxn>
                <a:cxn ang="0">
                  <a:pos x="82" y="190"/>
                </a:cxn>
                <a:cxn ang="0">
                  <a:pos x="0" y="156"/>
                </a:cxn>
                <a:cxn ang="0">
                  <a:pos x="0" y="36"/>
                </a:cxn>
                <a:cxn ang="0">
                  <a:pos x="82" y="0"/>
                </a:cxn>
                <a:cxn ang="0">
                  <a:pos x="166" y="36"/>
                </a:cxn>
                <a:cxn ang="0">
                  <a:pos x="166" y="156"/>
                </a:cxn>
              </a:cxnLst>
              <a:rect l="0" t="0" r="r" b="b"/>
              <a:pathLst>
                <a:path w="166" h="190">
                  <a:moveTo>
                    <a:pt x="166" y="156"/>
                  </a:moveTo>
                  <a:lnTo>
                    <a:pt x="82" y="190"/>
                  </a:lnTo>
                  <a:lnTo>
                    <a:pt x="0" y="156"/>
                  </a:lnTo>
                  <a:lnTo>
                    <a:pt x="0" y="36"/>
                  </a:lnTo>
                  <a:lnTo>
                    <a:pt x="82" y="0"/>
                  </a:lnTo>
                  <a:lnTo>
                    <a:pt x="166" y="36"/>
                  </a:lnTo>
                  <a:lnTo>
                    <a:pt x="166" y="1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700" dirty="0">
                <a:solidFill>
                  <a:srgbClr val="000000"/>
                </a:solidFill>
                <a:ea typeface="ＭＳ Ｐゴシック" pitchFamily="34" charset="-128"/>
              </a:endParaRPr>
            </a:p>
          </p:txBody>
        </p:sp>
        <p:sp>
          <p:nvSpPr>
            <p:cNvPr id="268" name="Freeform 33"/>
            <p:cNvSpPr>
              <a:spLocks/>
            </p:cNvSpPr>
            <p:nvPr/>
          </p:nvSpPr>
          <p:spPr bwMode="auto">
            <a:xfrm>
              <a:off x="2019623" y="3296236"/>
              <a:ext cx="164576" cy="186127"/>
            </a:xfrm>
            <a:custGeom>
              <a:avLst/>
              <a:gdLst/>
              <a:ahLst/>
              <a:cxnLst>
                <a:cxn ang="0">
                  <a:pos x="168" y="156"/>
                </a:cxn>
                <a:cxn ang="0">
                  <a:pos x="84" y="190"/>
                </a:cxn>
                <a:cxn ang="0">
                  <a:pos x="0" y="156"/>
                </a:cxn>
                <a:cxn ang="0">
                  <a:pos x="0" y="36"/>
                </a:cxn>
                <a:cxn ang="0">
                  <a:pos x="84" y="0"/>
                </a:cxn>
                <a:cxn ang="0">
                  <a:pos x="168" y="36"/>
                </a:cxn>
                <a:cxn ang="0">
                  <a:pos x="168" y="156"/>
                </a:cxn>
              </a:cxnLst>
              <a:rect l="0" t="0" r="r" b="b"/>
              <a:pathLst>
                <a:path w="168" h="190">
                  <a:moveTo>
                    <a:pt x="168" y="156"/>
                  </a:moveTo>
                  <a:lnTo>
                    <a:pt x="84" y="190"/>
                  </a:lnTo>
                  <a:lnTo>
                    <a:pt x="0" y="156"/>
                  </a:lnTo>
                  <a:lnTo>
                    <a:pt x="0" y="36"/>
                  </a:lnTo>
                  <a:lnTo>
                    <a:pt x="84" y="0"/>
                  </a:lnTo>
                  <a:lnTo>
                    <a:pt x="168" y="36"/>
                  </a:lnTo>
                  <a:lnTo>
                    <a:pt x="168" y="1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700" dirty="0">
                <a:solidFill>
                  <a:srgbClr val="000000"/>
                </a:solidFill>
                <a:ea typeface="ＭＳ Ｐゴシック" pitchFamily="34" charset="-128"/>
              </a:endParaRPr>
            </a:p>
          </p:txBody>
        </p:sp>
        <p:sp>
          <p:nvSpPr>
            <p:cNvPr id="269" name="Freeform 34"/>
            <p:cNvSpPr>
              <a:spLocks/>
            </p:cNvSpPr>
            <p:nvPr/>
          </p:nvSpPr>
          <p:spPr bwMode="auto">
            <a:xfrm>
              <a:off x="1921661" y="3280562"/>
              <a:ext cx="17633" cy="66614"/>
            </a:xfrm>
            <a:custGeom>
              <a:avLst/>
              <a:gdLst/>
              <a:ahLst/>
              <a:cxnLst>
                <a:cxn ang="0">
                  <a:pos x="18" y="60"/>
                </a:cxn>
                <a:cxn ang="0">
                  <a:pos x="18" y="60"/>
                </a:cxn>
                <a:cxn ang="0">
                  <a:pos x="16" y="64"/>
                </a:cxn>
                <a:cxn ang="0">
                  <a:pos x="14" y="66"/>
                </a:cxn>
                <a:cxn ang="0">
                  <a:pos x="12" y="68"/>
                </a:cxn>
                <a:cxn ang="0">
                  <a:pos x="8" y="68"/>
                </a:cxn>
                <a:cxn ang="0">
                  <a:pos x="8" y="68"/>
                </a:cxn>
                <a:cxn ang="0">
                  <a:pos x="6" y="68"/>
                </a:cxn>
                <a:cxn ang="0">
                  <a:pos x="2" y="66"/>
                </a:cxn>
                <a:cxn ang="0">
                  <a:pos x="0" y="64"/>
                </a:cxn>
                <a:cxn ang="0">
                  <a:pos x="0" y="60"/>
                </a:cxn>
                <a:cxn ang="0">
                  <a:pos x="0" y="10"/>
                </a:cxn>
                <a:cxn ang="0">
                  <a:pos x="0" y="10"/>
                </a:cxn>
                <a:cxn ang="0">
                  <a:pos x="0" y="6"/>
                </a:cxn>
                <a:cxn ang="0">
                  <a:pos x="2" y="4"/>
                </a:cxn>
                <a:cxn ang="0">
                  <a:pos x="6" y="2"/>
                </a:cxn>
                <a:cxn ang="0">
                  <a:pos x="8" y="0"/>
                </a:cxn>
                <a:cxn ang="0">
                  <a:pos x="8" y="0"/>
                </a:cxn>
                <a:cxn ang="0">
                  <a:pos x="12" y="2"/>
                </a:cxn>
                <a:cxn ang="0">
                  <a:pos x="14" y="4"/>
                </a:cxn>
                <a:cxn ang="0">
                  <a:pos x="16" y="6"/>
                </a:cxn>
                <a:cxn ang="0">
                  <a:pos x="18" y="10"/>
                </a:cxn>
                <a:cxn ang="0">
                  <a:pos x="18" y="60"/>
                </a:cxn>
              </a:cxnLst>
              <a:rect l="0" t="0" r="r" b="b"/>
              <a:pathLst>
                <a:path w="18" h="68">
                  <a:moveTo>
                    <a:pt x="18" y="60"/>
                  </a:moveTo>
                  <a:lnTo>
                    <a:pt x="18" y="60"/>
                  </a:lnTo>
                  <a:lnTo>
                    <a:pt x="16" y="64"/>
                  </a:lnTo>
                  <a:lnTo>
                    <a:pt x="14" y="66"/>
                  </a:lnTo>
                  <a:lnTo>
                    <a:pt x="12" y="68"/>
                  </a:lnTo>
                  <a:lnTo>
                    <a:pt x="8" y="68"/>
                  </a:lnTo>
                  <a:lnTo>
                    <a:pt x="8" y="68"/>
                  </a:lnTo>
                  <a:lnTo>
                    <a:pt x="6" y="68"/>
                  </a:lnTo>
                  <a:lnTo>
                    <a:pt x="2" y="66"/>
                  </a:lnTo>
                  <a:lnTo>
                    <a:pt x="0" y="64"/>
                  </a:lnTo>
                  <a:lnTo>
                    <a:pt x="0" y="60"/>
                  </a:lnTo>
                  <a:lnTo>
                    <a:pt x="0" y="10"/>
                  </a:lnTo>
                  <a:lnTo>
                    <a:pt x="0" y="10"/>
                  </a:lnTo>
                  <a:lnTo>
                    <a:pt x="0" y="6"/>
                  </a:lnTo>
                  <a:lnTo>
                    <a:pt x="2" y="4"/>
                  </a:lnTo>
                  <a:lnTo>
                    <a:pt x="6" y="2"/>
                  </a:lnTo>
                  <a:lnTo>
                    <a:pt x="8" y="0"/>
                  </a:lnTo>
                  <a:lnTo>
                    <a:pt x="8" y="0"/>
                  </a:lnTo>
                  <a:lnTo>
                    <a:pt x="12" y="2"/>
                  </a:lnTo>
                  <a:lnTo>
                    <a:pt x="14" y="4"/>
                  </a:lnTo>
                  <a:lnTo>
                    <a:pt x="16" y="6"/>
                  </a:lnTo>
                  <a:lnTo>
                    <a:pt x="18" y="10"/>
                  </a:lnTo>
                  <a:lnTo>
                    <a:pt x="18"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700" dirty="0">
                <a:solidFill>
                  <a:srgbClr val="000000"/>
                </a:solidFill>
                <a:ea typeface="ＭＳ Ｐゴシック" pitchFamily="34" charset="-128"/>
              </a:endParaRPr>
            </a:p>
          </p:txBody>
        </p:sp>
        <p:sp>
          <p:nvSpPr>
            <p:cNvPr id="270" name="Freeform 35"/>
            <p:cNvSpPr>
              <a:spLocks/>
            </p:cNvSpPr>
            <p:nvPr/>
          </p:nvSpPr>
          <p:spPr bwMode="auto">
            <a:xfrm>
              <a:off x="1939294" y="3353054"/>
              <a:ext cx="62696" cy="35266"/>
            </a:xfrm>
            <a:custGeom>
              <a:avLst/>
              <a:gdLst/>
              <a:ahLst/>
              <a:cxnLst>
                <a:cxn ang="0">
                  <a:pos x="58" y="18"/>
                </a:cxn>
                <a:cxn ang="0">
                  <a:pos x="58" y="18"/>
                </a:cxn>
                <a:cxn ang="0">
                  <a:pos x="62" y="20"/>
                </a:cxn>
                <a:cxn ang="0">
                  <a:pos x="64" y="22"/>
                </a:cxn>
                <a:cxn ang="0">
                  <a:pos x="64" y="26"/>
                </a:cxn>
                <a:cxn ang="0">
                  <a:pos x="64" y="30"/>
                </a:cxn>
                <a:cxn ang="0">
                  <a:pos x="64" y="30"/>
                </a:cxn>
                <a:cxn ang="0">
                  <a:pos x="62" y="32"/>
                </a:cxn>
                <a:cxn ang="0">
                  <a:pos x="58" y="34"/>
                </a:cxn>
                <a:cxn ang="0">
                  <a:pos x="56" y="36"/>
                </a:cxn>
                <a:cxn ang="0">
                  <a:pos x="52" y="36"/>
                </a:cxn>
                <a:cxn ang="0">
                  <a:pos x="4" y="18"/>
                </a:cxn>
                <a:cxn ang="0">
                  <a:pos x="4" y="18"/>
                </a:cxn>
                <a:cxn ang="0">
                  <a:pos x="2" y="16"/>
                </a:cxn>
                <a:cxn ang="0">
                  <a:pos x="0" y="12"/>
                </a:cxn>
                <a:cxn ang="0">
                  <a:pos x="0" y="10"/>
                </a:cxn>
                <a:cxn ang="0">
                  <a:pos x="0" y="6"/>
                </a:cxn>
                <a:cxn ang="0">
                  <a:pos x="0" y="6"/>
                </a:cxn>
                <a:cxn ang="0">
                  <a:pos x="2" y="4"/>
                </a:cxn>
                <a:cxn ang="0">
                  <a:pos x="4" y="2"/>
                </a:cxn>
                <a:cxn ang="0">
                  <a:pos x="8" y="0"/>
                </a:cxn>
                <a:cxn ang="0">
                  <a:pos x="12" y="0"/>
                </a:cxn>
                <a:cxn ang="0">
                  <a:pos x="58" y="18"/>
                </a:cxn>
              </a:cxnLst>
              <a:rect l="0" t="0" r="r" b="b"/>
              <a:pathLst>
                <a:path w="64" h="36">
                  <a:moveTo>
                    <a:pt x="58" y="18"/>
                  </a:moveTo>
                  <a:lnTo>
                    <a:pt x="58" y="18"/>
                  </a:lnTo>
                  <a:lnTo>
                    <a:pt x="62" y="20"/>
                  </a:lnTo>
                  <a:lnTo>
                    <a:pt x="64" y="22"/>
                  </a:lnTo>
                  <a:lnTo>
                    <a:pt x="64" y="26"/>
                  </a:lnTo>
                  <a:lnTo>
                    <a:pt x="64" y="30"/>
                  </a:lnTo>
                  <a:lnTo>
                    <a:pt x="64" y="30"/>
                  </a:lnTo>
                  <a:lnTo>
                    <a:pt x="62" y="32"/>
                  </a:lnTo>
                  <a:lnTo>
                    <a:pt x="58" y="34"/>
                  </a:lnTo>
                  <a:lnTo>
                    <a:pt x="56" y="36"/>
                  </a:lnTo>
                  <a:lnTo>
                    <a:pt x="52" y="36"/>
                  </a:lnTo>
                  <a:lnTo>
                    <a:pt x="4" y="18"/>
                  </a:lnTo>
                  <a:lnTo>
                    <a:pt x="4" y="18"/>
                  </a:lnTo>
                  <a:lnTo>
                    <a:pt x="2" y="16"/>
                  </a:lnTo>
                  <a:lnTo>
                    <a:pt x="0" y="12"/>
                  </a:lnTo>
                  <a:lnTo>
                    <a:pt x="0" y="10"/>
                  </a:lnTo>
                  <a:lnTo>
                    <a:pt x="0" y="6"/>
                  </a:lnTo>
                  <a:lnTo>
                    <a:pt x="0" y="6"/>
                  </a:lnTo>
                  <a:lnTo>
                    <a:pt x="2" y="4"/>
                  </a:lnTo>
                  <a:lnTo>
                    <a:pt x="4" y="2"/>
                  </a:lnTo>
                  <a:lnTo>
                    <a:pt x="8" y="0"/>
                  </a:lnTo>
                  <a:lnTo>
                    <a:pt x="12" y="0"/>
                  </a:lnTo>
                  <a:lnTo>
                    <a:pt x="5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700" dirty="0">
                <a:solidFill>
                  <a:srgbClr val="000000"/>
                </a:solidFill>
                <a:ea typeface="ＭＳ Ｐゴシック" pitchFamily="34" charset="-128"/>
              </a:endParaRPr>
            </a:p>
          </p:txBody>
        </p:sp>
        <p:sp>
          <p:nvSpPr>
            <p:cNvPr id="271" name="Freeform 36"/>
            <p:cNvSpPr>
              <a:spLocks/>
            </p:cNvSpPr>
            <p:nvPr/>
          </p:nvSpPr>
          <p:spPr bwMode="auto">
            <a:xfrm>
              <a:off x="1857006" y="3353054"/>
              <a:ext cx="64655" cy="35266"/>
            </a:xfrm>
            <a:custGeom>
              <a:avLst/>
              <a:gdLst/>
              <a:ahLst/>
              <a:cxnLst>
                <a:cxn ang="0">
                  <a:pos x="6" y="18"/>
                </a:cxn>
                <a:cxn ang="0">
                  <a:pos x="6" y="18"/>
                </a:cxn>
                <a:cxn ang="0">
                  <a:pos x="4" y="20"/>
                </a:cxn>
                <a:cxn ang="0">
                  <a:pos x="2" y="22"/>
                </a:cxn>
                <a:cxn ang="0">
                  <a:pos x="0" y="26"/>
                </a:cxn>
                <a:cxn ang="0">
                  <a:pos x="2" y="30"/>
                </a:cxn>
                <a:cxn ang="0">
                  <a:pos x="2" y="30"/>
                </a:cxn>
                <a:cxn ang="0">
                  <a:pos x="4" y="32"/>
                </a:cxn>
                <a:cxn ang="0">
                  <a:pos x="6" y="34"/>
                </a:cxn>
                <a:cxn ang="0">
                  <a:pos x="10" y="36"/>
                </a:cxn>
                <a:cxn ang="0">
                  <a:pos x="14" y="36"/>
                </a:cxn>
                <a:cxn ang="0">
                  <a:pos x="60" y="18"/>
                </a:cxn>
                <a:cxn ang="0">
                  <a:pos x="60" y="18"/>
                </a:cxn>
                <a:cxn ang="0">
                  <a:pos x="64" y="16"/>
                </a:cxn>
                <a:cxn ang="0">
                  <a:pos x="66" y="12"/>
                </a:cxn>
                <a:cxn ang="0">
                  <a:pos x="66" y="10"/>
                </a:cxn>
                <a:cxn ang="0">
                  <a:pos x="66" y="6"/>
                </a:cxn>
                <a:cxn ang="0">
                  <a:pos x="66" y="6"/>
                </a:cxn>
                <a:cxn ang="0">
                  <a:pos x="64" y="4"/>
                </a:cxn>
                <a:cxn ang="0">
                  <a:pos x="60" y="2"/>
                </a:cxn>
                <a:cxn ang="0">
                  <a:pos x="58" y="0"/>
                </a:cxn>
                <a:cxn ang="0">
                  <a:pos x="54" y="0"/>
                </a:cxn>
                <a:cxn ang="0">
                  <a:pos x="6" y="18"/>
                </a:cxn>
              </a:cxnLst>
              <a:rect l="0" t="0" r="r" b="b"/>
              <a:pathLst>
                <a:path w="66" h="36">
                  <a:moveTo>
                    <a:pt x="6" y="18"/>
                  </a:moveTo>
                  <a:lnTo>
                    <a:pt x="6" y="18"/>
                  </a:lnTo>
                  <a:lnTo>
                    <a:pt x="4" y="20"/>
                  </a:lnTo>
                  <a:lnTo>
                    <a:pt x="2" y="22"/>
                  </a:lnTo>
                  <a:lnTo>
                    <a:pt x="0" y="26"/>
                  </a:lnTo>
                  <a:lnTo>
                    <a:pt x="2" y="30"/>
                  </a:lnTo>
                  <a:lnTo>
                    <a:pt x="2" y="30"/>
                  </a:lnTo>
                  <a:lnTo>
                    <a:pt x="4" y="32"/>
                  </a:lnTo>
                  <a:lnTo>
                    <a:pt x="6" y="34"/>
                  </a:lnTo>
                  <a:lnTo>
                    <a:pt x="10" y="36"/>
                  </a:lnTo>
                  <a:lnTo>
                    <a:pt x="14" y="36"/>
                  </a:lnTo>
                  <a:lnTo>
                    <a:pt x="60" y="18"/>
                  </a:lnTo>
                  <a:lnTo>
                    <a:pt x="60" y="18"/>
                  </a:lnTo>
                  <a:lnTo>
                    <a:pt x="64" y="16"/>
                  </a:lnTo>
                  <a:lnTo>
                    <a:pt x="66" y="12"/>
                  </a:lnTo>
                  <a:lnTo>
                    <a:pt x="66" y="10"/>
                  </a:lnTo>
                  <a:lnTo>
                    <a:pt x="66" y="6"/>
                  </a:lnTo>
                  <a:lnTo>
                    <a:pt x="66" y="6"/>
                  </a:lnTo>
                  <a:lnTo>
                    <a:pt x="64" y="4"/>
                  </a:lnTo>
                  <a:lnTo>
                    <a:pt x="60" y="2"/>
                  </a:lnTo>
                  <a:lnTo>
                    <a:pt x="58" y="0"/>
                  </a:lnTo>
                  <a:lnTo>
                    <a:pt x="54" y="0"/>
                  </a:lnTo>
                  <a:lnTo>
                    <a:pt x="6"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700" dirty="0">
                <a:solidFill>
                  <a:srgbClr val="000000"/>
                </a:solidFill>
                <a:ea typeface="ＭＳ Ｐゴシック" pitchFamily="34" charset="-128"/>
              </a:endParaRPr>
            </a:p>
          </p:txBody>
        </p:sp>
      </p:grpSp>
      <p:pic>
        <p:nvPicPr>
          <p:cNvPr id="48" name="Picture 6" descr="D:\OPN Program Team Position\Corporate Branding\Icons\ic-GraduationDegree-gray.png"/>
          <p:cNvPicPr>
            <a:picLocks noChangeAspect="1" noChangeArrowheads="1"/>
          </p:cNvPicPr>
          <p:nvPr/>
        </p:nvPicPr>
        <p:blipFill>
          <a:blip r:embed="rId4" cstate="print"/>
          <a:srcRect/>
          <a:stretch>
            <a:fillRect/>
          </a:stretch>
        </p:blipFill>
        <p:spPr bwMode="auto">
          <a:xfrm>
            <a:off x="758105" y="3001160"/>
            <a:ext cx="1704109" cy="1704109"/>
          </a:xfrm>
          <a:prstGeom prst="rect">
            <a:avLst/>
          </a:prstGeom>
          <a:noFill/>
        </p:spPr>
      </p:pic>
      <p:pic>
        <p:nvPicPr>
          <p:cNvPr id="37" name="Picture 2" descr="D:\OPN Program Team Position\Corporate Branding\Icons\ic-BusinessIntelligenceCampaign-gray.png"/>
          <p:cNvPicPr>
            <a:picLocks noChangeAspect="1" noChangeArrowheads="1"/>
          </p:cNvPicPr>
          <p:nvPr/>
        </p:nvPicPr>
        <p:blipFill>
          <a:blip r:embed="rId5" cstate="print"/>
          <a:srcRect/>
          <a:stretch>
            <a:fillRect/>
          </a:stretch>
        </p:blipFill>
        <p:spPr bwMode="auto">
          <a:xfrm>
            <a:off x="6649749" y="2990771"/>
            <a:ext cx="1692000" cy="1692000"/>
          </a:xfrm>
          <a:prstGeom prst="rect">
            <a:avLst/>
          </a:prstGeom>
          <a:noFill/>
        </p:spPr>
      </p:pic>
      <p:grpSp>
        <p:nvGrpSpPr>
          <p:cNvPr id="3" name="Group 35"/>
          <p:cNvGrpSpPr/>
          <p:nvPr/>
        </p:nvGrpSpPr>
        <p:grpSpPr>
          <a:xfrm>
            <a:off x="7043712" y="1270259"/>
            <a:ext cx="1019633" cy="972892"/>
            <a:chOff x="331185" y="746332"/>
            <a:chExt cx="1210399" cy="1154913"/>
          </a:xfrm>
          <a:solidFill>
            <a:schemeClr val="bg2">
              <a:lumMod val="75000"/>
            </a:schemeClr>
          </a:solidFill>
          <a:effectLst/>
        </p:grpSpPr>
        <p:sp>
          <p:nvSpPr>
            <p:cNvPr id="38" name="Freeform 12"/>
            <p:cNvSpPr>
              <a:spLocks noEditPoints="1"/>
            </p:cNvSpPr>
            <p:nvPr/>
          </p:nvSpPr>
          <p:spPr bwMode="auto">
            <a:xfrm>
              <a:off x="331185" y="876823"/>
              <a:ext cx="1024422" cy="1024422"/>
            </a:xfrm>
            <a:custGeom>
              <a:avLst/>
              <a:gdLst>
                <a:gd name="T0" fmla="*/ 730 w 730"/>
                <a:gd name="T1" fmla="*/ 730 h 730"/>
                <a:gd name="T2" fmla="*/ 0 w 730"/>
                <a:gd name="T3" fmla="*/ 730 h 730"/>
                <a:gd name="T4" fmla="*/ 0 w 730"/>
                <a:gd name="T5" fmla="*/ 0 h 730"/>
                <a:gd name="T6" fmla="*/ 730 w 730"/>
                <a:gd name="T7" fmla="*/ 0 h 730"/>
                <a:gd name="T8" fmla="*/ 730 w 730"/>
                <a:gd name="T9" fmla="*/ 730 h 730"/>
                <a:gd name="T10" fmla="*/ 52 w 730"/>
                <a:gd name="T11" fmla="*/ 678 h 730"/>
                <a:gd name="T12" fmla="*/ 680 w 730"/>
                <a:gd name="T13" fmla="*/ 678 h 730"/>
                <a:gd name="T14" fmla="*/ 680 w 730"/>
                <a:gd name="T15" fmla="*/ 50 h 730"/>
                <a:gd name="T16" fmla="*/ 52 w 730"/>
                <a:gd name="T17" fmla="*/ 50 h 730"/>
                <a:gd name="T18" fmla="*/ 52 w 730"/>
                <a:gd name="T19" fmla="*/ 67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730">
                  <a:moveTo>
                    <a:pt x="730" y="730"/>
                  </a:moveTo>
                  <a:lnTo>
                    <a:pt x="0" y="730"/>
                  </a:lnTo>
                  <a:lnTo>
                    <a:pt x="0" y="0"/>
                  </a:lnTo>
                  <a:lnTo>
                    <a:pt x="730" y="0"/>
                  </a:lnTo>
                  <a:lnTo>
                    <a:pt x="730" y="730"/>
                  </a:lnTo>
                  <a:close/>
                  <a:moveTo>
                    <a:pt x="52" y="678"/>
                  </a:moveTo>
                  <a:lnTo>
                    <a:pt x="680" y="678"/>
                  </a:lnTo>
                  <a:lnTo>
                    <a:pt x="680" y="50"/>
                  </a:lnTo>
                  <a:lnTo>
                    <a:pt x="52" y="50"/>
                  </a:lnTo>
                  <a:lnTo>
                    <a:pt x="52" y="678"/>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700" dirty="0">
                <a:solidFill>
                  <a:srgbClr val="000000"/>
                </a:solidFill>
                <a:latin typeface="Arial"/>
                <a:ea typeface="ＭＳ Ｐゴシック" pitchFamily="34" charset="-128"/>
              </a:endParaRPr>
            </a:p>
          </p:txBody>
        </p:sp>
        <p:sp>
          <p:nvSpPr>
            <p:cNvPr id="41" name="Freeform 13"/>
            <p:cNvSpPr>
              <a:spLocks/>
            </p:cNvSpPr>
            <p:nvPr/>
          </p:nvSpPr>
          <p:spPr bwMode="auto">
            <a:xfrm>
              <a:off x="446051" y="746332"/>
              <a:ext cx="1095533" cy="1033630"/>
            </a:xfrm>
            <a:custGeom>
              <a:avLst/>
              <a:gdLst>
                <a:gd name="T0" fmla="*/ 312 w 322"/>
                <a:gd name="T1" fmla="*/ 0 h 304"/>
                <a:gd name="T2" fmla="*/ 322 w 322"/>
                <a:gd name="T3" fmla="*/ 13 h 304"/>
                <a:gd name="T4" fmla="*/ 210 w 322"/>
                <a:gd name="T5" fmla="*/ 128 h 304"/>
                <a:gd name="T6" fmla="*/ 118 w 322"/>
                <a:gd name="T7" fmla="*/ 271 h 304"/>
                <a:gd name="T8" fmla="*/ 101 w 322"/>
                <a:gd name="T9" fmla="*/ 281 h 304"/>
                <a:gd name="T10" fmla="*/ 72 w 322"/>
                <a:gd name="T11" fmla="*/ 304 h 304"/>
                <a:gd name="T12" fmla="*/ 59 w 322"/>
                <a:gd name="T13" fmla="*/ 268 h 304"/>
                <a:gd name="T14" fmla="*/ 52 w 322"/>
                <a:gd name="T15" fmla="*/ 251 h 304"/>
                <a:gd name="T16" fmla="*/ 26 w 322"/>
                <a:gd name="T17" fmla="*/ 206 h 304"/>
                <a:gd name="T18" fmla="*/ 0 w 322"/>
                <a:gd name="T19" fmla="*/ 186 h 304"/>
                <a:gd name="T20" fmla="*/ 46 w 322"/>
                <a:gd name="T21" fmla="*/ 160 h 304"/>
                <a:gd name="T22" fmla="*/ 85 w 322"/>
                <a:gd name="T23" fmla="*/ 206 h 304"/>
                <a:gd name="T24" fmla="*/ 92 w 322"/>
                <a:gd name="T25" fmla="*/ 222 h 304"/>
                <a:gd name="T26" fmla="*/ 193 w 322"/>
                <a:gd name="T27" fmla="*/ 95 h 304"/>
                <a:gd name="T28" fmla="*/ 312 w 322"/>
                <a:gd name="T29"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04">
                  <a:moveTo>
                    <a:pt x="312" y="0"/>
                  </a:moveTo>
                  <a:cubicBezTo>
                    <a:pt x="322" y="13"/>
                    <a:pt x="322" y="13"/>
                    <a:pt x="322" y="13"/>
                  </a:cubicBezTo>
                  <a:cubicBezTo>
                    <a:pt x="289" y="36"/>
                    <a:pt x="249" y="75"/>
                    <a:pt x="210" y="128"/>
                  </a:cubicBezTo>
                  <a:cubicBezTo>
                    <a:pt x="170" y="176"/>
                    <a:pt x="138" y="225"/>
                    <a:pt x="118" y="271"/>
                  </a:cubicBezTo>
                  <a:cubicBezTo>
                    <a:pt x="101" y="281"/>
                    <a:pt x="101" y="281"/>
                    <a:pt x="101" y="281"/>
                  </a:cubicBezTo>
                  <a:cubicBezTo>
                    <a:pt x="85" y="291"/>
                    <a:pt x="78" y="297"/>
                    <a:pt x="72" y="304"/>
                  </a:cubicBezTo>
                  <a:cubicBezTo>
                    <a:pt x="69" y="297"/>
                    <a:pt x="65" y="284"/>
                    <a:pt x="59" y="268"/>
                  </a:cubicBezTo>
                  <a:cubicBezTo>
                    <a:pt x="52" y="251"/>
                    <a:pt x="52" y="251"/>
                    <a:pt x="52" y="251"/>
                  </a:cubicBezTo>
                  <a:cubicBezTo>
                    <a:pt x="42" y="232"/>
                    <a:pt x="36" y="216"/>
                    <a:pt x="26" y="206"/>
                  </a:cubicBezTo>
                  <a:cubicBezTo>
                    <a:pt x="19" y="196"/>
                    <a:pt x="9" y="189"/>
                    <a:pt x="0" y="186"/>
                  </a:cubicBezTo>
                  <a:cubicBezTo>
                    <a:pt x="16" y="167"/>
                    <a:pt x="32" y="160"/>
                    <a:pt x="46" y="160"/>
                  </a:cubicBezTo>
                  <a:cubicBezTo>
                    <a:pt x="59" y="160"/>
                    <a:pt x="72" y="176"/>
                    <a:pt x="85" y="206"/>
                  </a:cubicBezTo>
                  <a:cubicBezTo>
                    <a:pt x="92" y="222"/>
                    <a:pt x="92" y="222"/>
                    <a:pt x="92" y="222"/>
                  </a:cubicBezTo>
                  <a:cubicBezTo>
                    <a:pt x="118" y="180"/>
                    <a:pt x="151" y="137"/>
                    <a:pt x="193" y="95"/>
                  </a:cubicBezTo>
                  <a:cubicBezTo>
                    <a:pt x="233" y="56"/>
                    <a:pt x="272" y="23"/>
                    <a:pt x="312" y="0"/>
                  </a:cubicBezTo>
                  <a:close/>
                </a:path>
              </a:pathLst>
            </a:custGeom>
            <a:grpFill/>
            <a:ln w="9525" cap="flat" cmpd="sng" algn="ctr">
              <a:noFill/>
              <a:prstDash val="solid"/>
              <a:round/>
              <a:headEnd type="none" w="med" len="med"/>
              <a:tailEnd type="none" w="med" len="med"/>
            </a:ln>
            <a:effectLst/>
          </p:spPr>
          <p:txBody>
            <a:bodyPr lIns="92075" tIns="46038" rIns="92075" bIns="46038" anchor="ctr"/>
            <a:lstStyle/>
            <a:p>
              <a:pPr marL="119063" indent="-119063" algn="ctr" fontAlgn="auto">
                <a:spcBef>
                  <a:spcPts val="0"/>
                </a:spcBef>
                <a:spcAft>
                  <a:spcPts val="0"/>
                </a:spcAft>
              </a:pPr>
              <a:endParaRPr lang="en-US" sz="4000" b="1" dirty="0">
                <a:solidFill>
                  <a:srgbClr val="FFFFFF"/>
                </a:solidFill>
                <a:latin typeface="Arial" pitchFamily="-106" charset="0"/>
                <a:ea typeface="ＭＳ Ｐゴシック" pitchFamily="34" charset="-128"/>
              </a:endParaRPr>
            </a:p>
          </p:txBody>
        </p:sp>
      </p:grpSp>
      <p:sp>
        <p:nvSpPr>
          <p:cNvPr id="56" name="Title 55"/>
          <p:cNvSpPr>
            <a:spLocks noGrp="1"/>
          </p:cNvSpPr>
          <p:nvPr>
            <p:ph type="title"/>
          </p:nvPr>
        </p:nvSpPr>
        <p:spPr>
          <a:xfrm>
            <a:off x="804347" y="249517"/>
            <a:ext cx="8229586" cy="406395"/>
          </a:xfrm>
        </p:spPr>
        <p:txBody>
          <a:bodyPr/>
          <a:lstStyle/>
          <a:p>
            <a:r>
              <a:rPr lang="en-US" dirty="0" smtClean="0"/>
              <a:t>Oracle PartnerNetwork Ecosystem</a:t>
            </a:r>
            <a:br>
              <a:rPr lang="en-US" dirty="0" smtClean="0"/>
            </a:b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0"/>
          <a:ext cx="158750" cy="119063"/>
        </p:xfrm>
        <a:graphic>
          <a:graphicData uri="http://schemas.openxmlformats.org/presentationml/2006/ole">
            <mc:AlternateContent xmlns:mc="http://schemas.openxmlformats.org/markup-compatibility/2006">
              <mc:Choice xmlns:v="urn:schemas-microsoft-com:vml" Requires="v">
                <p:oleObj spid="_x0000_s501764" name="think-cell Slide" r:id="rId8" imgW="0" imgH="0" progId="TCLayout.ActiveDocument.1">
                  <p:embed/>
                </p:oleObj>
              </mc:Choice>
              <mc:Fallback>
                <p:oleObj name="think-cell Slide" r:id="rId8" imgW="0" imgH="0" progId="TCLayout.ActiveDocument.1">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3"/>
            </p:custDataLst>
          </p:nvPr>
        </p:nvSpPr>
        <p:spPr bwMode="auto">
          <a:xfrm>
            <a:off x="0" y="2"/>
            <a:ext cx="9144000" cy="5195709"/>
          </a:xfrm>
          <a:prstGeom prst="rect">
            <a:avLst/>
          </a:prstGeom>
          <a:gradFill flip="none" rotWithShape="1">
            <a:gsLst>
              <a:gs pos="0">
                <a:srgbClr val="FD0000"/>
              </a:gs>
              <a:gs pos="100000">
                <a:srgbClr val="FD0000">
                  <a:lumMod val="50000"/>
                </a:srgbClr>
              </a:gs>
            </a:gsLst>
            <a:path path="circle">
              <a:fillToRect l="100000" b="100000"/>
            </a:path>
            <a:tileRect t="-100000" r="-100000"/>
          </a:gradFill>
          <a:ln w="9525" cap="flat" cmpd="sng" algn="ctr">
            <a:noFill/>
            <a:prstDash val="solid"/>
            <a:round/>
            <a:headEnd type="none" w="med" len="med"/>
            <a:tailEnd type="none" w="med" len="med"/>
          </a:ln>
          <a:effectLst/>
        </p:spPr>
        <p:txBody>
          <a:bodyPr vert="horz" wrap="square" lIns="91875" tIns="45938" rIns="91875" bIns="45938" numCol="1" rtlCol="0" anchor="t" anchorCtr="0" compatLnSpc="1">
            <a:prstTxWarp prst="textNoShape">
              <a:avLst/>
            </a:prstTxWarp>
            <a:spAutoFit/>
          </a:bodyPr>
          <a:lstStyle/>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000" b="1" kern="0" dirty="0" smtClean="0">
              <a:solidFill>
                <a:srgbClr val="000000"/>
              </a:solidFill>
              <a:ea typeface="ＭＳ Ｐゴシック" pitchFamily="34" charset="-128"/>
            </a:endParaRPr>
          </a:p>
          <a:p>
            <a:pPr marL="118803" indent="-118803" algn="ctr" defTabSz="912420" fontAlgn="base">
              <a:lnSpc>
                <a:spcPct val="90000"/>
              </a:lnSpc>
              <a:spcBef>
                <a:spcPct val="50000"/>
              </a:spcBef>
              <a:spcAft>
                <a:spcPct val="0"/>
              </a:spcAft>
              <a:buClr>
                <a:srgbClr val="FD0000"/>
              </a:buClr>
            </a:pPr>
            <a:endParaRPr lang="en-US" sz="2400" b="1" kern="0" dirty="0" smtClean="0">
              <a:solidFill>
                <a:srgbClr val="000000"/>
              </a:solidFill>
              <a:ea typeface="ＭＳ Ｐゴシック" pitchFamily="34" charset="-128"/>
            </a:endParaRPr>
          </a:p>
        </p:txBody>
      </p:sp>
      <p:pic>
        <p:nvPicPr>
          <p:cNvPr id="16" name="Picture 15" descr="Pills_Partner-FieldSales-Customers.png"/>
          <p:cNvPicPr>
            <a:picLocks noChangeAspect="1"/>
          </p:cNvPicPr>
          <p:nvPr>
            <p:custDataLst>
              <p:tags r:id="rId4"/>
            </p:custDataLst>
          </p:nvPr>
        </p:nvPicPr>
        <p:blipFill>
          <a:blip r:embed="rId9" cstate="print"/>
          <a:stretch>
            <a:fillRect/>
          </a:stretch>
        </p:blipFill>
        <p:spPr>
          <a:xfrm>
            <a:off x="820654" y="2428869"/>
            <a:ext cx="2209800" cy="2306931"/>
          </a:xfrm>
          <a:prstGeom prst="rect">
            <a:avLst/>
          </a:prstGeom>
          <a:effectLst>
            <a:outerShdw blurRad="177800" dist="101600" dir="5400000" algn="t" rotWithShape="0">
              <a:prstClr val="black">
                <a:alpha val="40000"/>
              </a:prstClr>
            </a:outerShdw>
          </a:effectLst>
        </p:spPr>
      </p:pic>
      <p:pic>
        <p:nvPicPr>
          <p:cNvPr id="14" name="Picture 4" descr="OPN_tagline_RGB_white.png"/>
          <p:cNvPicPr>
            <a:picLocks noChangeAspect="1"/>
          </p:cNvPicPr>
          <p:nvPr>
            <p:custDataLst>
              <p:tags r:id="rId5"/>
            </p:custDataLst>
          </p:nvPr>
        </p:nvPicPr>
        <p:blipFill>
          <a:blip r:embed="rId10" cstate="print"/>
          <a:stretch>
            <a:fillRect/>
          </a:stretch>
        </p:blipFill>
        <p:spPr bwMode="auto">
          <a:xfrm>
            <a:off x="873699" y="482849"/>
            <a:ext cx="2356864" cy="1016262"/>
          </a:xfrm>
          <a:prstGeom prst="rect">
            <a:avLst/>
          </a:prstGeom>
          <a:noFill/>
          <a:ln w="9525">
            <a:noFill/>
            <a:miter lim="800000"/>
            <a:headEnd/>
            <a:tailEnd/>
          </a:ln>
        </p:spPr>
      </p:pic>
      <p:pic>
        <p:nvPicPr>
          <p:cNvPr id="8" name="Picture 7" descr="OPNS_PartnerLevel_Graphic_20130813.png"/>
          <p:cNvPicPr>
            <a:picLocks noChangeAspect="1"/>
          </p:cNvPicPr>
          <p:nvPr/>
        </p:nvPicPr>
        <p:blipFill>
          <a:blip r:embed="rId11" cstate="print"/>
          <a:stretch>
            <a:fillRect/>
          </a:stretch>
        </p:blipFill>
        <p:spPr>
          <a:xfrm>
            <a:off x="4571999" y="482849"/>
            <a:ext cx="3937691" cy="4455808"/>
          </a:xfrm>
          <a:prstGeom prst="rect">
            <a:avLst/>
          </a:prstGeom>
        </p:spPr>
      </p:pic>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0" y="3451225"/>
            <a:ext cx="9144000" cy="1178408"/>
          </a:xfrm>
          <a:prstGeom prst="rect">
            <a:avLst/>
          </a:prstGeom>
          <a:gradFill>
            <a:gsLst>
              <a:gs pos="60000">
                <a:srgbClr val="EBEDEC"/>
              </a:gs>
              <a:gs pos="100000">
                <a:srgbClr val="CBD0CE"/>
              </a:gs>
              <a:gs pos="0">
                <a:schemeClr val="bg1"/>
              </a:gs>
            </a:gsLst>
            <a:lin ang="54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 </a:t>
            </a:r>
            <a:endParaRPr lang="en-US" dirty="0">
              <a:solidFill>
                <a:prstClr val="white"/>
              </a:solidFill>
            </a:endParaRPr>
          </a:p>
        </p:txBody>
      </p:sp>
      <p:sp>
        <p:nvSpPr>
          <p:cNvPr id="22" name="TextBox 21"/>
          <p:cNvSpPr txBox="1"/>
          <p:nvPr/>
        </p:nvSpPr>
        <p:spPr>
          <a:xfrm>
            <a:off x="6667930" y="3679157"/>
            <a:ext cx="2274982" cy="738664"/>
          </a:xfrm>
          <a:prstGeom prst="rect">
            <a:avLst/>
          </a:prstGeom>
          <a:noFill/>
        </p:spPr>
        <p:txBody>
          <a:bodyPr wrap="none" rtlCol="0">
            <a:spAutoFit/>
          </a:bodyPr>
          <a:lstStyle/>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Free Licenses</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Integration Opportunities</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ISV Communities</a:t>
            </a:r>
          </a:p>
        </p:txBody>
      </p:sp>
      <p:sp>
        <p:nvSpPr>
          <p:cNvPr id="43" name="Rectangle 42"/>
          <p:cNvSpPr/>
          <p:nvPr/>
        </p:nvSpPr>
        <p:spPr>
          <a:xfrm>
            <a:off x="3185411" y="3146832"/>
            <a:ext cx="2899300" cy="1239545"/>
          </a:xfrm>
          <a:prstGeom prst="rect">
            <a:avLst/>
          </a:prstGeom>
          <a:solidFill>
            <a:schemeClr val="bg1"/>
          </a:solidFill>
          <a:ln>
            <a:noFill/>
          </a:ln>
          <a:effectLst>
            <a:outerShdw blurRad="1016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spcBef>
                <a:spcPct val="0"/>
              </a:spcBef>
              <a:spcAft>
                <a:spcPct val="0"/>
              </a:spcAft>
            </a:pPr>
            <a:endParaRPr lang="en-US" sz="2400" dirty="0" smtClean="0">
              <a:solidFill>
                <a:srgbClr val="000000"/>
              </a:solidFill>
              <a:cs typeface="Arial" pitchFamily="34" charset="0"/>
            </a:endParaRPr>
          </a:p>
        </p:txBody>
      </p:sp>
      <p:sp>
        <p:nvSpPr>
          <p:cNvPr id="4" name="Title 3"/>
          <p:cNvSpPr>
            <a:spLocks noGrp="1"/>
          </p:cNvSpPr>
          <p:nvPr>
            <p:ph type="title"/>
          </p:nvPr>
        </p:nvSpPr>
        <p:spPr/>
        <p:txBody>
          <a:bodyPr/>
          <a:lstStyle/>
          <a:p>
            <a:r>
              <a:rPr lang="en-US" dirty="0" smtClean="0"/>
              <a:t>OPN Program Benefits</a:t>
            </a:r>
            <a:endParaRPr lang="en-US" dirty="0"/>
          </a:p>
        </p:txBody>
      </p:sp>
      <p:cxnSp>
        <p:nvCxnSpPr>
          <p:cNvPr id="9" name="Elbow Connector 46"/>
          <p:cNvCxnSpPr/>
          <p:nvPr/>
        </p:nvCxnSpPr>
        <p:spPr>
          <a:xfrm rot="5400000" flipH="1" flipV="1">
            <a:off x="5839981" y="1870433"/>
            <a:ext cx="836132" cy="742423"/>
          </a:xfrm>
          <a:prstGeom prst="bentConnector2">
            <a:avLst/>
          </a:prstGeom>
          <a:noFill/>
          <a:ln w="22225" cap="rnd">
            <a:gradFill flip="none" rotWithShape="1">
              <a:gsLst>
                <a:gs pos="0">
                  <a:schemeClr val="bg2">
                    <a:lumMod val="60000"/>
                    <a:lumOff val="40000"/>
                  </a:schemeClr>
                </a:gs>
                <a:gs pos="100000">
                  <a:schemeClr val="accent1"/>
                </a:gs>
              </a:gsLst>
              <a:lin ang="0" scaled="1"/>
              <a:tileRect/>
            </a:gradFill>
            <a:prstDash val="sysDot"/>
            <a:tailEnd type="oval"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 name="Elbow Connector 35"/>
          <p:cNvCxnSpPr/>
          <p:nvPr/>
        </p:nvCxnSpPr>
        <p:spPr>
          <a:xfrm rot="16200000" flipV="1">
            <a:off x="2491770" y="1870433"/>
            <a:ext cx="836132" cy="742423"/>
          </a:xfrm>
          <a:prstGeom prst="bentConnector2">
            <a:avLst/>
          </a:prstGeom>
          <a:noFill/>
          <a:ln w="22225" cap="rnd">
            <a:gradFill flip="none" rotWithShape="1">
              <a:gsLst>
                <a:gs pos="0">
                  <a:schemeClr val="bg2">
                    <a:lumMod val="60000"/>
                    <a:lumOff val="40000"/>
                  </a:schemeClr>
                </a:gs>
                <a:gs pos="100000">
                  <a:schemeClr val="accent1"/>
                </a:gs>
              </a:gsLst>
              <a:lin ang="0" scaled="1"/>
              <a:tileRect/>
            </a:gradFill>
            <a:prstDash val="sysDot"/>
            <a:tailEnd type="oval" w="med" len="med"/>
          </a:ln>
        </p:spPr>
        <p:style>
          <a:lnRef idx="2">
            <a:schemeClr val="accent1">
              <a:shade val="50000"/>
            </a:schemeClr>
          </a:lnRef>
          <a:fillRef idx="1">
            <a:schemeClr val="accent1"/>
          </a:fillRef>
          <a:effectRef idx="0">
            <a:schemeClr val="accent1"/>
          </a:effectRef>
          <a:fontRef idx="minor">
            <a:schemeClr val="lt1"/>
          </a:fontRef>
        </p:style>
      </p:cxnSp>
      <p:pic>
        <p:nvPicPr>
          <p:cNvPr id="18" name="Picture 8" descr="O_PartnerNetwork_clr.bmp"/>
          <p:cNvPicPr>
            <a:picLocks noChangeAspect="1"/>
          </p:cNvPicPr>
          <p:nvPr/>
        </p:nvPicPr>
        <p:blipFill>
          <a:blip r:embed="rId3" cstate="print"/>
          <a:srcRect t="12192" b="12192"/>
          <a:stretch>
            <a:fillRect/>
          </a:stretch>
        </p:blipFill>
        <p:spPr bwMode="auto">
          <a:xfrm>
            <a:off x="3299727" y="3314816"/>
            <a:ext cx="2670668" cy="955144"/>
          </a:xfrm>
          <a:prstGeom prst="rect">
            <a:avLst/>
          </a:prstGeom>
          <a:noFill/>
          <a:ln w="9525">
            <a:noFill/>
            <a:miter lim="800000"/>
            <a:headEnd/>
            <a:tailEnd/>
          </a:ln>
        </p:spPr>
      </p:pic>
      <p:sp>
        <p:nvSpPr>
          <p:cNvPr id="37" name="TextBox 36"/>
          <p:cNvSpPr txBox="1"/>
          <p:nvPr/>
        </p:nvSpPr>
        <p:spPr>
          <a:xfrm>
            <a:off x="848392" y="3229046"/>
            <a:ext cx="1293117" cy="461665"/>
          </a:xfrm>
          <a:prstGeom prst="rect">
            <a:avLst/>
          </a:prstGeom>
          <a:noFill/>
        </p:spPr>
        <p:txBody>
          <a:bodyPr wrap="square" rtlCol="0">
            <a:spAutoFit/>
          </a:bodyPr>
          <a:lstStyle/>
          <a:p>
            <a:pPr fontAlgn="base">
              <a:spcBef>
                <a:spcPct val="0"/>
              </a:spcBef>
              <a:spcAft>
                <a:spcPct val="0"/>
              </a:spcAft>
            </a:pPr>
            <a:r>
              <a:rPr lang="en-US" sz="2400" b="1" dirty="0" smtClean="0">
                <a:ln w="6350">
                  <a:noFill/>
                </a:ln>
                <a:gradFill>
                  <a:gsLst>
                    <a:gs pos="0">
                      <a:srgbClr val="FF1414">
                        <a:lumMod val="75000"/>
                      </a:srgbClr>
                    </a:gs>
                    <a:gs pos="100000">
                      <a:srgbClr val="FF1414">
                        <a:lumMod val="95000"/>
                      </a:srgbClr>
                    </a:gs>
                  </a:gsLst>
                  <a:lin ang="16200000" scaled="0"/>
                </a:gradFill>
                <a:cs typeface="Arial" pitchFamily="34" charset="0"/>
              </a:rPr>
              <a:t>SALES</a:t>
            </a:r>
          </a:p>
        </p:txBody>
      </p:sp>
      <p:sp>
        <p:nvSpPr>
          <p:cNvPr id="38" name="TextBox 37"/>
          <p:cNvSpPr txBox="1"/>
          <p:nvPr/>
        </p:nvSpPr>
        <p:spPr>
          <a:xfrm>
            <a:off x="286972" y="1607891"/>
            <a:ext cx="2247028" cy="461665"/>
          </a:xfrm>
          <a:prstGeom prst="rect">
            <a:avLst/>
          </a:prstGeom>
          <a:noFill/>
        </p:spPr>
        <p:txBody>
          <a:bodyPr wrap="square" rtlCol="0">
            <a:spAutoFit/>
          </a:bodyPr>
          <a:lstStyle/>
          <a:p>
            <a:pPr fontAlgn="base">
              <a:spcBef>
                <a:spcPct val="0"/>
              </a:spcBef>
              <a:spcAft>
                <a:spcPct val="0"/>
              </a:spcAft>
            </a:pPr>
            <a:r>
              <a:rPr lang="en-US" sz="2400" b="1" dirty="0" smtClean="0">
                <a:ln w="6350">
                  <a:noFill/>
                </a:ln>
                <a:gradFill>
                  <a:gsLst>
                    <a:gs pos="0">
                      <a:srgbClr val="FF1414">
                        <a:lumMod val="75000"/>
                      </a:srgbClr>
                    </a:gs>
                    <a:gs pos="100000">
                      <a:srgbClr val="FF1414">
                        <a:lumMod val="95000"/>
                      </a:srgbClr>
                    </a:gs>
                  </a:gsLst>
                  <a:lin ang="16200000" scaled="0"/>
                </a:gradFill>
                <a:cs typeface="Arial" pitchFamily="34" charset="0"/>
              </a:rPr>
              <a:t>MARKETING</a:t>
            </a:r>
          </a:p>
        </p:txBody>
      </p:sp>
      <p:sp>
        <p:nvSpPr>
          <p:cNvPr id="39" name="TextBox 38"/>
          <p:cNvSpPr txBox="1"/>
          <p:nvPr/>
        </p:nvSpPr>
        <p:spPr>
          <a:xfrm>
            <a:off x="3368424" y="835671"/>
            <a:ext cx="2342990" cy="461665"/>
          </a:xfrm>
          <a:prstGeom prst="rect">
            <a:avLst/>
          </a:prstGeom>
          <a:noFill/>
        </p:spPr>
        <p:txBody>
          <a:bodyPr wrap="square" rtlCol="0">
            <a:spAutoFit/>
          </a:bodyPr>
          <a:lstStyle/>
          <a:p>
            <a:pPr fontAlgn="base">
              <a:spcBef>
                <a:spcPct val="0"/>
              </a:spcBef>
              <a:spcAft>
                <a:spcPct val="0"/>
              </a:spcAft>
            </a:pPr>
            <a:r>
              <a:rPr lang="en-US" sz="2400" b="1" dirty="0" smtClean="0">
                <a:ln w="6350">
                  <a:noFill/>
                </a:ln>
                <a:gradFill>
                  <a:gsLst>
                    <a:gs pos="0">
                      <a:srgbClr val="FF1414">
                        <a:lumMod val="75000"/>
                      </a:srgbClr>
                    </a:gs>
                    <a:gs pos="100000">
                      <a:srgbClr val="FF1414">
                        <a:lumMod val="95000"/>
                      </a:srgbClr>
                    </a:gs>
                  </a:gsLst>
                  <a:lin ang="16200000" scaled="0"/>
                </a:gradFill>
                <a:cs typeface="Arial" pitchFamily="34" charset="0"/>
              </a:rPr>
              <a:t>ENABLEMENT</a:t>
            </a:r>
          </a:p>
        </p:txBody>
      </p:sp>
      <p:sp>
        <p:nvSpPr>
          <p:cNvPr id="40" name="TextBox 39"/>
          <p:cNvSpPr txBox="1"/>
          <p:nvPr/>
        </p:nvSpPr>
        <p:spPr>
          <a:xfrm>
            <a:off x="6694737" y="1607891"/>
            <a:ext cx="2342990" cy="461665"/>
          </a:xfrm>
          <a:prstGeom prst="rect">
            <a:avLst/>
          </a:prstGeom>
          <a:noFill/>
        </p:spPr>
        <p:txBody>
          <a:bodyPr wrap="square" rtlCol="0">
            <a:spAutoFit/>
          </a:bodyPr>
          <a:lstStyle/>
          <a:p>
            <a:pPr fontAlgn="base">
              <a:spcBef>
                <a:spcPct val="0"/>
              </a:spcBef>
              <a:spcAft>
                <a:spcPct val="0"/>
              </a:spcAft>
            </a:pPr>
            <a:r>
              <a:rPr lang="en-US" sz="2400" b="1" dirty="0" smtClean="0">
                <a:ln w="6350">
                  <a:noFill/>
                </a:ln>
                <a:gradFill>
                  <a:gsLst>
                    <a:gs pos="0">
                      <a:srgbClr val="FF1414">
                        <a:lumMod val="75000"/>
                      </a:srgbClr>
                    </a:gs>
                    <a:gs pos="100000">
                      <a:srgbClr val="FF1414">
                        <a:lumMod val="95000"/>
                      </a:srgbClr>
                    </a:gs>
                  </a:gsLst>
                  <a:lin ang="16200000" scaled="0"/>
                </a:gradFill>
                <a:cs typeface="Arial" pitchFamily="34" charset="0"/>
              </a:rPr>
              <a:t>SUPPORT</a:t>
            </a:r>
          </a:p>
        </p:txBody>
      </p:sp>
      <p:sp>
        <p:nvSpPr>
          <p:cNvPr id="41" name="TextBox 40"/>
          <p:cNvSpPr txBox="1"/>
          <p:nvPr/>
        </p:nvSpPr>
        <p:spPr>
          <a:xfrm>
            <a:off x="6462026" y="3229046"/>
            <a:ext cx="2619572" cy="461665"/>
          </a:xfrm>
          <a:prstGeom prst="rect">
            <a:avLst/>
          </a:prstGeom>
          <a:noFill/>
        </p:spPr>
        <p:txBody>
          <a:bodyPr wrap="square" rtlCol="0">
            <a:spAutoFit/>
          </a:bodyPr>
          <a:lstStyle/>
          <a:p>
            <a:pPr fontAlgn="base">
              <a:spcBef>
                <a:spcPct val="0"/>
              </a:spcBef>
              <a:spcAft>
                <a:spcPct val="0"/>
              </a:spcAft>
            </a:pPr>
            <a:r>
              <a:rPr lang="en-US" sz="2400" b="1" dirty="0" smtClean="0">
                <a:ln w="6350">
                  <a:noFill/>
                </a:ln>
                <a:gradFill>
                  <a:gsLst>
                    <a:gs pos="0">
                      <a:srgbClr val="FF1414">
                        <a:lumMod val="75000"/>
                      </a:srgbClr>
                    </a:gs>
                    <a:gs pos="100000">
                      <a:srgbClr val="FF1414">
                        <a:lumMod val="95000"/>
                      </a:srgbClr>
                    </a:gs>
                  </a:gsLst>
                  <a:lin ang="16200000" scaled="0"/>
                </a:gradFill>
                <a:cs typeface="Arial" pitchFamily="34" charset="0"/>
              </a:rPr>
              <a:t>DEVELOPMENT</a:t>
            </a:r>
          </a:p>
        </p:txBody>
      </p:sp>
      <p:sp>
        <p:nvSpPr>
          <p:cNvPr id="16" name="TextBox 15"/>
          <p:cNvSpPr txBox="1"/>
          <p:nvPr/>
        </p:nvSpPr>
        <p:spPr>
          <a:xfrm>
            <a:off x="3427126" y="1224156"/>
            <a:ext cx="2388539" cy="954107"/>
          </a:xfrm>
          <a:prstGeom prst="rect">
            <a:avLst/>
          </a:prstGeom>
          <a:noFill/>
        </p:spPr>
        <p:txBody>
          <a:bodyPr wrap="none" rtlCol="0">
            <a:spAutoFit/>
          </a:bodyPr>
          <a:lstStyle/>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Competency Center</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Free Online Training 24/7</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OU Vouchers &amp; Discounts</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BootCamps</a:t>
            </a:r>
          </a:p>
        </p:txBody>
      </p:sp>
      <p:sp>
        <p:nvSpPr>
          <p:cNvPr id="17" name="TextBox 16"/>
          <p:cNvSpPr txBox="1"/>
          <p:nvPr/>
        </p:nvSpPr>
        <p:spPr>
          <a:xfrm>
            <a:off x="6423747" y="2063003"/>
            <a:ext cx="2509598" cy="738664"/>
          </a:xfrm>
          <a:prstGeom prst="rect">
            <a:avLst/>
          </a:prstGeom>
          <a:noFill/>
        </p:spPr>
        <p:txBody>
          <a:bodyPr wrap="none" rtlCol="0">
            <a:spAutoFit/>
          </a:bodyPr>
          <a:lstStyle/>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Award Wining Tech Support</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Partner Business Center</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Oracle Technology Network</a:t>
            </a:r>
          </a:p>
        </p:txBody>
      </p:sp>
      <p:sp>
        <p:nvSpPr>
          <p:cNvPr id="19" name="TextBox 18"/>
          <p:cNvSpPr txBox="1"/>
          <p:nvPr/>
        </p:nvSpPr>
        <p:spPr>
          <a:xfrm>
            <a:off x="360782" y="2063003"/>
            <a:ext cx="1877437" cy="738664"/>
          </a:xfrm>
          <a:prstGeom prst="rect">
            <a:avLst/>
          </a:prstGeom>
          <a:noFill/>
        </p:spPr>
        <p:txBody>
          <a:bodyPr wrap="none" rtlCol="0">
            <a:spAutoFit/>
          </a:bodyPr>
          <a:lstStyle/>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Branding &amp; Logos</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Marketing Materials</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Solutions Catalog</a:t>
            </a:r>
          </a:p>
        </p:txBody>
      </p:sp>
      <p:sp>
        <p:nvSpPr>
          <p:cNvPr id="21" name="TextBox 20"/>
          <p:cNvSpPr txBox="1"/>
          <p:nvPr/>
        </p:nvSpPr>
        <p:spPr>
          <a:xfrm>
            <a:off x="297175" y="3679157"/>
            <a:ext cx="2824812" cy="738664"/>
          </a:xfrm>
          <a:prstGeom prst="rect">
            <a:avLst/>
          </a:prstGeom>
          <a:noFill/>
        </p:spPr>
        <p:txBody>
          <a:bodyPr wrap="none" rtlCol="0">
            <a:spAutoFit/>
          </a:bodyPr>
          <a:lstStyle/>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Opportunity Registration</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Referral &amp; Registration Benefits</a:t>
            </a:r>
          </a:p>
          <a:p>
            <a:pPr fontAlgn="base">
              <a:spcBef>
                <a:spcPct val="0"/>
              </a:spcBef>
              <a:spcAft>
                <a:spcPct val="0"/>
              </a:spcAft>
              <a:buClr>
                <a:srgbClr val="FF1414"/>
              </a:buClr>
              <a:buFont typeface="Wingdings" pitchFamily="2" charset="2"/>
              <a:buChar char="§"/>
            </a:pPr>
            <a:r>
              <a:rPr lang="en-US" sz="1400" dirty="0" smtClean="0">
                <a:solidFill>
                  <a:srgbClr val="424545"/>
                </a:solidFill>
                <a:cs typeface="Arial" pitchFamily="34" charset="0"/>
              </a:rPr>
              <a:t> OPN Incentive Program</a:t>
            </a:r>
          </a:p>
        </p:txBody>
      </p:sp>
      <p:cxnSp>
        <p:nvCxnSpPr>
          <p:cNvPr id="36" name="Elbow Connector 35"/>
          <p:cNvCxnSpPr/>
          <p:nvPr/>
        </p:nvCxnSpPr>
        <p:spPr>
          <a:xfrm>
            <a:off x="6329227" y="3017247"/>
            <a:ext cx="1309235" cy="164174"/>
          </a:xfrm>
          <a:prstGeom prst="bentConnector2">
            <a:avLst/>
          </a:prstGeom>
          <a:noFill/>
          <a:ln w="22225" cap="rnd">
            <a:gradFill flip="none" rotWithShape="1">
              <a:gsLst>
                <a:gs pos="0">
                  <a:schemeClr val="bg2">
                    <a:lumMod val="60000"/>
                    <a:lumOff val="40000"/>
                  </a:schemeClr>
                </a:gs>
                <a:gs pos="100000">
                  <a:schemeClr val="accent1"/>
                </a:gs>
              </a:gsLst>
              <a:lin ang="0" scaled="1"/>
              <a:tileRect/>
            </a:gradFill>
            <a:prstDash val="sysDot"/>
            <a:tailEnd type="oval" w="med" len="med"/>
          </a:ln>
        </p:spPr>
        <p:style>
          <a:lnRef idx="2">
            <a:schemeClr val="accent1">
              <a:shade val="50000"/>
            </a:schemeClr>
          </a:lnRef>
          <a:fillRef idx="1">
            <a:schemeClr val="accent1"/>
          </a:fillRef>
          <a:effectRef idx="0">
            <a:schemeClr val="accent1"/>
          </a:effectRef>
          <a:fontRef idx="minor">
            <a:schemeClr val="lt1"/>
          </a:fontRef>
        </p:style>
      </p:cxnSp>
      <p:cxnSp>
        <p:nvCxnSpPr>
          <p:cNvPr id="63" name="Elbow Connector 35"/>
          <p:cNvCxnSpPr/>
          <p:nvPr/>
        </p:nvCxnSpPr>
        <p:spPr>
          <a:xfrm flipH="1">
            <a:off x="1500323" y="3007722"/>
            <a:ext cx="1309235" cy="164174"/>
          </a:xfrm>
          <a:prstGeom prst="bentConnector2">
            <a:avLst/>
          </a:prstGeom>
          <a:noFill/>
          <a:ln w="22225" cap="rnd">
            <a:gradFill flip="none" rotWithShape="1">
              <a:gsLst>
                <a:gs pos="0">
                  <a:schemeClr val="bg2">
                    <a:lumMod val="60000"/>
                    <a:lumOff val="40000"/>
                  </a:schemeClr>
                </a:gs>
                <a:gs pos="100000">
                  <a:schemeClr val="accent1"/>
                </a:gs>
              </a:gsLst>
              <a:lin ang="0" scaled="1"/>
              <a:tileRect/>
            </a:gradFill>
            <a:prstDash val="sysDot"/>
            <a:tailEnd type="oval" w="med" len="med"/>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ChangeArrowheads="1"/>
          </p:cNvSpPr>
          <p:nvPr/>
        </p:nvSpPr>
        <p:spPr bwMode="auto">
          <a:xfrm>
            <a:off x="0" y="0"/>
            <a:ext cx="9155113" cy="5143500"/>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109" tIns="17044" rIns="34109" bIns="17044" anchor="ctr"/>
          <a:lstStyle/>
          <a:p>
            <a:pPr marL="43825" indent="-43825" algn="ctr" fontAlgn="base">
              <a:lnSpc>
                <a:spcPct val="90000"/>
              </a:lnSpc>
              <a:spcBef>
                <a:spcPct val="50000"/>
              </a:spcBef>
              <a:spcAft>
                <a:spcPct val="0"/>
              </a:spcAft>
              <a:buClr>
                <a:srgbClr val="667263"/>
              </a:buClr>
              <a:defRPr/>
            </a:pPr>
            <a:endParaRPr lang="en-US" sz="700" b="1" dirty="0">
              <a:solidFill>
                <a:srgbClr val="000000"/>
              </a:solidFill>
              <a:latin typeface="Arial" pitchFamily="34" charset="0"/>
              <a:ea typeface="ＭＳ Ｐゴシック" pitchFamily="34" charset="-128"/>
              <a:cs typeface="Arial" pitchFamily="34" charset="0"/>
            </a:endParaRPr>
          </a:p>
        </p:txBody>
      </p:sp>
      <p:sp>
        <p:nvSpPr>
          <p:cNvPr id="277507" name="Rectangle 3"/>
          <p:cNvSpPr>
            <a:spLocks noChangeArrowheads="1"/>
          </p:cNvSpPr>
          <p:nvPr/>
        </p:nvSpPr>
        <p:spPr bwMode="auto">
          <a:xfrm>
            <a:off x="0" y="4629150"/>
            <a:ext cx="9144000" cy="228600"/>
          </a:xfrm>
          <a:prstGeom prst="rect">
            <a:avLst/>
          </a:prstGeom>
          <a:noFill/>
          <a:ln w="9525">
            <a:noFill/>
            <a:miter lim="800000"/>
            <a:headEnd type="none" w="sm" len="sm"/>
            <a:tailEnd type="none" w="sm" len="sm"/>
          </a:ln>
        </p:spPr>
        <p:txBody>
          <a:bodyPr wrap="none" lIns="90814" tIns="45407" rIns="90814" bIns="45407" anchor="ctr"/>
          <a:lstStyle/>
          <a:p>
            <a:pPr algn="ctr" defTabSz="908050" fontAlgn="base">
              <a:lnSpc>
                <a:spcPct val="90000"/>
              </a:lnSpc>
              <a:spcBef>
                <a:spcPct val="50000"/>
              </a:spcBef>
              <a:spcAft>
                <a:spcPct val="0"/>
              </a:spcAft>
              <a:buClr>
                <a:srgbClr val="667263"/>
              </a:buClr>
            </a:pPr>
            <a:endParaRPr lang="en-US" sz="1900" b="1" dirty="0">
              <a:solidFill>
                <a:srgbClr val="000000"/>
              </a:solidFill>
              <a:latin typeface="Arial" pitchFamily="34" charset="0"/>
              <a:ea typeface="ＭＳ Ｐゴシック" pitchFamily="34" charset="-128"/>
              <a:cs typeface="Arial" pitchFamily="34" charset="0"/>
            </a:endParaRPr>
          </a:p>
        </p:txBody>
      </p:sp>
      <p:pic>
        <p:nvPicPr>
          <p:cNvPr id="35845" name="Picture 5"/>
          <p:cNvPicPr>
            <a:picLocks noChangeAspect="1" noChangeArrowheads="1"/>
          </p:cNvPicPr>
          <p:nvPr/>
        </p:nvPicPr>
        <p:blipFill>
          <a:blip r:embed="rId3" cstate="print"/>
          <a:srcRect/>
          <a:stretch>
            <a:fillRect/>
          </a:stretch>
        </p:blipFill>
        <p:spPr bwMode="auto">
          <a:xfrm>
            <a:off x="1554163" y="2200275"/>
            <a:ext cx="6035675" cy="742950"/>
          </a:xfrm>
          <a:prstGeom prst="rect">
            <a:avLst/>
          </a:prstGeom>
          <a:noFill/>
          <a:ln w="9525" algn="ctr">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5845"/>
                                        </p:tgtEl>
                                        <p:attrNameLst>
                                          <p:attrName>style.visibility</p:attrName>
                                        </p:attrNameLst>
                                      </p:cBhvr>
                                      <p:to>
                                        <p:strVal val="visible"/>
                                      </p:to>
                                    </p:set>
                                    <p:animEffect transition="in" filter="fade">
                                      <p:cBhvr>
                                        <p:cTn id="7" dur="1000"/>
                                        <p:tgtEl>
                                          <p:spTgt spid="35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65931" y="3935507"/>
            <a:ext cx="4957483" cy="493059"/>
          </a:xfrm>
          <a:prstGeom prst="rect">
            <a:avLst/>
          </a:prstGeom>
          <a:noFill/>
          <a:ln>
            <a:noFill/>
          </a:ln>
        </p:spPr>
        <p:txBody>
          <a:bodyPr wrap="square" lIns="0" tIns="0" rIns="0" bIns="0" rtlCol="0">
            <a:noAutofit/>
          </a:bodyPr>
          <a:lstStyle/>
          <a:p>
            <a:pPr marL="111125" indent="-111125" algn="l">
              <a:buClr>
                <a:schemeClr val="tx2"/>
              </a:buClr>
            </a:pPr>
            <a:endParaRPr lang="en-US" sz="1800" dirty="0" smtClean="0"/>
          </a:p>
        </p:txBody>
      </p:sp>
      <p:sp>
        <p:nvSpPr>
          <p:cNvPr id="7" name="TextBox 6"/>
          <p:cNvSpPr txBox="1"/>
          <p:nvPr/>
        </p:nvSpPr>
        <p:spPr>
          <a:xfrm>
            <a:off x="2994212" y="3935507"/>
            <a:ext cx="5038164" cy="502023"/>
          </a:xfrm>
          <a:prstGeom prst="rect">
            <a:avLst/>
          </a:prstGeom>
          <a:noFill/>
          <a:ln>
            <a:noFill/>
          </a:ln>
        </p:spPr>
        <p:txBody>
          <a:bodyPr wrap="square" lIns="0" tIns="0" rIns="0" bIns="0" rtlCol="0">
            <a:noAutofit/>
          </a:bodyPr>
          <a:lstStyle/>
          <a:p>
            <a:pPr marL="111125" indent="-111125" algn="l">
              <a:buClr>
                <a:schemeClr val="tx2"/>
              </a:buClr>
            </a:pPr>
            <a:endParaRPr lang="en-US" sz="1800" dirty="0" smtClean="0"/>
          </a:p>
        </p:txBody>
      </p:sp>
      <p:sp>
        <p:nvSpPr>
          <p:cNvPr id="8" name="TextBox 7"/>
          <p:cNvSpPr txBox="1"/>
          <p:nvPr/>
        </p:nvSpPr>
        <p:spPr>
          <a:xfrm>
            <a:off x="2317899" y="2495995"/>
            <a:ext cx="1467291" cy="461665"/>
          </a:xfrm>
          <a:prstGeom prst="rect">
            <a:avLst/>
          </a:prstGeom>
          <a:solidFill>
            <a:schemeClr val="accent1">
              <a:lumMod val="60000"/>
              <a:lumOff val="40000"/>
            </a:schemeClr>
          </a:solidFill>
          <a:effectLst>
            <a:glow rad="63500">
              <a:schemeClr val="accent1">
                <a:satMod val="175000"/>
                <a:alpha val="40000"/>
              </a:schemeClr>
            </a:glow>
          </a:effectLst>
        </p:spPr>
        <p:txBody>
          <a:bodyPr wrap="square" rtlCol="0">
            <a:spAutoFit/>
          </a:bodyPr>
          <a:lstStyle/>
          <a:p>
            <a:r>
              <a:rPr lang="en-US" sz="1200" dirty="0" smtClean="0"/>
              <a:t>Hardware (HW) Channel Managers</a:t>
            </a:r>
            <a:endParaRPr lang="en-US" sz="1200" dirty="0"/>
          </a:p>
        </p:txBody>
      </p:sp>
      <p:sp>
        <p:nvSpPr>
          <p:cNvPr id="9" name="TextBox 8"/>
          <p:cNvSpPr txBox="1"/>
          <p:nvPr/>
        </p:nvSpPr>
        <p:spPr>
          <a:xfrm>
            <a:off x="4997302" y="2511941"/>
            <a:ext cx="1488558" cy="461665"/>
          </a:xfrm>
          <a:prstGeom prst="rect">
            <a:avLst/>
          </a:prstGeom>
          <a:solidFill>
            <a:schemeClr val="accent1">
              <a:lumMod val="60000"/>
              <a:lumOff val="40000"/>
            </a:schemeClr>
          </a:solidFill>
          <a:effectLst>
            <a:glow rad="63500">
              <a:schemeClr val="accent1">
                <a:satMod val="175000"/>
                <a:alpha val="40000"/>
              </a:schemeClr>
            </a:glow>
          </a:effectLst>
        </p:spPr>
        <p:txBody>
          <a:bodyPr wrap="square" rtlCol="0">
            <a:spAutoFit/>
          </a:bodyPr>
          <a:lstStyle/>
          <a:p>
            <a:r>
              <a:rPr lang="en-US" sz="1200" dirty="0" smtClean="0"/>
              <a:t>Software (SW) Channel Managers</a:t>
            </a:r>
            <a:endParaRPr lang="en-US" sz="1200" dirty="0"/>
          </a:p>
        </p:txBody>
      </p:sp>
      <p:sp>
        <p:nvSpPr>
          <p:cNvPr id="10" name="TextBox 9"/>
          <p:cNvSpPr txBox="1"/>
          <p:nvPr/>
        </p:nvSpPr>
        <p:spPr>
          <a:xfrm>
            <a:off x="3456380" y="1470215"/>
            <a:ext cx="1967022" cy="523220"/>
          </a:xfrm>
          <a:prstGeom prst="rect">
            <a:avLst/>
          </a:prstGeom>
          <a:solidFill>
            <a:schemeClr val="accent1">
              <a:lumMod val="60000"/>
              <a:lumOff val="40000"/>
            </a:schemeClr>
          </a:solidFill>
          <a:effectLst>
            <a:glow rad="63500">
              <a:schemeClr val="accent1">
                <a:satMod val="175000"/>
                <a:alpha val="40000"/>
              </a:schemeClr>
            </a:glow>
          </a:effectLst>
        </p:spPr>
        <p:txBody>
          <a:bodyPr wrap="square" rtlCol="0">
            <a:spAutoFit/>
          </a:bodyPr>
          <a:lstStyle/>
          <a:p>
            <a:r>
              <a:rPr lang="en-US" sz="1400" dirty="0" smtClean="0"/>
              <a:t>Engineered Systems  </a:t>
            </a:r>
          </a:p>
          <a:p>
            <a:r>
              <a:rPr lang="en-US" sz="1400" dirty="0" smtClean="0"/>
              <a:t>Channel Managers</a:t>
            </a:r>
            <a:endParaRPr lang="en-US" sz="1400" dirty="0"/>
          </a:p>
        </p:txBody>
      </p:sp>
      <p:sp>
        <p:nvSpPr>
          <p:cNvPr id="11" name="TextBox 10"/>
          <p:cNvSpPr txBox="1"/>
          <p:nvPr/>
        </p:nvSpPr>
        <p:spPr>
          <a:xfrm>
            <a:off x="2093818" y="2064046"/>
            <a:ext cx="4646428" cy="338554"/>
          </a:xfrm>
          <a:prstGeom prst="rect">
            <a:avLst/>
          </a:prstGeom>
          <a:solidFill>
            <a:schemeClr val="accent1">
              <a:lumMod val="60000"/>
              <a:lumOff val="40000"/>
            </a:schemeClr>
          </a:solidFill>
          <a:effectLst>
            <a:glow rad="63500">
              <a:schemeClr val="accent1">
                <a:satMod val="175000"/>
                <a:alpha val="40000"/>
              </a:schemeClr>
            </a:glow>
          </a:effectLst>
        </p:spPr>
        <p:txBody>
          <a:bodyPr wrap="square" rtlCol="0">
            <a:spAutoFit/>
          </a:bodyPr>
          <a:lstStyle/>
          <a:p>
            <a:r>
              <a:rPr lang="en-US" sz="1600" dirty="0" smtClean="0"/>
              <a:t>Team Leads Responsible for all CM’s in Geo’s</a:t>
            </a:r>
            <a:endParaRPr lang="en-US" sz="1600" dirty="0"/>
          </a:p>
        </p:txBody>
      </p:sp>
      <p:sp>
        <p:nvSpPr>
          <p:cNvPr id="12" name="TextBox 11"/>
          <p:cNvSpPr txBox="1"/>
          <p:nvPr/>
        </p:nvSpPr>
        <p:spPr>
          <a:xfrm>
            <a:off x="548640" y="3077860"/>
            <a:ext cx="8081010" cy="1384995"/>
          </a:xfrm>
          <a:prstGeom prst="rect">
            <a:avLst/>
          </a:prstGeom>
          <a:solidFill>
            <a:srgbClr val="FFC000"/>
          </a:solidFill>
          <a:effectLst>
            <a:glow rad="228600">
              <a:schemeClr val="accent4">
                <a:satMod val="175000"/>
                <a:alpha val="40000"/>
              </a:schemeClr>
            </a:glow>
          </a:effectLst>
        </p:spPr>
        <p:txBody>
          <a:bodyPr wrap="square" rtlCol="0">
            <a:spAutoFit/>
          </a:bodyPr>
          <a:lstStyle/>
          <a:p>
            <a:pPr algn="ctr"/>
            <a:r>
              <a:rPr lang="en-US" sz="1200" dirty="0" smtClean="0"/>
              <a:t>Government Resell Programs Group</a:t>
            </a:r>
          </a:p>
          <a:p>
            <a:pPr algn="ctr"/>
            <a:r>
              <a:rPr lang="en-US" sz="1200" dirty="0" smtClean="0"/>
              <a:t>Supports the Entire Public Sector Channel Organization</a:t>
            </a:r>
          </a:p>
          <a:p>
            <a:pPr>
              <a:buFont typeface="Wingdings" pitchFamily="2" charset="2"/>
              <a:buChar char="§"/>
            </a:pPr>
            <a:r>
              <a:rPr lang="en-US" sz="1000" b="0" dirty="0" smtClean="0"/>
              <a:t>Responsible for managing all Oracle held and partner held non-standard contract vehicle requests</a:t>
            </a:r>
          </a:p>
          <a:p>
            <a:pPr>
              <a:buFont typeface="Wingdings" pitchFamily="2" charset="2"/>
              <a:buChar char="§"/>
            </a:pPr>
            <a:r>
              <a:rPr lang="en-US" sz="1000" b="0" dirty="0" smtClean="0"/>
              <a:t>All partner requests for adding Oracle products to programs and or contracts</a:t>
            </a:r>
          </a:p>
          <a:p>
            <a:pPr>
              <a:buFont typeface="Wingdings" pitchFamily="2" charset="2"/>
              <a:buChar char="§"/>
            </a:pPr>
            <a:r>
              <a:rPr lang="en-US" sz="1000" b="0" dirty="0" smtClean="0"/>
              <a:t>Manages partner compliance with PSA, FUDA and OPN agreement</a:t>
            </a:r>
          </a:p>
          <a:p>
            <a:pPr>
              <a:buFont typeface="Wingdings" pitchFamily="2" charset="2"/>
              <a:buChar char="§"/>
            </a:pPr>
            <a:r>
              <a:rPr lang="en-US" sz="1000" b="0" dirty="0" smtClean="0"/>
              <a:t>All Public Sector due diligent issues</a:t>
            </a:r>
          </a:p>
          <a:p>
            <a:pPr>
              <a:buFont typeface="Wingdings" pitchFamily="2" charset="2"/>
              <a:buChar char="§"/>
            </a:pPr>
            <a:r>
              <a:rPr lang="en-US" sz="1000" b="0" dirty="0" smtClean="0"/>
              <a:t>Partner business practices and Public Sector business strategy</a:t>
            </a:r>
          </a:p>
          <a:p>
            <a:pPr>
              <a:buFont typeface="Wingdings" pitchFamily="2" charset="2"/>
              <a:buChar char="§"/>
            </a:pPr>
            <a:r>
              <a:rPr lang="en-US" sz="1000" b="0" dirty="0" smtClean="0"/>
              <a:t>Compliance training and facilities visits</a:t>
            </a:r>
            <a:endParaRPr lang="en-US" sz="1000" b="0" dirty="0"/>
          </a:p>
        </p:txBody>
      </p:sp>
      <p:sp>
        <p:nvSpPr>
          <p:cNvPr id="13" name="TextBox 12"/>
          <p:cNvSpPr txBox="1"/>
          <p:nvPr/>
        </p:nvSpPr>
        <p:spPr>
          <a:xfrm>
            <a:off x="220095" y="999726"/>
            <a:ext cx="2296632" cy="33855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600" dirty="0" smtClean="0"/>
              <a:t>Manager Federal SI’s  </a:t>
            </a:r>
            <a:endParaRPr lang="en-US" sz="1600" dirty="0"/>
          </a:p>
        </p:txBody>
      </p:sp>
      <p:sp>
        <p:nvSpPr>
          <p:cNvPr id="14" name="TextBox 13"/>
          <p:cNvSpPr txBox="1"/>
          <p:nvPr/>
        </p:nvSpPr>
        <p:spPr>
          <a:xfrm>
            <a:off x="2922362" y="984841"/>
            <a:ext cx="2317897" cy="33855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600" dirty="0" smtClean="0"/>
              <a:t>Manager SLG/Canada</a:t>
            </a:r>
          </a:p>
        </p:txBody>
      </p:sp>
      <p:sp>
        <p:nvSpPr>
          <p:cNvPr id="15" name="TextBox 14"/>
          <p:cNvSpPr txBox="1"/>
          <p:nvPr/>
        </p:nvSpPr>
        <p:spPr>
          <a:xfrm>
            <a:off x="5550993" y="969955"/>
            <a:ext cx="1903227" cy="33855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600" dirty="0" smtClean="0"/>
              <a:t>Manager Federal</a:t>
            </a:r>
            <a:endParaRPr lang="en-US" sz="1600" dirty="0"/>
          </a:p>
        </p:txBody>
      </p:sp>
      <p:sp>
        <p:nvSpPr>
          <p:cNvPr id="16" name="TextBox 15"/>
          <p:cNvSpPr txBox="1"/>
          <p:nvPr/>
        </p:nvSpPr>
        <p:spPr>
          <a:xfrm>
            <a:off x="7839386" y="989359"/>
            <a:ext cx="871870" cy="33855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600" dirty="0" smtClean="0"/>
              <a:t>GRPG</a:t>
            </a:r>
            <a:endParaRPr lang="en-US" sz="1600" dirty="0"/>
          </a:p>
        </p:txBody>
      </p:sp>
      <p:cxnSp>
        <p:nvCxnSpPr>
          <p:cNvPr id="18" name="Straight Arrow Connector 17"/>
          <p:cNvCxnSpPr/>
          <p:nvPr/>
        </p:nvCxnSpPr>
        <p:spPr bwMode="auto">
          <a:xfrm>
            <a:off x="3189767" y="1953733"/>
            <a:ext cx="0" cy="167462"/>
          </a:xfrm>
          <a:prstGeom prst="straightConnector1">
            <a:avLst/>
          </a:prstGeom>
          <a:noFill/>
          <a:ln w="9525" cap="flat" cmpd="sng" algn="ctr">
            <a:noFill/>
            <a:prstDash val="solid"/>
            <a:round/>
            <a:headEnd type="none" w="med" len="med"/>
            <a:tailEnd type="arrow"/>
          </a:ln>
          <a:effectLst/>
        </p:spPr>
      </p:cxnSp>
      <p:sp>
        <p:nvSpPr>
          <p:cNvPr id="20" name="Down Arrow 19"/>
          <p:cNvSpPr/>
          <p:nvPr/>
        </p:nvSpPr>
        <p:spPr bwMode="auto">
          <a:xfrm>
            <a:off x="2902689" y="2033477"/>
            <a:ext cx="318977" cy="448692"/>
          </a:xfrm>
          <a:prstGeom prst="downArrow">
            <a:avLst/>
          </a:prstGeom>
          <a:noFill/>
          <a:ln w="9525" cap="flat" cmpd="sng" algn="ctr">
            <a:noFill/>
            <a:prstDash val="solid"/>
            <a:round/>
            <a:headEnd type="none" w="med" len="med"/>
            <a:tailEnd type="none" w="med" len="med"/>
          </a:ln>
          <a:effectLst/>
        </p:spPr>
        <p:txBody>
          <a:bodyPr vert="horz" wrap="square" lIns="92075" tIns="46038" rIns="92075" bIns="46038" numCol="1" rtlCol="0" anchor="t" anchorCtr="0" compatLnSpc="1">
            <a:prstTxWarp prst="textNoShape">
              <a:avLst/>
            </a:prstTxWarp>
            <a:spAutoFit/>
          </a:bodyPr>
          <a:lstStyle/>
          <a:p>
            <a:pPr marL="119063" marR="0" indent="-119063" algn="ctr" defTabSz="914400" rtl="0" eaLnBrk="1" fontAlgn="base" latinLnBrk="0" hangingPunct="1">
              <a:lnSpc>
                <a:spcPct val="90000"/>
              </a:lnSpc>
              <a:spcBef>
                <a:spcPct val="50000"/>
              </a:spcBef>
              <a:spcAft>
                <a:spcPct val="0"/>
              </a:spcAft>
              <a:buClr>
                <a:schemeClr val="accent1"/>
              </a:buClr>
              <a:buSzTx/>
              <a:buFontTx/>
              <a:buNone/>
              <a:tabLst/>
            </a:pPr>
            <a:endParaRPr kumimoji="0" lang="en-US" sz="2000" b="1" i="0" u="none" strike="noStrike" cap="none" normalizeH="0" baseline="0" dirty="0" smtClean="0">
              <a:ln>
                <a:noFill/>
              </a:ln>
              <a:solidFill>
                <a:schemeClr val="tx1"/>
              </a:solidFill>
              <a:effectLst/>
              <a:latin typeface="Arial" charset="0"/>
            </a:endParaRPr>
          </a:p>
        </p:txBody>
      </p:sp>
      <p:sp>
        <p:nvSpPr>
          <p:cNvPr id="21" name="TextBox 20"/>
          <p:cNvSpPr txBox="1"/>
          <p:nvPr/>
        </p:nvSpPr>
        <p:spPr>
          <a:xfrm>
            <a:off x="1670109" y="225677"/>
            <a:ext cx="5486400" cy="369332"/>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dirty="0" smtClean="0"/>
              <a:t>VP North America Public Sector Channels</a:t>
            </a:r>
            <a:endParaRPr lang="en-US" dirty="0"/>
          </a:p>
        </p:txBody>
      </p:sp>
      <p:cxnSp>
        <p:nvCxnSpPr>
          <p:cNvPr id="19" name="Straight Arrow Connector 18"/>
          <p:cNvCxnSpPr>
            <a:stCxn id="16" idx="2"/>
          </p:cNvCxnSpPr>
          <p:nvPr/>
        </p:nvCxnSpPr>
        <p:spPr>
          <a:xfrm flipH="1">
            <a:off x="7863840" y="1327913"/>
            <a:ext cx="411481" cy="165531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84"/>
          <p:cNvSpPr>
            <a:spLocks noChangeArrowheads="1"/>
          </p:cNvSpPr>
          <p:nvPr/>
        </p:nvSpPr>
        <p:spPr bwMode="auto">
          <a:xfrm>
            <a:off x="3656457" y="1417320"/>
            <a:ext cx="3154680" cy="612648"/>
          </a:xfrm>
          <a:prstGeom prst="rect">
            <a:avLst/>
          </a:prstGeom>
          <a:gradFill flip="none" rotWithShape="1">
            <a:gsLst>
              <a:gs pos="0">
                <a:srgbClr val="C80000"/>
              </a:gs>
              <a:gs pos="100000">
                <a:srgbClr val="FF1414"/>
              </a:gs>
            </a:gsLst>
            <a:lin ang="16200000" scaled="1"/>
            <a:tileRect/>
          </a:gradFill>
          <a:ln>
            <a:noFill/>
          </a:ln>
          <a:extLst/>
        </p:spPr>
        <p:txBody>
          <a:bodyPr wrap="square" lIns="91420" tIns="45710" rIns="0" bIns="45710" anchor="b"/>
          <a:lstStyle/>
          <a:p>
            <a:pPr defTabSz="914202">
              <a:defRPr/>
            </a:pPr>
            <a:endParaRPr lang="en-US" sz="700" kern="0" dirty="0">
              <a:solidFill>
                <a:srgbClr val="FFFFFF"/>
              </a:solidFill>
              <a:ea typeface="ヒラギノ角ゴ Pro W3"/>
              <a:cs typeface="ヒラギノ角ゴ Pro W3"/>
            </a:endParaRPr>
          </a:p>
        </p:txBody>
      </p:sp>
      <p:sp>
        <p:nvSpPr>
          <p:cNvPr id="2" name="Title 1"/>
          <p:cNvSpPr>
            <a:spLocks noGrp="1"/>
          </p:cNvSpPr>
          <p:nvPr>
            <p:ph type="title"/>
          </p:nvPr>
        </p:nvSpPr>
        <p:spPr/>
        <p:txBody>
          <a:bodyPr/>
          <a:lstStyle/>
          <a:p>
            <a:pPr lvl="0"/>
            <a:r>
              <a:rPr lang="en-US" dirty="0" smtClean="0"/>
              <a:t>Oracle Corporation</a:t>
            </a:r>
            <a:endParaRPr lang="en-US" dirty="0"/>
          </a:p>
        </p:txBody>
      </p:sp>
      <p:sp>
        <p:nvSpPr>
          <p:cNvPr id="5" name="Freeform 5"/>
          <p:cNvSpPr>
            <a:spLocks/>
          </p:cNvSpPr>
          <p:nvPr/>
        </p:nvSpPr>
        <p:spPr bwMode="auto">
          <a:xfrm>
            <a:off x="3773786" y="1435608"/>
            <a:ext cx="527378" cy="551260"/>
          </a:xfrm>
          <a:custGeom>
            <a:avLst/>
            <a:gdLst>
              <a:gd name="T0" fmla="*/ 2147483647 w 3372"/>
              <a:gd name="T1" fmla="*/ 2147483647 h 3524"/>
              <a:gd name="T2" fmla="*/ 2147483647 w 3372"/>
              <a:gd name="T3" fmla="*/ 2147483647 h 3524"/>
              <a:gd name="T4" fmla="*/ 2147483647 w 3372"/>
              <a:gd name="T5" fmla="*/ 2147483647 h 3524"/>
              <a:gd name="T6" fmla="*/ 2147483647 w 3372"/>
              <a:gd name="T7" fmla="*/ 2147483647 h 3524"/>
              <a:gd name="T8" fmla="*/ 0 w 3372"/>
              <a:gd name="T9" fmla="*/ 2147483647 h 3524"/>
              <a:gd name="T10" fmla="*/ 2147483647 w 3372"/>
              <a:gd name="T11" fmla="*/ 2147483647 h 3524"/>
              <a:gd name="T12" fmla="*/ 2147483647 w 3372"/>
              <a:gd name="T13" fmla="*/ 2147483647 h 3524"/>
              <a:gd name="T14" fmla="*/ 2147483647 w 3372"/>
              <a:gd name="T15" fmla="*/ 2147483647 h 3524"/>
              <a:gd name="T16" fmla="*/ 2147483647 w 3372"/>
              <a:gd name="T17" fmla="*/ 2147483647 h 3524"/>
              <a:gd name="T18" fmla="*/ 2147483647 w 3372"/>
              <a:gd name="T19" fmla="*/ 2147483647 h 3524"/>
              <a:gd name="T20" fmla="*/ 2147483647 w 3372"/>
              <a:gd name="T21" fmla="*/ 2147483647 h 3524"/>
              <a:gd name="T22" fmla="*/ 2147483647 w 3372"/>
              <a:gd name="T23" fmla="*/ 2147483647 h 3524"/>
              <a:gd name="T24" fmla="*/ 2147483647 w 3372"/>
              <a:gd name="T25" fmla="*/ 2147483647 h 3524"/>
              <a:gd name="T26" fmla="*/ 0 w 3372"/>
              <a:gd name="T27" fmla="*/ 2147483647 h 3524"/>
              <a:gd name="T28" fmla="*/ 2147483647 w 3372"/>
              <a:gd name="T29" fmla="*/ 2147483647 h 35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72"/>
              <a:gd name="T46" fmla="*/ 0 h 3524"/>
              <a:gd name="T47" fmla="*/ 3372 w 3372"/>
              <a:gd name="T48" fmla="*/ 3524 h 35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72" h="3524">
                <a:moveTo>
                  <a:pt x="1585" y="3503"/>
                </a:moveTo>
                <a:cubicBezTo>
                  <a:pt x="2573" y="3524"/>
                  <a:pt x="3372" y="2713"/>
                  <a:pt x="3345" y="1731"/>
                </a:cubicBezTo>
                <a:cubicBezTo>
                  <a:pt x="3330" y="1222"/>
                  <a:pt x="3108" y="812"/>
                  <a:pt x="2821" y="533"/>
                </a:cubicBezTo>
                <a:cubicBezTo>
                  <a:pt x="2544" y="264"/>
                  <a:pt x="2113" y="0"/>
                  <a:pt x="1523" y="46"/>
                </a:cubicBezTo>
                <a:cubicBezTo>
                  <a:pt x="720" y="109"/>
                  <a:pt x="248" y="560"/>
                  <a:pt x="0" y="1207"/>
                </a:cubicBezTo>
                <a:cubicBezTo>
                  <a:pt x="691" y="1207"/>
                  <a:pt x="1381" y="1207"/>
                  <a:pt x="2072" y="1207"/>
                </a:cubicBezTo>
                <a:cubicBezTo>
                  <a:pt x="2074" y="1066"/>
                  <a:pt x="2070" y="826"/>
                  <a:pt x="2072" y="645"/>
                </a:cubicBezTo>
                <a:cubicBezTo>
                  <a:pt x="2369" y="901"/>
                  <a:pt x="2647" y="1208"/>
                  <a:pt x="2933" y="1494"/>
                </a:cubicBezTo>
                <a:cubicBezTo>
                  <a:pt x="2967" y="1528"/>
                  <a:pt x="3222" y="1736"/>
                  <a:pt x="3220" y="1781"/>
                </a:cubicBezTo>
                <a:cubicBezTo>
                  <a:pt x="3220" y="1785"/>
                  <a:pt x="3115" y="1885"/>
                  <a:pt x="3083" y="1918"/>
                </a:cubicBezTo>
                <a:cubicBezTo>
                  <a:pt x="2924" y="2077"/>
                  <a:pt x="2790" y="2198"/>
                  <a:pt x="2646" y="2342"/>
                </a:cubicBezTo>
                <a:cubicBezTo>
                  <a:pt x="2442" y="2546"/>
                  <a:pt x="2268" y="2758"/>
                  <a:pt x="2072" y="2891"/>
                </a:cubicBezTo>
                <a:cubicBezTo>
                  <a:pt x="2070" y="2714"/>
                  <a:pt x="2074" y="2478"/>
                  <a:pt x="2072" y="2342"/>
                </a:cubicBezTo>
                <a:cubicBezTo>
                  <a:pt x="1381" y="2342"/>
                  <a:pt x="691" y="2342"/>
                  <a:pt x="0" y="2342"/>
                </a:cubicBezTo>
                <a:cubicBezTo>
                  <a:pt x="245" y="3015"/>
                  <a:pt x="798" y="3486"/>
                  <a:pt x="1585" y="3503"/>
                </a:cubicBezTo>
                <a:close/>
              </a:path>
            </a:pathLst>
          </a:custGeom>
          <a:solidFill>
            <a:schemeClr val="bg1"/>
          </a:solidFill>
          <a:ln w="9525">
            <a:noFill/>
            <a:round/>
            <a:headEnd/>
            <a:tailEnd/>
          </a:ln>
        </p:spPr>
        <p:txBody>
          <a:bodyPr wrap="none" lIns="34271" tIns="17136" rIns="34271" bIns="17136" anchor="ctr"/>
          <a:lstStyle/>
          <a:p>
            <a:endParaRPr lang="en-US" dirty="0"/>
          </a:p>
        </p:txBody>
      </p:sp>
      <p:sp>
        <p:nvSpPr>
          <p:cNvPr id="6" name="Rectangle 45"/>
          <p:cNvSpPr>
            <a:spLocks noChangeArrowheads="1"/>
          </p:cNvSpPr>
          <p:nvPr/>
        </p:nvSpPr>
        <p:spPr bwMode="auto">
          <a:xfrm>
            <a:off x="4432712" y="1280160"/>
            <a:ext cx="1889276" cy="895350"/>
          </a:xfrm>
          <a:prstGeom prst="rect">
            <a:avLst/>
          </a:prstGeom>
          <a:noFill/>
          <a:ln w="9525" algn="ctr">
            <a:noFill/>
            <a:round/>
            <a:headEnd/>
            <a:tailEnd/>
          </a:ln>
        </p:spPr>
        <p:txBody>
          <a:bodyPr lIns="34510" tIns="17255" rIns="34510" bIns="17255" anchor="ctr"/>
          <a:lstStyle/>
          <a:p>
            <a:pPr marL="44625" indent="-44625"/>
            <a:r>
              <a:rPr lang="en-US" sz="1600" b="1" dirty="0" smtClean="0">
                <a:solidFill>
                  <a:srgbClr val="FFFFFF"/>
                </a:solidFill>
              </a:rPr>
              <a:t>INNOVATION</a:t>
            </a:r>
            <a:endParaRPr lang="en-US" sz="1600" b="1" dirty="0">
              <a:solidFill>
                <a:srgbClr val="FFFFFF"/>
              </a:solidFill>
            </a:endParaRPr>
          </a:p>
        </p:txBody>
      </p:sp>
      <p:sp>
        <p:nvSpPr>
          <p:cNvPr id="12" name="Rectangle 54"/>
          <p:cNvSpPr>
            <a:spLocks noChangeArrowheads="1"/>
          </p:cNvSpPr>
          <p:nvPr/>
        </p:nvSpPr>
        <p:spPr bwMode="auto">
          <a:xfrm>
            <a:off x="393192" y="2103120"/>
            <a:ext cx="3154680" cy="2240280"/>
          </a:xfrm>
          <a:prstGeom prst="rect">
            <a:avLst/>
          </a:prstGeom>
          <a:solidFill>
            <a:srgbClr val="C0C0C0"/>
          </a:solidFill>
          <a:ln w="9525">
            <a:noFill/>
            <a:miter lim="800000"/>
            <a:headEnd/>
            <a:tailEnd/>
          </a:ln>
        </p:spPr>
        <p:txBody>
          <a:bodyPr lIns="91420" tIns="91420" rIns="91420" bIns="91420">
            <a:normAutofit/>
          </a:bodyPr>
          <a:lstStyle/>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36.9B in revenue on a trailing twelve-month basi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2</a:t>
            </a:r>
            <a:r>
              <a:rPr lang="en-US" sz="1300" baseline="30000" dirty="0" smtClean="0">
                <a:cs typeface="ＭＳ Ｐゴシック" charset="-128"/>
              </a:rPr>
              <a:t>nd</a:t>
            </a:r>
            <a:r>
              <a:rPr lang="en-US" sz="1300" dirty="0" smtClean="0">
                <a:cs typeface="ＭＳ Ｐゴシック" charset="-128"/>
              </a:rPr>
              <a:t> largest Enterprise Software co.</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1 in 50 product/industry categorie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390,000 customers in 145 countrie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25,000 partners </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115,000 employee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Founder-led Company</a:t>
            </a:r>
          </a:p>
        </p:txBody>
      </p:sp>
      <p:pic>
        <p:nvPicPr>
          <p:cNvPr id="13" name="Picture Placeholder 16" descr="ph_fac_hq_rs_004_cropped.JPG"/>
          <p:cNvPicPr>
            <a:picLocks noChangeAspect="1"/>
          </p:cNvPicPr>
          <p:nvPr/>
        </p:nvPicPr>
        <p:blipFill>
          <a:blip r:embed="rId3" cstate="email"/>
          <a:srcRect/>
          <a:stretch>
            <a:fillRect/>
          </a:stretch>
        </p:blipFill>
        <p:spPr>
          <a:xfrm>
            <a:off x="6910669" y="1413272"/>
            <a:ext cx="2235754" cy="2935224"/>
          </a:xfrm>
          <a:prstGeom prst="rect">
            <a:avLst/>
          </a:prstGeom>
        </p:spPr>
      </p:pic>
      <p:sp>
        <p:nvSpPr>
          <p:cNvPr id="14" name="Rectangle 13"/>
          <p:cNvSpPr/>
          <p:nvPr/>
        </p:nvSpPr>
        <p:spPr>
          <a:xfrm>
            <a:off x="378569" y="4390733"/>
            <a:ext cx="3771409" cy="173106"/>
          </a:xfrm>
          <a:prstGeom prst="rect">
            <a:avLst/>
          </a:prstGeom>
        </p:spPr>
        <p:txBody>
          <a:bodyPr wrap="square" lIns="34271" tIns="17136" rIns="34271" bIns="17136">
            <a:spAutoFit/>
          </a:bodyPr>
          <a:lstStyle/>
          <a:p>
            <a:pPr algn="l"/>
            <a:r>
              <a:rPr lang="en-US" sz="900" dirty="0" smtClean="0"/>
              <a:t>* GAAP revenue reported in USD as of August 31, 2012</a:t>
            </a:r>
            <a:endParaRPr lang="en-US" sz="900" dirty="0"/>
          </a:p>
        </p:txBody>
      </p:sp>
      <p:sp>
        <p:nvSpPr>
          <p:cNvPr id="7" name="Rectangle 54"/>
          <p:cNvSpPr>
            <a:spLocks noChangeArrowheads="1"/>
          </p:cNvSpPr>
          <p:nvPr/>
        </p:nvSpPr>
        <p:spPr bwMode="auto">
          <a:xfrm>
            <a:off x="3656457" y="2051844"/>
            <a:ext cx="3154680" cy="2238756"/>
          </a:xfrm>
          <a:prstGeom prst="rect">
            <a:avLst/>
          </a:prstGeom>
          <a:solidFill>
            <a:srgbClr val="C0C0C0"/>
          </a:solidFill>
          <a:ln w="9525">
            <a:noFill/>
            <a:miter lim="800000"/>
            <a:headEnd/>
            <a:tailEnd/>
          </a:ln>
        </p:spPr>
        <p:txBody>
          <a:bodyPr lIns="91420" tIns="91420" rIns="91420" bIns="91420"/>
          <a:lstStyle/>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34,000 developers and engineer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18,000 customer support specialists, speaking 29 language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18,000 implementation consultant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15 million developers in Oracle online communities</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2 million students supported annually</a:t>
            </a:r>
          </a:p>
          <a:p>
            <a:pPr marL="149941" lvl="2" indent="-149941">
              <a:lnSpc>
                <a:spcPct val="90000"/>
              </a:lnSpc>
              <a:spcBef>
                <a:spcPts val="450"/>
              </a:spcBef>
              <a:spcAft>
                <a:spcPts val="225"/>
              </a:spcAft>
              <a:buClr>
                <a:srgbClr val="4D4D4D"/>
              </a:buClr>
              <a:buFont typeface="Arial" pitchFamily="34" charset="0"/>
              <a:buChar char="•"/>
            </a:pPr>
            <a:r>
              <a:rPr lang="en-US" sz="1300" dirty="0" smtClean="0">
                <a:cs typeface="ＭＳ Ｐゴシック" charset="-128"/>
              </a:rPr>
              <a:t>900 independent Oracle user groups with 500,000 members</a:t>
            </a:r>
          </a:p>
        </p:txBody>
      </p:sp>
      <p:sp>
        <p:nvSpPr>
          <p:cNvPr id="15" name="Rectangle 84"/>
          <p:cNvSpPr>
            <a:spLocks noChangeArrowheads="1"/>
          </p:cNvSpPr>
          <p:nvPr/>
        </p:nvSpPr>
        <p:spPr bwMode="auto">
          <a:xfrm>
            <a:off x="393192" y="1417320"/>
            <a:ext cx="3154680" cy="612648"/>
          </a:xfrm>
          <a:prstGeom prst="rect">
            <a:avLst/>
          </a:prstGeom>
          <a:gradFill flip="none" rotWithShape="1">
            <a:gsLst>
              <a:gs pos="0">
                <a:srgbClr val="424545"/>
              </a:gs>
              <a:gs pos="100000">
                <a:srgbClr val="A3A3A3"/>
              </a:gs>
            </a:gsLst>
            <a:lin ang="16200000" scaled="1"/>
            <a:tileRect/>
          </a:gradFill>
          <a:ln>
            <a:noFill/>
          </a:ln>
          <a:extLst/>
        </p:spPr>
        <p:txBody>
          <a:bodyPr wrap="square" lIns="91420" tIns="45710" rIns="0" bIns="45710" anchor="b"/>
          <a:lstStyle/>
          <a:p>
            <a:endParaRPr lang="en-US" sz="700" kern="0" dirty="0">
              <a:solidFill>
                <a:srgbClr val="FFFFFF"/>
              </a:solidFill>
              <a:ea typeface="ヒラギノ角ゴ Pro W3"/>
              <a:cs typeface="ヒラギノ角ゴ Pro W3"/>
            </a:endParaRPr>
          </a:p>
        </p:txBody>
      </p:sp>
      <p:sp>
        <p:nvSpPr>
          <p:cNvPr id="16" name="Freeform 5"/>
          <p:cNvSpPr>
            <a:spLocks/>
          </p:cNvSpPr>
          <p:nvPr/>
        </p:nvSpPr>
        <p:spPr bwMode="auto">
          <a:xfrm>
            <a:off x="513093" y="1435608"/>
            <a:ext cx="527378" cy="551260"/>
          </a:xfrm>
          <a:custGeom>
            <a:avLst/>
            <a:gdLst>
              <a:gd name="T0" fmla="*/ 2147483647 w 3372"/>
              <a:gd name="T1" fmla="*/ 2147483647 h 3524"/>
              <a:gd name="T2" fmla="*/ 2147483647 w 3372"/>
              <a:gd name="T3" fmla="*/ 2147483647 h 3524"/>
              <a:gd name="T4" fmla="*/ 2147483647 w 3372"/>
              <a:gd name="T5" fmla="*/ 2147483647 h 3524"/>
              <a:gd name="T6" fmla="*/ 2147483647 w 3372"/>
              <a:gd name="T7" fmla="*/ 2147483647 h 3524"/>
              <a:gd name="T8" fmla="*/ 0 w 3372"/>
              <a:gd name="T9" fmla="*/ 2147483647 h 3524"/>
              <a:gd name="T10" fmla="*/ 2147483647 w 3372"/>
              <a:gd name="T11" fmla="*/ 2147483647 h 3524"/>
              <a:gd name="T12" fmla="*/ 2147483647 w 3372"/>
              <a:gd name="T13" fmla="*/ 2147483647 h 3524"/>
              <a:gd name="T14" fmla="*/ 2147483647 w 3372"/>
              <a:gd name="T15" fmla="*/ 2147483647 h 3524"/>
              <a:gd name="T16" fmla="*/ 2147483647 w 3372"/>
              <a:gd name="T17" fmla="*/ 2147483647 h 3524"/>
              <a:gd name="T18" fmla="*/ 2147483647 w 3372"/>
              <a:gd name="T19" fmla="*/ 2147483647 h 3524"/>
              <a:gd name="T20" fmla="*/ 2147483647 w 3372"/>
              <a:gd name="T21" fmla="*/ 2147483647 h 3524"/>
              <a:gd name="T22" fmla="*/ 2147483647 w 3372"/>
              <a:gd name="T23" fmla="*/ 2147483647 h 3524"/>
              <a:gd name="T24" fmla="*/ 2147483647 w 3372"/>
              <a:gd name="T25" fmla="*/ 2147483647 h 3524"/>
              <a:gd name="T26" fmla="*/ 0 w 3372"/>
              <a:gd name="T27" fmla="*/ 2147483647 h 3524"/>
              <a:gd name="T28" fmla="*/ 2147483647 w 3372"/>
              <a:gd name="T29" fmla="*/ 2147483647 h 35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72"/>
              <a:gd name="T46" fmla="*/ 0 h 3524"/>
              <a:gd name="T47" fmla="*/ 3372 w 3372"/>
              <a:gd name="T48" fmla="*/ 3524 h 35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72" h="3524">
                <a:moveTo>
                  <a:pt x="1585" y="3503"/>
                </a:moveTo>
                <a:cubicBezTo>
                  <a:pt x="2573" y="3524"/>
                  <a:pt x="3372" y="2713"/>
                  <a:pt x="3345" y="1731"/>
                </a:cubicBezTo>
                <a:cubicBezTo>
                  <a:pt x="3330" y="1222"/>
                  <a:pt x="3108" y="812"/>
                  <a:pt x="2821" y="533"/>
                </a:cubicBezTo>
                <a:cubicBezTo>
                  <a:pt x="2544" y="264"/>
                  <a:pt x="2113" y="0"/>
                  <a:pt x="1523" y="46"/>
                </a:cubicBezTo>
                <a:cubicBezTo>
                  <a:pt x="720" y="109"/>
                  <a:pt x="248" y="560"/>
                  <a:pt x="0" y="1207"/>
                </a:cubicBezTo>
                <a:cubicBezTo>
                  <a:pt x="691" y="1207"/>
                  <a:pt x="1381" y="1207"/>
                  <a:pt x="2072" y="1207"/>
                </a:cubicBezTo>
                <a:cubicBezTo>
                  <a:pt x="2074" y="1066"/>
                  <a:pt x="2070" y="826"/>
                  <a:pt x="2072" y="645"/>
                </a:cubicBezTo>
                <a:cubicBezTo>
                  <a:pt x="2369" y="901"/>
                  <a:pt x="2647" y="1208"/>
                  <a:pt x="2933" y="1494"/>
                </a:cubicBezTo>
                <a:cubicBezTo>
                  <a:pt x="2967" y="1528"/>
                  <a:pt x="3222" y="1736"/>
                  <a:pt x="3220" y="1781"/>
                </a:cubicBezTo>
                <a:cubicBezTo>
                  <a:pt x="3220" y="1785"/>
                  <a:pt x="3115" y="1885"/>
                  <a:pt x="3083" y="1918"/>
                </a:cubicBezTo>
                <a:cubicBezTo>
                  <a:pt x="2924" y="2077"/>
                  <a:pt x="2790" y="2198"/>
                  <a:pt x="2646" y="2342"/>
                </a:cubicBezTo>
                <a:cubicBezTo>
                  <a:pt x="2442" y="2546"/>
                  <a:pt x="2268" y="2758"/>
                  <a:pt x="2072" y="2891"/>
                </a:cubicBezTo>
                <a:cubicBezTo>
                  <a:pt x="2070" y="2714"/>
                  <a:pt x="2074" y="2478"/>
                  <a:pt x="2072" y="2342"/>
                </a:cubicBezTo>
                <a:cubicBezTo>
                  <a:pt x="1381" y="2342"/>
                  <a:pt x="691" y="2342"/>
                  <a:pt x="0" y="2342"/>
                </a:cubicBezTo>
                <a:cubicBezTo>
                  <a:pt x="245" y="3015"/>
                  <a:pt x="798" y="3486"/>
                  <a:pt x="1585" y="3503"/>
                </a:cubicBezTo>
                <a:close/>
              </a:path>
            </a:pathLst>
          </a:custGeom>
          <a:solidFill>
            <a:schemeClr val="bg1"/>
          </a:solidFill>
          <a:ln w="9525">
            <a:noFill/>
            <a:round/>
            <a:headEnd/>
            <a:tailEnd/>
          </a:ln>
        </p:spPr>
        <p:txBody>
          <a:bodyPr wrap="none" lIns="34271" tIns="17136" rIns="34271" bIns="17136" anchor="ctr"/>
          <a:lstStyle/>
          <a:p>
            <a:endParaRPr lang="en-US" dirty="0"/>
          </a:p>
        </p:txBody>
      </p:sp>
      <p:sp>
        <p:nvSpPr>
          <p:cNvPr id="18" name="Rectangle 45"/>
          <p:cNvSpPr>
            <a:spLocks noChangeArrowheads="1"/>
          </p:cNvSpPr>
          <p:nvPr/>
        </p:nvSpPr>
        <p:spPr bwMode="auto">
          <a:xfrm>
            <a:off x="1172018" y="1280160"/>
            <a:ext cx="1889276" cy="895350"/>
          </a:xfrm>
          <a:prstGeom prst="rect">
            <a:avLst/>
          </a:prstGeom>
          <a:noFill/>
          <a:ln w="9525" algn="ctr">
            <a:noFill/>
            <a:round/>
            <a:headEnd/>
            <a:tailEnd/>
          </a:ln>
        </p:spPr>
        <p:txBody>
          <a:bodyPr lIns="34510" tIns="17255" rIns="34510" bIns="17255" anchor="ctr"/>
          <a:lstStyle/>
          <a:p>
            <a:pPr marL="44625" indent="-44625"/>
            <a:r>
              <a:rPr lang="en-US" sz="1600" b="1" dirty="0" smtClean="0">
                <a:solidFill>
                  <a:srgbClr val="FFFFFF"/>
                </a:solidFill>
              </a:rPr>
              <a:t>SCALE</a:t>
            </a:r>
            <a:endParaRPr lang="en-US" sz="1600" b="1" dirty="0">
              <a:solidFill>
                <a:srgbClr val="FFFFFF"/>
              </a:solidFill>
            </a:endParaRPr>
          </a:p>
        </p:txBody>
      </p:sp>
    </p:spTree>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000" y="379422"/>
            <a:ext cx="7581900" cy="433969"/>
          </a:xfrm>
        </p:spPr>
        <p:txBody>
          <a:bodyPr/>
          <a:lstStyle/>
          <a:p>
            <a:pPr algn="ctr"/>
            <a:r>
              <a:rPr lang="en-US" sz="1600" dirty="0" smtClean="0"/>
              <a:t>(PS)Public Sector Channels Organization North America  Coverage and Deal Support for Partners </a:t>
            </a:r>
            <a:endParaRPr lang="en-US" sz="1600" dirty="0"/>
          </a:p>
        </p:txBody>
      </p:sp>
      <p:graphicFrame>
        <p:nvGraphicFramePr>
          <p:cNvPr id="6" name="Table 5"/>
          <p:cNvGraphicFramePr>
            <a:graphicFrameLocks noGrp="1"/>
          </p:cNvGraphicFramePr>
          <p:nvPr/>
        </p:nvGraphicFramePr>
        <p:xfrm>
          <a:off x="508770" y="933450"/>
          <a:ext cx="8187070" cy="3371850"/>
        </p:xfrm>
        <a:graphic>
          <a:graphicData uri="http://schemas.openxmlformats.org/drawingml/2006/table">
            <a:tbl>
              <a:tblPr firstRow="1" bandRow="1">
                <a:tableStyleId>{5C22544A-7EE6-4342-B048-85BDC9FD1C3A}</a:tableStyleId>
              </a:tblPr>
              <a:tblGrid>
                <a:gridCol w="1637414"/>
                <a:gridCol w="1637414"/>
                <a:gridCol w="1637414"/>
                <a:gridCol w="1637414"/>
                <a:gridCol w="1637414"/>
              </a:tblGrid>
              <a:tr h="388620">
                <a:tc>
                  <a:txBody>
                    <a:bodyPr/>
                    <a:lstStyle/>
                    <a:p>
                      <a:r>
                        <a:rPr lang="en-US" sz="1100" b="1" dirty="0" smtClean="0">
                          <a:solidFill>
                            <a:schemeClr val="bg1"/>
                          </a:solidFill>
                        </a:rPr>
                        <a:t>End User Customers</a:t>
                      </a:r>
                      <a:endParaRPr lang="en-US" sz="1100" b="1" dirty="0">
                        <a:solidFill>
                          <a:schemeClr val="bg1"/>
                        </a:solidFill>
                      </a:endParaRPr>
                    </a:p>
                  </a:txBody>
                  <a:tcPr marT="34290" marB="34290">
                    <a:solidFill>
                      <a:schemeClr val="tx1"/>
                    </a:solidFill>
                  </a:tcPr>
                </a:tc>
                <a:tc>
                  <a:txBody>
                    <a:bodyPr/>
                    <a:lstStyle/>
                    <a:p>
                      <a:r>
                        <a:rPr lang="en-US" sz="1100" b="1" dirty="0" smtClean="0">
                          <a:solidFill>
                            <a:schemeClr val="bg1"/>
                          </a:solidFill>
                        </a:rPr>
                        <a:t>Tech Software</a:t>
                      </a:r>
                      <a:endParaRPr lang="en-US" sz="1100" b="1" dirty="0">
                        <a:solidFill>
                          <a:schemeClr val="bg1"/>
                        </a:solidFill>
                      </a:endParaRPr>
                    </a:p>
                  </a:txBody>
                  <a:tcPr marT="34290" marB="34290">
                    <a:solidFill>
                      <a:schemeClr val="tx1"/>
                    </a:solidFill>
                  </a:tcPr>
                </a:tc>
                <a:tc>
                  <a:txBody>
                    <a:bodyPr/>
                    <a:lstStyle/>
                    <a:p>
                      <a:r>
                        <a:rPr lang="en-US" sz="1100" b="1" dirty="0" smtClean="0">
                          <a:solidFill>
                            <a:schemeClr val="bg1"/>
                          </a:solidFill>
                        </a:rPr>
                        <a:t>Apps Software</a:t>
                      </a:r>
                      <a:endParaRPr lang="en-US" sz="1100" b="1" dirty="0">
                        <a:solidFill>
                          <a:schemeClr val="bg1"/>
                        </a:solidFill>
                      </a:endParaRPr>
                    </a:p>
                  </a:txBody>
                  <a:tcPr marT="34290" marB="34290">
                    <a:solidFill>
                      <a:schemeClr val="tx1"/>
                    </a:solidFill>
                  </a:tcPr>
                </a:tc>
                <a:tc>
                  <a:txBody>
                    <a:bodyPr/>
                    <a:lstStyle/>
                    <a:p>
                      <a:r>
                        <a:rPr lang="en-US" sz="1100" b="1" dirty="0" smtClean="0">
                          <a:solidFill>
                            <a:schemeClr val="bg1"/>
                          </a:solidFill>
                        </a:rPr>
                        <a:t>Engineered Systems</a:t>
                      </a:r>
                      <a:endParaRPr lang="en-US" sz="1100" b="1" dirty="0">
                        <a:solidFill>
                          <a:schemeClr val="bg1"/>
                        </a:solidFill>
                      </a:endParaRPr>
                    </a:p>
                  </a:txBody>
                  <a:tcPr marT="34290" marB="34290">
                    <a:solidFill>
                      <a:schemeClr val="tx1"/>
                    </a:solidFill>
                  </a:tcPr>
                </a:tc>
                <a:tc>
                  <a:txBody>
                    <a:bodyPr/>
                    <a:lstStyle/>
                    <a:p>
                      <a:r>
                        <a:rPr lang="en-US" sz="1100" b="1" dirty="0" smtClean="0">
                          <a:solidFill>
                            <a:schemeClr val="bg1"/>
                          </a:solidFill>
                        </a:rPr>
                        <a:t>HW (Servers, Storage, Tape)</a:t>
                      </a:r>
                      <a:endParaRPr lang="en-US" sz="1100" b="1" dirty="0">
                        <a:solidFill>
                          <a:schemeClr val="bg1"/>
                        </a:solidFill>
                      </a:endParaRPr>
                    </a:p>
                  </a:txBody>
                  <a:tcPr marT="34290" marB="34290">
                    <a:solidFill>
                      <a:schemeClr val="tx1"/>
                    </a:solidFill>
                  </a:tcPr>
                </a:tc>
              </a:tr>
              <a:tr h="342900">
                <a:tc>
                  <a:txBody>
                    <a:bodyPr/>
                    <a:lstStyle/>
                    <a:p>
                      <a:r>
                        <a:rPr lang="en-US" sz="1100" b="1" dirty="0" smtClean="0"/>
                        <a:t>Canada (All Public Sector)</a:t>
                      </a:r>
                      <a:endParaRPr lang="en-US" sz="1100" b="1" dirty="0"/>
                    </a:p>
                  </a:txBody>
                  <a:tcPr marT="34290" marB="34290">
                    <a:solidFill>
                      <a:srgbClr val="92D050"/>
                    </a:solidFill>
                  </a:tcPr>
                </a:tc>
                <a:tc>
                  <a:txBody>
                    <a:bodyPr/>
                    <a:lstStyle/>
                    <a:p>
                      <a:r>
                        <a:rPr lang="en-US" sz="1100" b="1" dirty="0" smtClean="0"/>
                        <a:t>PS-SW Channel Manager</a:t>
                      </a:r>
                      <a:endParaRPr lang="en-US" sz="1100" b="1" dirty="0"/>
                    </a:p>
                  </a:txBody>
                  <a:tcPr marT="34290" marB="34290">
                    <a:solidFill>
                      <a:srgbClr val="92D050"/>
                    </a:solidFill>
                  </a:tcPr>
                </a:tc>
                <a:tc>
                  <a:txBody>
                    <a:bodyPr/>
                    <a:lstStyle/>
                    <a:p>
                      <a:r>
                        <a:rPr lang="en-US" sz="1100" b="1" dirty="0" smtClean="0"/>
                        <a:t>PS-SW Channel </a:t>
                      </a:r>
                      <a:endParaRPr lang="en-US" sz="1100" b="1" dirty="0"/>
                    </a:p>
                  </a:txBody>
                  <a:tcPr marT="34290" marB="34290">
                    <a:solidFill>
                      <a:srgbClr val="92D050"/>
                    </a:solidFill>
                  </a:tcPr>
                </a:tc>
                <a:tc>
                  <a:txBody>
                    <a:bodyPr/>
                    <a:lstStyle/>
                    <a:p>
                      <a:r>
                        <a:rPr lang="en-US" sz="1100" b="1" dirty="0" smtClean="0"/>
                        <a:t>PS-Eng</a:t>
                      </a:r>
                      <a:r>
                        <a:rPr lang="en-US" sz="1100" b="1" baseline="0" dirty="0" smtClean="0"/>
                        <a:t> Sys Channel Manager</a:t>
                      </a:r>
                      <a:endParaRPr lang="en-US" sz="1100" b="1" dirty="0"/>
                    </a:p>
                  </a:txBody>
                  <a:tcPr marT="34290" marB="34290">
                    <a:solidFill>
                      <a:srgbClr val="92D050"/>
                    </a:solidFill>
                  </a:tcPr>
                </a:tc>
                <a:tc>
                  <a:txBody>
                    <a:bodyPr/>
                    <a:lstStyle/>
                    <a:p>
                      <a:r>
                        <a:rPr lang="en-US" sz="1100" b="1" dirty="0" smtClean="0"/>
                        <a:t>PS-HW Channel Manager</a:t>
                      </a:r>
                      <a:endParaRPr lang="en-US" sz="1100" b="1" dirty="0"/>
                    </a:p>
                  </a:txBody>
                  <a:tcPr marT="34290" marB="34290">
                    <a:solidFill>
                      <a:srgbClr val="92D050"/>
                    </a:solidFill>
                  </a:tcPr>
                </a:tc>
              </a:tr>
              <a:tr h="480060">
                <a:tc>
                  <a:txBody>
                    <a:bodyPr/>
                    <a:lstStyle/>
                    <a:p>
                      <a:r>
                        <a:rPr lang="en-US" sz="1100" b="1" dirty="0" smtClean="0"/>
                        <a:t>US SLG</a:t>
                      </a:r>
                      <a:endParaRPr lang="en-US" sz="1100" b="1" dirty="0"/>
                    </a:p>
                  </a:txBody>
                  <a:tcPr marT="34290" marB="34290">
                    <a:solidFill>
                      <a:srgbClr val="92D050"/>
                    </a:solidFill>
                  </a:tcPr>
                </a:tc>
                <a:tc>
                  <a:txBody>
                    <a:bodyPr/>
                    <a:lstStyle/>
                    <a:p>
                      <a:r>
                        <a:rPr lang="en-US" sz="1100" b="1" dirty="0" smtClean="0"/>
                        <a:t>PS-SW Channel Manager</a:t>
                      </a:r>
                      <a:endParaRPr lang="en-US" sz="1100" b="1" dirty="0"/>
                    </a:p>
                  </a:txBody>
                  <a:tcPr marT="34290" marB="34290">
                    <a:solidFill>
                      <a:srgbClr val="92D050"/>
                    </a:solidFill>
                  </a:tcPr>
                </a:tc>
                <a:tc>
                  <a:txBody>
                    <a:bodyPr/>
                    <a:lstStyle/>
                    <a:p>
                      <a:r>
                        <a:rPr lang="en-US" sz="1100" b="1" dirty="0" smtClean="0"/>
                        <a:t>PS-SW Channel Manager</a:t>
                      </a:r>
                      <a:endParaRPr lang="en-US" sz="1100" b="1" dirty="0"/>
                    </a:p>
                  </a:txBody>
                  <a:tcPr marT="34290" marB="34290">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PS-Eng</a:t>
                      </a:r>
                      <a:r>
                        <a:rPr lang="en-US" sz="1100" b="1" baseline="0" dirty="0" smtClean="0"/>
                        <a:t> Sys Channel Manager</a:t>
                      </a:r>
                      <a:endParaRPr lang="en-US" sz="1100" b="1" dirty="0" smtClean="0"/>
                    </a:p>
                    <a:p>
                      <a:endParaRPr lang="en-US" sz="1100" b="1" dirty="0"/>
                    </a:p>
                  </a:txBody>
                  <a:tcPr marT="34290" marB="34290">
                    <a:solidFill>
                      <a:srgbClr val="92D050"/>
                    </a:solidFill>
                  </a:tcPr>
                </a:tc>
                <a:tc>
                  <a:txBody>
                    <a:bodyPr/>
                    <a:lstStyle/>
                    <a:p>
                      <a:r>
                        <a:rPr lang="en-US" sz="1100" b="1" dirty="0" smtClean="0"/>
                        <a:t>PS-HW Channel Manager</a:t>
                      </a:r>
                      <a:endParaRPr lang="en-US" sz="1100" b="1" dirty="0"/>
                    </a:p>
                  </a:txBody>
                  <a:tcPr marT="34290" marB="34290">
                    <a:solidFill>
                      <a:srgbClr val="92D050"/>
                    </a:solidFill>
                  </a:tcPr>
                </a:tc>
              </a:tr>
              <a:tr h="480060">
                <a:tc>
                  <a:txBody>
                    <a:bodyPr/>
                    <a:lstStyle/>
                    <a:p>
                      <a:r>
                        <a:rPr lang="en-US" sz="1100" b="1" dirty="0" smtClean="0"/>
                        <a:t>Higher Ed</a:t>
                      </a:r>
                      <a:endParaRPr lang="en-US" sz="1100" b="1" dirty="0"/>
                    </a:p>
                  </a:txBody>
                  <a:tcPr marT="34290" marB="34290">
                    <a:solidFill>
                      <a:srgbClr val="92D050"/>
                    </a:solidFill>
                  </a:tcPr>
                </a:tc>
                <a:tc>
                  <a:txBody>
                    <a:bodyPr/>
                    <a:lstStyle/>
                    <a:p>
                      <a:r>
                        <a:rPr lang="en-US" sz="1100" b="1" dirty="0" smtClean="0"/>
                        <a:t>PS-SW</a:t>
                      </a:r>
                      <a:r>
                        <a:rPr lang="en-US" sz="1100" b="1" baseline="0" dirty="0" smtClean="0"/>
                        <a:t> Channel Manager</a:t>
                      </a:r>
                      <a:endParaRPr lang="en-US" sz="1100" b="1" dirty="0"/>
                    </a:p>
                  </a:txBody>
                  <a:tcPr marT="34290" marB="34290">
                    <a:solidFill>
                      <a:srgbClr val="92D050"/>
                    </a:solidFill>
                  </a:tcPr>
                </a:tc>
                <a:tc>
                  <a:txBody>
                    <a:bodyPr/>
                    <a:lstStyle/>
                    <a:p>
                      <a:r>
                        <a:rPr lang="en-US" sz="1100" b="1" dirty="0" smtClean="0"/>
                        <a:t>* Commercial-SW Channel Manager</a:t>
                      </a:r>
                      <a:endParaRPr lang="en-US" sz="1100" b="1" dirty="0"/>
                    </a:p>
                  </a:txBody>
                  <a:tcPr marT="34290" marB="34290">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PS-Eng</a:t>
                      </a:r>
                      <a:r>
                        <a:rPr lang="en-US" sz="1100" b="1" baseline="0" dirty="0" smtClean="0"/>
                        <a:t> Sys Channel Manager</a:t>
                      </a:r>
                      <a:endParaRPr lang="en-US" sz="1100" b="1" dirty="0" smtClean="0"/>
                    </a:p>
                    <a:p>
                      <a:endParaRPr lang="en-US" sz="1100" b="1" dirty="0"/>
                    </a:p>
                  </a:txBody>
                  <a:tcPr marT="34290" marB="34290">
                    <a:solidFill>
                      <a:srgbClr val="92D050"/>
                    </a:solidFill>
                  </a:tcPr>
                </a:tc>
                <a:tc>
                  <a:txBody>
                    <a:bodyPr/>
                    <a:lstStyle/>
                    <a:p>
                      <a:r>
                        <a:rPr lang="en-US" sz="1100" b="1" dirty="0" smtClean="0"/>
                        <a:t>* Commercial-HW Channel Manager</a:t>
                      </a:r>
                      <a:endParaRPr lang="en-US" sz="1100" b="1" dirty="0"/>
                    </a:p>
                  </a:txBody>
                  <a:tcPr marT="34290" marB="34290">
                    <a:solidFill>
                      <a:schemeClr val="accent1"/>
                    </a:solidFill>
                  </a:tcPr>
                </a:tc>
              </a:tr>
              <a:tr h="480060">
                <a:tc>
                  <a:txBody>
                    <a:bodyPr/>
                    <a:lstStyle/>
                    <a:p>
                      <a:r>
                        <a:rPr lang="en-US" sz="1100" b="1" dirty="0" smtClean="0"/>
                        <a:t>Federal</a:t>
                      </a:r>
                      <a:endParaRPr lang="en-US" sz="1100" b="1" dirty="0"/>
                    </a:p>
                  </a:txBody>
                  <a:tcPr marT="34290" marB="34290">
                    <a:solidFill>
                      <a:srgbClr val="92D050"/>
                    </a:solidFill>
                  </a:tcPr>
                </a:tc>
                <a:tc>
                  <a:txBody>
                    <a:bodyPr/>
                    <a:lstStyle/>
                    <a:p>
                      <a:r>
                        <a:rPr lang="en-US" sz="1100" b="1" dirty="0" smtClean="0"/>
                        <a:t>PS-SW Channel Manager</a:t>
                      </a:r>
                      <a:endParaRPr lang="en-US" sz="1100" b="1" dirty="0"/>
                    </a:p>
                  </a:txBody>
                  <a:tcPr marT="34290" marB="34290">
                    <a:solidFill>
                      <a:srgbClr val="92D050"/>
                    </a:solidFill>
                  </a:tcPr>
                </a:tc>
                <a:tc>
                  <a:txBody>
                    <a:bodyPr/>
                    <a:lstStyle/>
                    <a:p>
                      <a:r>
                        <a:rPr lang="en-US" sz="1100" b="1" dirty="0" smtClean="0"/>
                        <a:t>PS-SW</a:t>
                      </a:r>
                      <a:r>
                        <a:rPr lang="en-US" sz="1100" b="1" baseline="0" dirty="0" smtClean="0"/>
                        <a:t> Channel Manager</a:t>
                      </a:r>
                      <a:endParaRPr lang="en-US" sz="1100" b="1" dirty="0"/>
                    </a:p>
                  </a:txBody>
                  <a:tcPr marT="34290" marB="34290">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PS-Eng</a:t>
                      </a:r>
                      <a:r>
                        <a:rPr lang="en-US" sz="1100" b="1" baseline="0" dirty="0" smtClean="0"/>
                        <a:t> Sys Channel Manager</a:t>
                      </a:r>
                      <a:endParaRPr lang="en-US" sz="1100" b="1" dirty="0" smtClean="0"/>
                    </a:p>
                    <a:p>
                      <a:endParaRPr lang="en-US" sz="1100" b="1" dirty="0"/>
                    </a:p>
                  </a:txBody>
                  <a:tcPr marT="34290" marB="34290">
                    <a:solidFill>
                      <a:srgbClr val="92D050"/>
                    </a:solidFill>
                  </a:tcPr>
                </a:tc>
                <a:tc>
                  <a:txBody>
                    <a:bodyPr/>
                    <a:lstStyle/>
                    <a:p>
                      <a:r>
                        <a:rPr lang="en-US" sz="1100" b="1" dirty="0" smtClean="0"/>
                        <a:t>PS-HW Channel Manager</a:t>
                      </a:r>
                      <a:endParaRPr lang="en-US" sz="1100" b="1" dirty="0"/>
                    </a:p>
                  </a:txBody>
                  <a:tcPr marT="34290" marB="34290">
                    <a:solidFill>
                      <a:srgbClr val="92D050"/>
                    </a:solidFill>
                  </a:tcPr>
                </a:tc>
              </a:tr>
              <a:tr h="480060">
                <a:tc>
                  <a:txBody>
                    <a:bodyPr/>
                    <a:lstStyle/>
                    <a:p>
                      <a:r>
                        <a:rPr lang="en-US" sz="1100" b="1" dirty="0" smtClean="0"/>
                        <a:t>Healthcare</a:t>
                      </a:r>
                      <a:endParaRPr lang="en-US" sz="1100" b="1" dirty="0"/>
                    </a:p>
                  </a:txBody>
                  <a:tcPr marT="34290" marB="34290">
                    <a:solidFill>
                      <a:srgbClr val="92D050"/>
                    </a:solidFill>
                  </a:tcPr>
                </a:tc>
                <a:tc>
                  <a:txBody>
                    <a:bodyPr/>
                    <a:lstStyle/>
                    <a:p>
                      <a:r>
                        <a:rPr lang="en-US" sz="1100" b="1" dirty="0" smtClean="0"/>
                        <a:t>PS-SW Channel Manager</a:t>
                      </a:r>
                      <a:endParaRPr lang="en-US" sz="1100" b="1" dirty="0"/>
                    </a:p>
                  </a:txBody>
                  <a:tcPr marT="34290" marB="34290">
                    <a:solidFill>
                      <a:srgbClr val="92D050"/>
                    </a:solidFill>
                  </a:tcPr>
                </a:tc>
                <a:tc>
                  <a:txBody>
                    <a:bodyPr/>
                    <a:lstStyle/>
                    <a:p>
                      <a:r>
                        <a:rPr lang="en-US" sz="1100" b="1" dirty="0" smtClean="0"/>
                        <a:t>* Commercial-SW</a:t>
                      </a:r>
                      <a:r>
                        <a:rPr lang="en-US" sz="1100" b="1" baseline="0" dirty="0" smtClean="0"/>
                        <a:t> Channel Manager</a:t>
                      </a:r>
                      <a:endParaRPr lang="en-US" sz="1100" b="1" dirty="0"/>
                    </a:p>
                  </a:txBody>
                  <a:tcPr marT="34290" marB="34290">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PS-Eng</a:t>
                      </a:r>
                      <a:r>
                        <a:rPr lang="en-US" sz="1100" b="1" baseline="0" dirty="0" smtClean="0"/>
                        <a:t> Sys Channel Manager</a:t>
                      </a:r>
                      <a:endParaRPr lang="en-US" sz="1100" b="1" dirty="0" smtClean="0"/>
                    </a:p>
                    <a:p>
                      <a:endParaRPr lang="en-US" sz="1100" b="1" dirty="0"/>
                    </a:p>
                  </a:txBody>
                  <a:tcPr marT="34290" marB="34290">
                    <a:solidFill>
                      <a:srgbClr val="92D050"/>
                    </a:solidFill>
                  </a:tcPr>
                </a:tc>
                <a:tc>
                  <a:txBody>
                    <a:bodyPr/>
                    <a:lstStyle/>
                    <a:p>
                      <a:r>
                        <a:rPr lang="en-US" sz="1100" b="1" dirty="0" smtClean="0"/>
                        <a:t>* Commercial-HW Channel Manager</a:t>
                      </a:r>
                      <a:endParaRPr lang="en-US" sz="1100" b="1" dirty="0"/>
                    </a:p>
                  </a:txBody>
                  <a:tcPr marT="34290" marB="34290">
                    <a:solidFill>
                      <a:schemeClr val="accent1"/>
                    </a:solidFill>
                  </a:tcPr>
                </a:tc>
              </a:tr>
              <a:tr h="278130">
                <a:tc>
                  <a:txBody>
                    <a:bodyPr/>
                    <a:lstStyle/>
                    <a:p>
                      <a:endParaRPr lang="en-US" sz="900" dirty="0"/>
                    </a:p>
                  </a:txBody>
                  <a:tcPr marT="34290" marB="34290">
                    <a:solidFill>
                      <a:srgbClr val="92D050"/>
                    </a:solidFill>
                  </a:tcPr>
                </a:tc>
                <a:tc>
                  <a:txBody>
                    <a:bodyPr/>
                    <a:lstStyle/>
                    <a:p>
                      <a:endParaRPr lang="en-US" sz="900" dirty="0"/>
                    </a:p>
                  </a:txBody>
                  <a:tcPr marT="34290" marB="34290">
                    <a:solidFill>
                      <a:srgbClr val="92D050"/>
                    </a:solidFill>
                  </a:tcPr>
                </a:tc>
                <a:tc>
                  <a:txBody>
                    <a:bodyPr/>
                    <a:lstStyle/>
                    <a:p>
                      <a:endParaRPr lang="en-US" sz="900" dirty="0"/>
                    </a:p>
                  </a:txBody>
                  <a:tcPr marT="34290" marB="34290">
                    <a:solidFill>
                      <a:srgbClr val="92D050"/>
                    </a:solidFill>
                  </a:tcPr>
                </a:tc>
                <a:tc>
                  <a:txBody>
                    <a:bodyPr/>
                    <a:lstStyle/>
                    <a:p>
                      <a:endParaRPr lang="en-US" sz="900" dirty="0"/>
                    </a:p>
                  </a:txBody>
                  <a:tcPr marT="34290" marB="34290">
                    <a:solidFill>
                      <a:srgbClr val="92D050"/>
                    </a:solidFill>
                  </a:tcPr>
                </a:tc>
                <a:tc>
                  <a:txBody>
                    <a:bodyPr/>
                    <a:lstStyle/>
                    <a:p>
                      <a:endParaRPr lang="en-US" sz="900" dirty="0"/>
                    </a:p>
                  </a:txBody>
                  <a:tcPr marT="34290" marB="34290">
                    <a:solidFill>
                      <a:srgbClr val="92D050"/>
                    </a:solidFill>
                  </a:tcPr>
                </a:tc>
              </a:tr>
            </a:tbl>
          </a:graphicData>
        </a:graphic>
      </p:graphicFrame>
      <p:sp>
        <p:nvSpPr>
          <p:cNvPr id="7" name="TextBox 6"/>
          <p:cNvSpPr txBox="1"/>
          <p:nvPr/>
        </p:nvSpPr>
        <p:spPr>
          <a:xfrm>
            <a:off x="387026" y="4145369"/>
            <a:ext cx="8463515" cy="307777"/>
          </a:xfrm>
          <a:prstGeom prst="rect">
            <a:avLst/>
          </a:prstGeom>
          <a:solidFill>
            <a:schemeClr val="accent1">
              <a:lumMod val="40000"/>
              <a:lumOff val="60000"/>
            </a:schemeClr>
          </a:solidFill>
          <a:effectLst>
            <a:glow rad="139700">
              <a:schemeClr val="accent4">
                <a:satMod val="175000"/>
                <a:alpha val="40000"/>
              </a:schemeClr>
            </a:glow>
          </a:effectLst>
        </p:spPr>
        <p:txBody>
          <a:bodyPr wrap="square" rtlCol="0">
            <a:spAutoFit/>
          </a:bodyPr>
          <a:lstStyle/>
          <a:p>
            <a:r>
              <a:rPr lang="en-US" sz="1400" dirty="0" smtClean="0"/>
              <a:t>* Apps SW and HW products coverage has not moved into Oracle Public Sector as of June 1, 2014</a:t>
            </a:r>
            <a:endParaRPr lang="en-US" sz="1400" dirty="0"/>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Footer Placeholder 1"/>
          <p:cNvSpPr>
            <a:spLocks noGrp="1"/>
          </p:cNvSpPr>
          <p:nvPr>
            <p:ph type="ftr" sz="quarter" idx="4294967295"/>
          </p:nvPr>
        </p:nvSpPr>
        <p:spPr>
          <a:xfrm>
            <a:off x="457200" y="4767263"/>
            <a:ext cx="2133600" cy="273844"/>
          </a:xfrm>
          <a:prstGeom prst="rect">
            <a:avLst/>
          </a:prstGeom>
        </p:spPr>
        <p:txBody>
          <a:bodyPr/>
          <a:lstStyle/>
          <a:p>
            <a:pPr algn="l">
              <a:defRPr/>
            </a:pPr>
            <a:endParaRPr lang="en-US" dirty="0"/>
          </a:p>
          <a:p>
            <a:pPr algn="l">
              <a:defRPr/>
            </a:pPr>
            <a:endParaRPr lang="en-US" dirty="0"/>
          </a:p>
        </p:txBody>
      </p:sp>
      <p:sp>
        <p:nvSpPr>
          <p:cNvPr id="2051" name="Freeform 2"/>
          <p:cNvSpPr>
            <a:spLocks/>
          </p:cNvSpPr>
          <p:nvPr/>
        </p:nvSpPr>
        <p:spPr bwMode="auto">
          <a:xfrm>
            <a:off x="7305676" y="837010"/>
            <a:ext cx="1306513" cy="707231"/>
          </a:xfrm>
          <a:custGeom>
            <a:avLst/>
            <a:gdLst>
              <a:gd name="T0" fmla="*/ 2147483647 w 823"/>
              <a:gd name="T1" fmla="*/ 2147483647 h 594"/>
              <a:gd name="T2" fmla="*/ 2147483647 w 823"/>
              <a:gd name="T3" fmla="*/ 2147483647 h 594"/>
              <a:gd name="T4" fmla="*/ 2147483647 w 823"/>
              <a:gd name="T5" fmla="*/ 2147483647 h 594"/>
              <a:gd name="T6" fmla="*/ 2147483647 w 823"/>
              <a:gd name="T7" fmla="*/ 2147483647 h 594"/>
              <a:gd name="T8" fmla="*/ 2147483647 w 823"/>
              <a:gd name="T9" fmla="*/ 2147483647 h 594"/>
              <a:gd name="T10" fmla="*/ 2147483647 w 823"/>
              <a:gd name="T11" fmla="*/ 2147483647 h 594"/>
              <a:gd name="T12" fmla="*/ 2147483647 w 823"/>
              <a:gd name="T13" fmla="*/ 2147483647 h 594"/>
              <a:gd name="T14" fmla="*/ 2147483647 w 823"/>
              <a:gd name="T15" fmla="*/ 2147483647 h 594"/>
              <a:gd name="T16" fmla="*/ 2147483647 w 823"/>
              <a:gd name="T17" fmla="*/ 2147483647 h 594"/>
              <a:gd name="T18" fmla="*/ 2147483647 w 823"/>
              <a:gd name="T19" fmla="*/ 2147483647 h 594"/>
              <a:gd name="T20" fmla="*/ 2147483647 w 823"/>
              <a:gd name="T21" fmla="*/ 2147483647 h 594"/>
              <a:gd name="T22" fmla="*/ 2147483647 w 823"/>
              <a:gd name="T23" fmla="*/ 2147483647 h 594"/>
              <a:gd name="T24" fmla="*/ 2147483647 w 823"/>
              <a:gd name="T25" fmla="*/ 2147483647 h 594"/>
              <a:gd name="T26" fmla="*/ 2147483647 w 823"/>
              <a:gd name="T27" fmla="*/ 2147483647 h 594"/>
              <a:gd name="T28" fmla="*/ 2147483647 w 823"/>
              <a:gd name="T29" fmla="*/ 2147483647 h 594"/>
              <a:gd name="T30" fmla="*/ 2147483647 w 823"/>
              <a:gd name="T31" fmla="*/ 2147483647 h 594"/>
              <a:gd name="T32" fmla="*/ 2147483647 w 823"/>
              <a:gd name="T33" fmla="*/ 2147483647 h 594"/>
              <a:gd name="T34" fmla="*/ 2147483647 w 823"/>
              <a:gd name="T35" fmla="*/ 2147483647 h 594"/>
              <a:gd name="T36" fmla="*/ 2147483647 w 823"/>
              <a:gd name="T37" fmla="*/ 2147483647 h 594"/>
              <a:gd name="T38" fmla="*/ 2147483647 w 823"/>
              <a:gd name="T39" fmla="*/ 2147483647 h 594"/>
              <a:gd name="T40" fmla="*/ 2147483647 w 823"/>
              <a:gd name="T41" fmla="*/ 2147483647 h 594"/>
              <a:gd name="T42" fmla="*/ 2147483647 w 823"/>
              <a:gd name="T43" fmla="*/ 2147483647 h 594"/>
              <a:gd name="T44" fmla="*/ 2147483647 w 823"/>
              <a:gd name="T45" fmla="*/ 2147483647 h 594"/>
              <a:gd name="T46" fmla="*/ 2147483647 w 823"/>
              <a:gd name="T47" fmla="*/ 2147483647 h 594"/>
              <a:gd name="T48" fmla="*/ 2147483647 w 823"/>
              <a:gd name="T49" fmla="*/ 2147483647 h 594"/>
              <a:gd name="T50" fmla="*/ 2147483647 w 823"/>
              <a:gd name="T51" fmla="*/ 2147483647 h 594"/>
              <a:gd name="T52" fmla="*/ 2147483647 w 823"/>
              <a:gd name="T53" fmla="*/ 2147483647 h 594"/>
              <a:gd name="T54" fmla="*/ 2147483647 w 823"/>
              <a:gd name="T55" fmla="*/ 2147483647 h 594"/>
              <a:gd name="T56" fmla="*/ 2147483647 w 823"/>
              <a:gd name="T57" fmla="*/ 2147483647 h 594"/>
              <a:gd name="T58" fmla="*/ 2147483647 w 823"/>
              <a:gd name="T59" fmla="*/ 2147483647 h 594"/>
              <a:gd name="T60" fmla="*/ 2147483647 w 823"/>
              <a:gd name="T61" fmla="*/ 2147483647 h 594"/>
              <a:gd name="T62" fmla="*/ 2147483647 w 823"/>
              <a:gd name="T63" fmla="*/ 2147483647 h 594"/>
              <a:gd name="T64" fmla="*/ 2147483647 w 823"/>
              <a:gd name="T65" fmla="*/ 2147483647 h 594"/>
              <a:gd name="T66" fmla="*/ 2147483647 w 823"/>
              <a:gd name="T67" fmla="*/ 2147483647 h 594"/>
              <a:gd name="T68" fmla="*/ 2147483647 w 823"/>
              <a:gd name="T69" fmla="*/ 2147483647 h 594"/>
              <a:gd name="T70" fmla="*/ 2147483647 w 823"/>
              <a:gd name="T71" fmla="*/ 2147483647 h 594"/>
              <a:gd name="T72" fmla="*/ 2147483647 w 823"/>
              <a:gd name="T73" fmla="*/ 2147483647 h 59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3"/>
              <a:gd name="T112" fmla="*/ 0 h 594"/>
              <a:gd name="T113" fmla="*/ 823 w 823"/>
              <a:gd name="T114" fmla="*/ 594 h 59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3" h="594">
                <a:moveTo>
                  <a:pt x="345" y="118"/>
                </a:moveTo>
                <a:lnTo>
                  <a:pt x="361" y="83"/>
                </a:lnTo>
                <a:lnTo>
                  <a:pt x="361" y="67"/>
                </a:lnTo>
                <a:lnTo>
                  <a:pt x="410" y="33"/>
                </a:lnTo>
                <a:lnTo>
                  <a:pt x="542" y="0"/>
                </a:lnTo>
                <a:lnTo>
                  <a:pt x="558" y="16"/>
                </a:lnTo>
                <a:lnTo>
                  <a:pt x="542" y="50"/>
                </a:lnTo>
                <a:lnTo>
                  <a:pt x="542" y="67"/>
                </a:lnTo>
                <a:lnTo>
                  <a:pt x="575" y="101"/>
                </a:lnTo>
                <a:lnTo>
                  <a:pt x="591" y="151"/>
                </a:lnTo>
                <a:lnTo>
                  <a:pt x="591" y="203"/>
                </a:lnTo>
                <a:lnTo>
                  <a:pt x="591" y="236"/>
                </a:lnTo>
                <a:lnTo>
                  <a:pt x="624" y="253"/>
                </a:lnTo>
                <a:lnTo>
                  <a:pt x="624" y="304"/>
                </a:lnTo>
                <a:lnTo>
                  <a:pt x="624" y="321"/>
                </a:lnTo>
                <a:lnTo>
                  <a:pt x="640" y="355"/>
                </a:lnTo>
                <a:lnTo>
                  <a:pt x="640" y="389"/>
                </a:lnTo>
                <a:lnTo>
                  <a:pt x="640" y="422"/>
                </a:lnTo>
                <a:lnTo>
                  <a:pt x="640" y="440"/>
                </a:lnTo>
                <a:lnTo>
                  <a:pt x="640" y="473"/>
                </a:lnTo>
                <a:lnTo>
                  <a:pt x="640" y="490"/>
                </a:lnTo>
                <a:lnTo>
                  <a:pt x="640" y="525"/>
                </a:lnTo>
                <a:lnTo>
                  <a:pt x="657" y="541"/>
                </a:lnTo>
                <a:lnTo>
                  <a:pt x="640" y="575"/>
                </a:lnTo>
                <a:lnTo>
                  <a:pt x="657" y="575"/>
                </a:lnTo>
                <a:lnTo>
                  <a:pt x="673" y="558"/>
                </a:lnTo>
                <a:lnTo>
                  <a:pt x="673" y="575"/>
                </a:lnTo>
                <a:lnTo>
                  <a:pt x="706" y="558"/>
                </a:lnTo>
                <a:lnTo>
                  <a:pt x="723" y="558"/>
                </a:lnTo>
                <a:lnTo>
                  <a:pt x="772" y="525"/>
                </a:lnTo>
                <a:lnTo>
                  <a:pt x="788" y="507"/>
                </a:lnTo>
                <a:lnTo>
                  <a:pt x="788" y="525"/>
                </a:lnTo>
                <a:lnTo>
                  <a:pt x="805" y="507"/>
                </a:lnTo>
                <a:lnTo>
                  <a:pt x="822" y="507"/>
                </a:lnTo>
                <a:lnTo>
                  <a:pt x="805" y="525"/>
                </a:lnTo>
                <a:lnTo>
                  <a:pt x="788" y="541"/>
                </a:lnTo>
                <a:lnTo>
                  <a:pt x="739" y="558"/>
                </a:lnTo>
                <a:lnTo>
                  <a:pt x="706" y="575"/>
                </a:lnTo>
                <a:lnTo>
                  <a:pt x="673" y="575"/>
                </a:lnTo>
                <a:lnTo>
                  <a:pt x="657" y="593"/>
                </a:lnTo>
                <a:lnTo>
                  <a:pt x="640" y="575"/>
                </a:lnTo>
                <a:lnTo>
                  <a:pt x="624" y="575"/>
                </a:lnTo>
                <a:lnTo>
                  <a:pt x="607" y="575"/>
                </a:lnTo>
                <a:lnTo>
                  <a:pt x="591" y="558"/>
                </a:lnTo>
                <a:lnTo>
                  <a:pt x="591" y="541"/>
                </a:lnTo>
                <a:lnTo>
                  <a:pt x="575" y="541"/>
                </a:lnTo>
                <a:lnTo>
                  <a:pt x="558" y="541"/>
                </a:lnTo>
                <a:lnTo>
                  <a:pt x="542" y="541"/>
                </a:lnTo>
                <a:lnTo>
                  <a:pt x="525" y="541"/>
                </a:lnTo>
                <a:lnTo>
                  <a:pt x="508" y="525"/>
                </a:lnTo>
                <a:lnTo>
                  <a:pt x="525" y="507"/>
                </a:lnTo>
                <a:lnTo>
                  <a:pt x="508" y="490"/>
                </a:lnTo>
                <a:lnTo>
                  <a:pt x="492" y="490"/>
                </a:lnTo>
                <a:lnTo>
                  <a:pt x="476" y="490"/>
                </a:lnTo>
                <a:lnTo>
                  <a:pt x="476" y="473"/>
                </a:lnTo>
                <a:lnTo>
                  <a:pt x="16" y="575"/>
                </a:lnTo>
                <a:lnTo>
                  <a:pt x="0" y="541"/>
                </a:lnTo>
                <a:lnTo>
                  <a:pt x="65" y="473"/>
                </a:lnTo>
                <a:lnTo>
                  <a:pt x="65" y="440"/>
                </a:lnTo>
                <a:lnTo>
                  <a:pt x="65" y="422"/>
                </a:lnTo>
                <a:lnTo>
                  <a:pt x="65" y="406"/>
                </a:lnTo>
                <a:lnTo>
                  <a:pt x="81" y="389"/>
                </a:lnTo>
                <a:lnTo>
                  <a:pt x="115" y="355"/>
                </a:lnTo>
                <a:lnTo>
                  <a:pt x="180" y="339"/>
                </a:lnTo>
                <a:lnTo>
                  <a:pt x="180" y="355"/>
                </a:lnTo>
                <a:lnTo>
                  <a:pt x="230" y="339"/>
                </a:lnTo>
                <a:lnTo>
                  <a:pt x="246" y="321"/>
                </a:lnTo>
                <a:lnTo>
                  <a:pt x="278" y="304"/>
                </a:lnTo>
                <a:lnTo>
                  <a:pt x="295" y="287"/>
                </a:lnTo>
                <a:lnTo>
                  <a:pt x="295" y="253"/>
                </a:lnTo>
                <a:lnTo>
                  <a:pt x="295" y="219"/>
                </a:lnTo>
                <a:lnTo>
                  <a:pt x="262" y="203"/>
                </a:lnTo>
                <a:lnTo>
                  <a:pt x="295" y="186"/>
                </a:lnTo>
                <a:lnTo>
                  <a:pt x="295" y="168"/>
                </a:lnTo>
                <a:lnTo>
                  <a:pt x="345" y="118"/>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52" name="Freeform 3"/>
          <p:cNvSpPr>
            <a:spLocks/>
          </p:cNvSpPr>
          <p:nvPr/>
        </p:nvSpPr>
        <p:spPr bwMode="auto">
          <a:xfrm>
            <a:off x="2095501" y="2074069"/>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3" name="Freeform 4"/>
          <p:cNvSpPr>
            <a:spLocks/>
          </p:cNvSpPr>
          <p:nvPr/>
        </p:nvSpPr>
        <p:spPr bwMode="auto">
          <a:xfrm>
            <a:off x="2303463" y="2074069"/>
            <a:ext cx="182562"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4" name="Freeform 5"/>
          <p:cNvSpPr>
            <a:spLocks/>
          </p:cNvSpPr>
          <p:nvPr/>
        </p:nvSpPr>
        <p:spPr bwMode="auto">
          <a:xfrm>
            <a:off x="2536826" y="2074069"/>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5" name="Freeform 6"/>
          <p:cNvSpPr>
            <a:spLocks/>
          </p:cNvSpPr>
          <p:nvPr/>
        </p:nvSpPr>
        <p:spPr bwMode="auto">
          <a:xfrm>
            <a:off x="2768601" y="2074069"/>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6" name="Freeform 7"/>
          <p:cNvSpPr>
            <a:spLocks/>
          </p:cNvSpPr>
          <p:nvPr/>
        </p:nvSpPr>
        <p:spPr bwMode="auto">
          <a:xfrm>
            <a:off x="2976563" y="2074069"/>
            <a:ext cx="182562"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7" name="Freeform 8"/>
          <p:cNvSpPr>
            <a:spLocks/>
          </p:cNvSpPr>
          <p:nvPr/>
        </p:nvSpPr>
        <p:spPr bwMode="auto">
          <a:xfrm>
            <a:off x="3209926" y="2074069"/>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8" name="Freeform 9"/>
          <p:cNvSpPr>
            <a:spLocks/>
          </p:cNvSpPr>
          <p:nvPr/>
        </p:nvSpPr>
        <p:spPr bwMode="auto">
          <a:xfrm>
            <a:off x="3649663" y="2074069"/>
            <a:ext cx="182562"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a:lstStyle/>
          <a:p>
            <a:endParaRPr lang="en-US" dirty="0"/>
          </a:p>
        </p:txBody>
      </p:sp>
      <p:sp>
        <p:nvSpPr>
          <p:cNvPr id="2059" name="Freeform 10"/>
          <p:cNvSpPr>
            <a:spLocks/>
          </p:cNvSpPr>
          <p:nvPr/>
        </p:nvSpPr>
        <p:spPr bwMode="auto">
          <a:xfrm>
            <a:off x="8134350" y="1465660"/>
            <a:ext cx="234950" cy="377428"/>
          </a:xfrm>
          <a:custGeom>
            <a:avLst/>
            <a:gdLst>
              <a:gd name="T0" fmla="*/ 2147483647 w 148"/>
              <a:gd name="T1" fmla="*/ 0 h 317"/>
              <a:gd name="T2" fmla="*/ 2147483647 w 148"/>
              <a:gd name="T3" fmla="*/ 0 h 317"/>
              <a:gd name="T4" fmla="*/ 2147483647 w 148"/>
              <a:gd name="T5" fmla="*/ 2147483647 h 317"/>
              <a:gd name="T6" fmla="*/ 0 w 148"/>
              <a:gd name="T7" fmla="*/ 2147483647 h 317"/>
              <a:gd name="T8" fmla="*/ 0 w 148"/>
              <a:gd name="T9" fmla="*/ 2147483647 h 317"/>
              <a:gd name="T10" fmla="*/ 2147483647 w 148"/>
              <a:gd name="T11" fmla="*/ 2147483647 h 317"/>
              <a:gd name="T12" fmla="*/ 2147483647 w 148"/>
              <a:gd name="T13" fmla="*/ 2147483647 h 317"/>
              <a:gd name="T14" fmla="*/ 2147483647 w 148"/>
              <a:gd name="T15" fmla="*/ 2147483647 h 317"/>
              <a:gd name="T16" fmla="*/ 2147483647 w 148"/>
              <a:gd name="T17" fmla="*/ 2147483647 h 317"/>
              <a:gd name="T18" fmla="*/ 2147483647 w 148"/>
              <a:gd name="T19" fmla="*/ 2147483647 h 317"/>
              <a:gd name="T20" fmla="*/ 2147483647 w 148"/>
              <a:gd name="T21" fmla="*/ 2147483647 h 317"/>
              <a:gd name="T22" fmla="*/ 2147483647 w 148"/>
              <a:gd name="T23" fmla="*/ 2147483647 h 317"/>
              <a:gd name="T24" fmla="*/ 0 w 148"/>
              <a:gd name="T25" fmla="*/ 2147483647 h 317"/>
              <a:gd name="T26" fmla="*/ 2147483647 w 148"/>
              <a:gd name="T27" fmla="*/ 2147483647 h 317"/>
              <a:gd name="T28" fmla="*/ 2147483647 w 148"/>
              <a:gd name="T29" fmla="*/ 2147483647 h 317"/>
              <a:gd name="T30" fmla="*/ 2147483647 w 148"/>
              <a:gd name="T31" fmla="*/ 2147483647 h 317"/>
              <a:gd name="T32" fmla="*/ 2147483647 w 148"/>
              <a:gd name="T33" fmla="*/ 2147483647 h 317"/>
              <a:gd name="T34" fmla="*/ 2147483647 w 148"/>
              <a:gd name="T35" fmla="*/ 2147483647 h 317"/>
              <a:gd name="T36" fmla="*/ 2147483647 w 148"/>
              <a:gd name="T37" fmla="*/ 2147483647 h 317"/>
              <a:gd name="T38" fmla="*/ 2147483647 w 148"/>
              <a:gd name="T39" fmla="*/ 2147483647 h 317"/>
              <a:gd name="T40" fmla="*/ 2147483647 w 148"/>
              <a:gd name="T41" fmla="*/ 2147483647 h 317"/>
              <a:gd name="T42" fmla="*/ 2147483647 w 148"/>
              <a:gd name="T43" fmla="*/ 2147483647 h 317"/>
              <a:gd name="T44" fmla="*/ 2147483647 w 148"/>
              <a:gd name="T45" fmla="*/ 2147483647 h 317"/>
              <a:gd name="T46" fmla="*/ 2147483647 w 148"/>
              <a:gd name="T47" fmla="*/ 2147483647 h 317"/>
              <a:gd name="T48" fmla="*/ 2147483647 w 148"/>
              <a:gd name="T49" fmla="*/ 2147483647 h 317"/>
              <a:gd name="T50" fmla="*/ 2147483647 w 148"/>
              <a:gd name="T51" fmla="*/ 2147483647 h 317"/>
              <a:gd name="T52" fmla="*/ 2147483647 w 148"/>
              <a:gd name="T53" fmla="*/ 2147483647 h 317"/>
              <a:gd name="T54" fmla="*/ 2147483647 w 148"/>
              <a:gd name="T55" fmla="*/ 2147483647 h 317"/>
              <a:gd name="T56" fmla="*/ 2147483647 w 148"/>
              <a:gd name="T57" fmla="*/ 2147483647 h 317"/>
              <a:gd name="T58" fmla="*/ 2147483647 w 148"/>
              <a:gd name="T59" fmla="*/ 2147483647 h 317"/>
              <a:gd name="T60" fmla="*/ 2147483647 w 148"/>
              <a:gd name="T61" fmla="*/ 2147483647 h 317"/>
              <a:gd name="T62" fmla="*/ 2147483647 w 148"/>
              <a:gd name="T63" fmla="*/ 2147483647 h 317"/>
              <a:gd name="T64" fmla="*/ 2147483647 w 148"/>
              <a:gd name="T65" fmla="*/ 2147483647 h 317"/>
              <a:gd name="T66" fmla="*/ 2147483647 w 148"/>
              <a:gd name="T67" fmla="*/ 2147483647 h 317"/>
              <a:gd name="T68" fmla="*/ 2147483647 w 148"/>
              <a:gd name="T69" fmla="*/ 2147483647 h 317"/>
              <a:gd name="T70" fmla="*/ 2147483647 w 148"/>
              <a:gd name="T71" fmla="*/ 2147483647 h 317"/>
              <a:gd name="T72" fmla="*/ 2147483647 w 148"/>
              <a:gd name="T73" fmla="*/ 2147483647 h 317"/>
              <a:gd name="T74" fmla="*/ 2147483647 w 148"/>
              <a:gd name="T75" fmla="*/ 2147483647 h 317"/>
              <a:gd name="T76" fmla="*/ 2147483647 w 148"/>
              <a:gd name="T77" fmla="*/ 2147483647 h 317"/>
              <a:gd name="T78" fmla="*/ 2147483647 w 148"/>
              <a:gd name="T79" fmla="*/ 2147483647 h 317"/>
              <a:gd name="T80" fmla="*/ 2147483647 w 148"/>
              <a:gd name="T81" fmla="*/ 0 h 317"/>
              <a:gd name="T82" fmla="*/ 2147483647 w 148"/>
              <a:gd name="T83" fmla="*/ 0 h 317"/>
              <a:gd name="T84" fmla="*/ 2147483647 w 148"/>
              <a:gd name="T85" fmla="*/ 0 h 3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8"/>
              <a:gd name="T130" fmla="*/ 0 h 317"/>
              <a:gd name="T131" fmla="*/ 148 w 148"/>
              <a:gd name="T132" fmla="*/ 317 h 3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8" h="317">
                <a:moveTo>
                  <a:pt x="32" y="0"/>
                </a:moveTo>
                <a:lnTo>
                  <a:pt x="16" y="0"/>
                </a:lnTo>
                <a:lnTo>
                  <a:pt x="16" y="16"/>
                </a:lnTo>
                <a:lnTo>
                  <a:pt x="0" y="33"/>
                </a:lnTo>
                <a:lnTo>
                  <a:pt x="0" y="132"/>
                </a:lnTo>
                <a:lnTo>
                  <a:pt x="49" y="166"/>
                </a:lnTo>
                <a:lnTo>
                  <a:pt x="49" y="183"/>
                </a:lnTo>
                <a:lnTo>
                  <a:pt x="65" y="183"/>
                </a:lnTo>
                <a:lnTo>
                  <a:pt x="49" y="199"/>
                </a:lnTo>
                <a:lnTo>
                  <a:pt x="32" y="199"/>
                </a:lnTo>
                <a:lnTo>
                  <a:pt x="32" y="232"/>
                </a:lnTo>
                <a:lnTo>
                  <a:pt x="16" y="249"/>
                </a:lnTo>
                <a:lnTo>
                  <a:pt x="0" y="249"/>
                </a:lnTo>
                <a:lnTo>
                  <a:pt x="16" y="282"/>
                </a:lnTo>
                <a:lnTo>
                  <a:pt x="32" y="282"/>
                </a:lnTo>
                <a:lnTo>
                  <a:pt x="49" y="299"/>
                </a:lnTo>
                <a:lnTo>
                  <a:pt x="65" y="299"/>
                </a:lnTo>
                <a:lnTo>
                  <a:pt x="65" y="282"/>
                </a:lnTo>
                <a:lnTo>
                  <a:pt x="65" y="299"/>
                </a:lnTo>
                <a:lnTo>
                  <a:pt x="81" y="299"/>
                </a:lnTo>
                <a:lnTo>
                  <a:pt x="97" y="316"/>
                </a:lnTo>
                <a:lnTo>
                  <a:pt x="114" y="299"/>
                </a:lnTo>
                <a:lnTo>
                  <a:pt x="114" y="282"/>
                </a:lnTo>
                <a:lnTo>
                  <a:pt x="114" y="265"/>
                </a:lnTo>
                <a:lnTo>
                  <a:pt x="130" y="249"/>
                </a:lnTo>
                <a:lnTo>
                  <a:pt x="130" y="232"/>
                </a:lnTo>
                <a:lnTo>
                  <a:pt x="130" y="215"/>
                </a:lnTo>
                <a:lnTo>
                  <a:pt x="147" y="199"/>
                </a:lnTo>
                <a:lnTo>
                  <a:pt x="147" y="183"/>
                </a:lnTo>
                <a:lnTo>
                  <a:pt x="147" y="166"/>
                </a:lnTo>
                <a:lnTo>
                  <a:pt x="130" y="132"/>
                </a:lnTo>
                <a:lnTo>
                  <a:pt x="130" y="100"/>
                </a:lnTo>
                <a:lnTo>
                  <a:pt x="114" y="100"/>
                </a:lnTo>
                <a:lnTo>
                  <a:pt x="114" y="83"/>
                </a:lnTo>
                <a:lnTo>
                  <a:pt x="114" y="66"/>
                </a:lnTo>
                <a:lnTo>
                  <a:pt x="114" y="50"/>
                </a:lnTo>
                <a:lnTo>
                  <a:pt x="114" y="33"/>
                </a:lnTo>
                <a:lnTo>
                  <a:pt x="97" y="33"/>
                </a:lnTo>
                <a:lnTo>
                  <a:pt x="81" y="33"/>
                </a:lnTo>
                <a:lnTo>
                  <a:pt x="65" y="16"/>
                </a:lnTo>
                <a:lnTo>
                  <a:pt x="65" y="0"/>
                </a:lnTo>
                <a:lnTo>
                  <a:pt x="49" y="0"/>
                </a:lnTo>
                <a:lnTo>
                  <a:pt x="32" y="0"/>
                </a:lnTo>
              </a:path>
            </a:pathLst>
          </a:custGeom>
          <a:solidFill>
            <a:srgbClr val="0033CC"/>
          </a:solidFill>
          <a:ln w="12700" cap="rnd" cmpd="sng">
            <a:solidFill>
              <a:schemeClr val="tx1"/>
            </a:solidFill>
            <a:prstDash val="solid"/>
            <a:round/>
            <a:headEnd type="none" w="sm" len="sm"/>
            <a:tailEnd type="none" w="sm" len="sm"/>
          </a:ln>
        </p:spPr>
        <p:txBody>
          <a:bodyPr/>
          <a:lstStyle/>
          <a:p>
            <a:endParaRPr lang="en-US" dirty="0"/>
          </a:p>
        </p:txBody>
      </p:sp>
      <p:sp>
        <p:nvSpPr>
          <p:cNvPr id="2060" name="Freeform 11"/>
          <p:cNvSpPr>
            <a:spLocks/>
          </p:cNvSpPr>
          <p:nvPr/>
        </p:nvSpPr>
        <p:spPr bwMode="auto">
          <a:xfrm>
            <a:off x="8315326" y="1269207"/>
            <a:ext cx="288925" cy="197644"/>
          </a:xfrm>
          <a:custGeom>
            <a:avLst/>
            <a:gdLst>
              <a:gd name="T0" fmla="*/ 0 w 182"/>
              <a:gd name="T1" fmla="*/ 2147483647 h 166"/>
              <a:gd name="T2" fmla="*/ 0 w 182"/>
              <a:gd name="T3" fmla="*/ 2147483647 h 166"/>
              <a:gd name="T4" fmla="*/ 0 w 182"/>
              <a:gd name="T5" fmla="*/ 2147483647 h 166"/>
              <a:gd name="T6" fmla="*/ 0 w 182"/>
              <a:gd name="T7" fmla="*/ 2147483647 h 166"/>
              <a:gd name="T8" fmla="*/ 0 w 182"/>
              <a:gd name="T9" fmla="*/ 2147483647 h 166"/>
              <a:gd name="T10" fmla="*/ 2147483647 w 182"/>
              <a:gd name="T11" fmla="*/ 2147483647 h 166"/>
              <a:gd name="T12" fmla="*/ 2147483647 w 182"/>
              <a:gd name="T13" fmla="*/ 2147483647 h 166"/>
              <a:gd name="T14" fmla="*/ 2147483647 w 182"/>
              <a:gd name="T15" fmla="*/ 2147483647 h 166"/>
              <a:gd name="T16" fmla="*/ 2147483647 w 182"/>
              <a:gd name="T17" fmla="*/ 2147483647 h 166"/>
              <a:gd name="T18" fmla="*/ 2147483647 w 182"/>
              <a:gd name="T19" fmla="*/ 2147483647 h 166"/>
              <a:gd name="T20" fmla="*/ 2147483647 w 182"/>
              <a:gd name="T21" fmla="*/ 2147483647 h 166"/>
              <a:gd name="T22" fmla="*/ 2147483647 w 182"/>
              <a:gd name="T23" fmla="*/ 2147483647 h 166"/>
              <a:gd name="T24" fmla="*/ 2147483647 w 182"/>
              <a:gd name="T25" fmla="*/ 2147483647 h 166"/>
              <a:gd name="T26" fmla="*/ 2147483647 w 182"/>
              <a:gd name="T27" fmla="*/ 2147483647 h 166"/>
              <a:gd name="T28" fmla="*/ 2147483647 w 182"/>
              <a:gd name="T29" fmla="*/ 2147483647 h 166"/>
              <a:gd name="T30" fmla="*/ 2147483647 w 182"/>
              <a:gd name="T31" fmla="*/ 2147483647 h 166"/>
              <a:gd name="T32" fmla="*/ 2147483647 w 182"/>
              <a:gd name="T33" fmla="*/ 2147483647 h 166"/>
              <a:gd name="T34" fmla="*/ 2147483647 w 182"/>
              <a:gd name="T35" fmla="*/ 2147483647 h 166"/>
              <a:gd name="T36" fmla="*/ 2147483647 w 182"/>
              <a:gd name="T37" fmla="*/ 0 h 166"/>
              <a:gd name="T38" fmla="*/ 0 w 182"/>
              <a:gd name="T39" fmla="*/ 2147483647 h 1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2"/>
              <a:gd name="T61" fmla="*/ 0 h 166"/>
              <a:gd name="T62" fmla="*/ 182 w 182"/>
              <a:gd name="T63" fmla="*/ 166 h 1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2" h="166">
                <a:moveTo>
                  <a:pt x="0" y="49"/>
                </a:moveTo>
                <a:lnTo>
                  <a:pt x="0" y="66"/>
                </a:lnTo>
                <a:lnTo>
                  <a:pt x="0" y="98"/>
                </a:lnTo>
                <a:lnTo>
                  <a:pt x="0" y="115"/>
                </a:lnTo>
                <a:lnTo>
                  <a:pt x="0" y="149"/>
                </a:lnTo>
                <a:lnTo>
                  <a:pt x="16" y="165"/>
                </a:lnTo>
                <a:lnTo>
                  <a:pt x="33" y="149"/>
                </a:lnTo>
                <a:lnTo>
                  <a:pt x="49" y="165"/>
                </a:lnTo>
                <a:lnTo>
                  <a:pt x="66" y="149"/>
                </a:lnTo>
                <a:lnTo>
                  <a:pt x="66" y="132"/>
                </a:lnTo>
                <a:lnTo>
                  <a:pt x="82" y="115"/>
                </a:lnTo>
                <a:lnTo>
                  <a:pt x="98" y="115"/>
                </a:lnTo>
                <a:lnTo>
                  <a:pt x="114" y="98"/>
                </a:lnTo>
                <a:lnTo>
                  <a:pt x="131" y="98"/>
                </a:lnTo>
                <a:lnTo>
                  <a:pt x="147" y="98"/>
                </a:lnTo>
                <a:lnTo>
                  <a:pt x="164" y="83"/>
                </a:lnTo>
                <a:lnTo>
                  <a:pt x="181" y="83"/>
                </a:lnTo>
                <a:lnTo>
                  <a:pt x="181" y="66"/>
                </a:lnTo>
                <a:lnTo>
                  <a:pt x="181" y="0"/>
                </a:lnTo>
                <a:lnTo>
                  <a:pt x="0" y="49"/>
                </a:lnTo>
              </a:path>
            </a:pathLst>
          </a:custGeom>
          <a:solidFill>
            <a:srgbClr val="0033CC"/>
          </a:solidFill>
          <a:ln w="12700" cap="rnd" cmpd="sng">
            <a:solidFill>
              <a:schemeClr val="tx1"/>
            </a:solidFill>
            <a:prstDash val="solid"/>
            <a:round/>
            <a:headEnd type="none" w="sm" len="sm"/>
            <a:tailEnd type="none" w="sm" len="sm"/>
          </a:ln>
        </p:spPr>
        <p:txBody>
          <a:bodyPr/>
          <a:lstStyle/>
          <a:p>
            <a:endParaRPr lang="en-US" dirty="0"/>
          </a:p>
        </p:txBody>
      </p:sp>
      <p:sp>
        <p:nvSpPr>
          <p:cNvPr id="2061" name="Freeform 12"/>
          <p:cNvSpPr>
            <a:spLocks/>
          </p:cNvSpPr>
          <p:nvPr/>
        </p:nvSpPr>
        <p:spPr bwMode="auto">
          <a:xfrm>
            <a:off x="8602664" y="1269207"/>
            <a:ext cx="103187" cy="79772"/>
          </a:xfrm>
          <a:custGeom>
            <a:avLst/>
            <a:gdLst>
              <a:gd name="T0" fmla="*/ 2147483647 w 65"/>
              <a:gd name="T1" fmla="*/ 2147483647 h 67"/>
              <a:gd name="T2" fmla="*/ 2147483647 w 65"/>
              <a:gd name="T3" fmla="*/ 2147483647 h 67"/>
              <a:gd name="T4" fmla="*/ 2147483647 w 65"/>
              <a:gd name="T5" fmla="*/ 0 h 67"/>
              <a:gd name="T6" fmla="*/ 2147483647 w 65"/>
              <a:gd name="T7" fmla="*/ 0 h 67"/>
              <a:gd name="T8" fmla="*/ 0 w 65"/>
              <a:gd name="T9" fmla="*/ 0 h 67"/>
              <a:gd name="T10" fmla="*/ 0 w 65"/>
              <a:gd name="T11" fmla="*/ 2147483647 h 67"/>
              <a:gd name="T12" fmla="*/ 2147483647 w 65"/>
              <a:gd name="T13" fmla="*/ 2147483647 h 67"/>
              <a:gd name="T14" fmla="*/ 2147483647 w 65"/>
              <a:gd name="T15" fmla="*/ 2147483647 h 67"/>
              <a:gd name="T16" fmla="*/ 2147483647 w 65"/>
              <a:gd name="T17" fmla="*/ 2147483647 h 67"/>
              <a:gd name="T18" fmla="*/ 2147483647 w 65"/>
              <a:gd name="T19" fmla="*/ 2147483647 h 67"/>
              <a:gd name="T20" fmla="*/ 2147483647 w 65"/>
              <a:gd name="T21" fmla="*/ 2147483647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
              <a:gd name="T34" fmla="*/ 0 h 67"/>
              <a:gd name="T35" fmla="*/ 65 w 65"/>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 h="67">
                <a:moveTo>
                  <a:pt x="64" y="33"/>
                </a:moveTo>
                <a:lnTo>
                  <a:pt x="31" y="16"/>
                </a:lnTo>
                <a:lnTo>
                  <a:pt x="31" y="0"/>
                </a:lnTo>
                <a:lnTo>
                  <a:pt x="16" y="0"/>
                </a:lnTo>
                <a:lnTo>
                  <a:pt x="0" y="0"/>
                </a:lnTo>
                <a:lnTo>
                  <a:pt x="0" y="66"/>
                </a:lnTo>
                <a:lnTo>
                  <a:pt x="16" y="66"/>
                </a:lnTo>
                <a:lnTo>
                  <a:pt x="31" y="66"/>
                </a:lnTo>
                <a:lnTo>
                  <a:pt x="31" y="33"/>
                </a:lnTo>
                <a:lnTo>
                  <a:pt x="47" y="49"/>
                </a:lnTo>
                <a:lnTo>
                  <a:pt x="64" y="33"/>
                </a:lnTo>
              </a:path>
            </a:pathLst>
          </a:custGeom>
          <a:noFill/>
          <a:ln w="12700" cap="rnd" cmpd="sng">
            <a:solidFill>
              <a:schemeClr val="tx1"/>
            </a:solidFill>
            <a:prstDash val="solid"/>
            <a:round/>
            <a:headEnd type="none" w="sm" len="sm"/>
            <a:tailEnd type="none" w="sm" len="sm"/>
          </a:ln>
        </p:spPr>
        <p:txBody>
          <a:bodyPr/>
          <a:lstStyle/>
          <a:p>
            <a:endParaRPr lang="en-US" dirty="0"/>
          </a:p>
        </p:txBody>
      </p:sp>
      <p:sp>
        <p:nvSpPr>
          <p:cNvPr id="2062" name="Freeform 13"/>
          <p:cNvSpPr>
            <a:spLocks/>
          </p:cNvSpPr>
          <p:nvPr/>
        </p:nvSpPr>
        <p:spPr bwMode="auto">
          <a:xfrm>
            <a:off x="8289925" y="1112044"/>
            <a:ext cx="598488" cy="217885"/>
          </a:xfrm>
          <a:custGeom>
            <a:avLst/>
            <a:gdLst>
              <a:gd name="T0" fmla="*/ 2147483647 w 377"/>
              <a:gd name="T1" fmla="*/ 0 h 183"/>
              <a:gd name="T2" fmla="*/ 2147483647 w 377"/>
              <a:gd name="T3" fmla="*/ 0 h 183"/>
              <a:gd name="T4" fmla="*/ 2147483647 w 377"/>
              <a:gd name="T5" fmla="*/ 2147483647 h 183"/>
              <a:gd name="T6" fmla="*/ 2147483647 w 377"/>
              <a:gd name="T7" fmla="*/ 2147483647 h 183"/>
              <a:gd name="T8" fmla="*/ 2147483647 w 377"/>
              <a:gd name="T9" fmla="*/ 2147483647 h 183"/>
              <a:gd name="T10" fmla="*/ 2147483647 w 377"/>
              <a:gd name="T11" fmla="*/ 2147483647 h 183"/>
              <a:gd name="T12" fmla="*/ 0 w 377"/>
              <a:gd name="T13" fmla="*/ 2147483647 h 183"/>
              <a:gd name="T14" fmla="*/ 2147483647 w 377"/>
              <a:gd name="T15" fmla="*/ 2147483647 h 183"/>
              <a:gd name="T16" fmla="*/ 2147483647 w 377"/>
              <a:gd name="T17" fmla="*/ 2147483647 h 183"/>
              <a:gd name="T18" fmla="*/ 2147483647 w 377"/>
              <a:gd name="T19" fmla="*/ 2147483647 h 183"/>
              <a:gd name="T20" fmla="*/ 2147483647 w 377"/>
              <a:gd name="T21" fmla="*/ 2147483647 h 183"/>
              <a:gd name="T22" fmla="*/ 2147483647 w 377"/>
              <a:gd name="T23" fmla="*/ 2147483647 h 183"/>
              <a:gd name="T24" fmla="*/ 2147483647 w 377"/>
              <a:gd name="T25" fmla="*/ 2147483647 h 183"/>
              <a:gd name="T26" fmla="*/ 2147483647 w 377"/>
              <a:gd name="T27" fmla="*/ 2147483647 h 183"/>
              <a:gd name="T28" fmla="*/ 2147483647 w 377"/>
              <a:gd name="T29" fmla="*/ 2147483647 h 183"/>
              <a:gd name="T30" fmla="*/ 2147483647 w 377"/>
              <a:gd name="T31" fmla="*/ 2147483647 h 183"/>
              <a:gd name="T32" fmla="*/ 2147483647 w 377"/>
              <a:gd name="T33" fmla="*/ 2147483647 h 183"/>
              <a:gd name="T34" fmla="*/ 2147483647 w 377"/>
              <a:gd name="T35" fmla="*/ 2147483647 h 183"/>
              <a:gd name="T36" fmla="*/ 2147483647 w 377"/>
              <a:gd name="T37" fmla="*/ 2147483647 h 183"/>
              <a:gd name="T38" fmla="*/ 2147483647 w 377"/>
              <a:gd name="T39" fmla="*/ 2147483647 h 183"/>
              <a:gd name="T40" fmla="*/ 2147483647 w 377"/>
              <a:gd name="T41" fmla="*/ 2147483647 h 183"/>
              <a:gd name="T42" fmla="*/ 2147483647 w 377"/>
              <a:gd name="T43" fmla="*/ 2147483647 h 183"/>
              <a:gd name="T44" fmla="*/ 2147483647 w 377"/>
              <a:gd name="T45" fmla="*/ 2147483647 h 183"/>
              <a:gd name="T46" fmla="*/ 2147483647 w 377"/>
              <a:gd name="T47" fmla="*/ 2147483647 h 183"/>
              <a:gd name="T48" fmla="*/ 2147483647 w 377"/>
              <a:gd name="T49" fmla="*/ 2147483647 h 183"/>
              <a:gd name="T50" fmla="*/ 2147483647 w 377"/>
              <a:gd name="T51" fmla="*/ 2147483647 h 183"/>
              <a:gd name="T52" fmla="*/ 2147483647 w 377"/>
              <a:gd name="T53" fmla="*/ 2147483647 h 183"/>
              <a:gd name="T54" fmla="*/ 2147483647 w 377"/>
              <a:gd name="T55" fmla="*/ 2147483647 h 183"/>
              <a:gd name="T56" fmla="*/ 2147483647 w 377"/>
              <a:gd name="T57" fmla="*/ 2147483647 h 183"/>
              <a:gd name="T58" fmla="*/ 2147483647 w 377"/>
              <a:gd name="T59" fmla="*/ 2147483647 h 183"/>
              <a:gd name="T60" fmla="*/ 2147483647 w 377"/>
              <a:gd name="T61" fmla="*/ 2147483647 h 183"/>
              <a:gd name="T62" fmla="*/ 2147483647 w 377"/>
              <a:gd name="T63" fmla="*/ 2147483647 h 183"/>
              <a:gd name="T64" fmla="*/ 2147483647 w 377"/>
              <a:gd name="T65" fmla="*/ 2147483647 h 183"/>
              <a:gd name="T66" fmla="*/ 2147483647 w 377"/>
              <a:gd name="T67" fmla="*/ 2147483647 h 183"/>
              <a:gd name="T68" fmla="*/ 2147483647 w 377"/>
              <a:gd name="T69" fmla="*/ 2147483647 h 183"/>
              <a:gd name="T70" fmla="*/ 2147483647 w 377"/>
              <a:gd name="T71" fmla="*/ 2147483647 h 183"/>
              <a:gd name="T72" fmla="*/ 2147483647 w 377"/>
              <a:gd name="T73" fmla="*/ 2147483647 h 183"/>
              <a:gd name="T74" fmla="*/ 2147483647 w 377"/>
              <a:gd name="T75" fmla="*/ 2147483647 h 183"/>
              <a:gd name="T76" fmla="*/ 2147483647 w 377"/>
              <a:gd name="T77" fmla="*/ 2147483647 h 183"/>
              <a:gd name="T78" fmla="*/ 2147483647 w 377"/>
              <a:gd name="T79" fmla="*/ 2147483647 h 183"/>
              <a:gd name="T80" fmla="*/ 2147483647 w 377"/>
              <a:gd name="T81" fmla="*/ 2147483647 h 183"/>
              <a:gd name="T82" fmla="*/ 2147483647 w 377"/>
              <a:gd name="T83" fmla="*/ 0 h 183"/>
              <a:gd name="T84" fmla="*/ 2147483647 w 377"/>
              <a:gd name="T85" fmla="*/ 0 h 1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77"/>
              <a:gd name="T130" fmla="*/ 0 h 183"/>
              <a:gd name="T131" fmla="*/ 377 w 377"/>
              <a:gd name="T132" fmla="*/ 183 h 1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77" h="183">
                <a:moveTo>
                  <a:pt x="245" y="0"/>
                </a:moveTo>
                <a:lnTo>
                  <a:pt x="228" y="0"/>
                </a:lnTo>
                <a:lnTo>
                  <a:pt x="213" y="16"/>
                </a:lnTo>
                <a:lnTo>
                  <a:pt x="196" y="16"/>
                </a:lnTo>
                <a:lnTo>
                  <a:pt x="196" y="33"/>
                </a:lnTo>
                <a:lnTo>
                  <a:pt x="65" y="66"/>
                </a:lnTo>
                <a:lnTo>
                  <a:pt x="0" y="83"/>
                </a:lnTo>
                <a:lnTo>
                  <a:pt x="16" y="115"/>
                </a:lnTo>
                <a:lnTo>
                  <a:pt x="16" y="149"/>
                </a:lnTo>
                <a:lnTo>
                  <a:pt x="16" y="182"/>
                </a:lnTo>
                <a:lnTo>
                  <a:pt x="213" y="132"/>
                </a:lnTo>
                <a:lnTo>
                  <a:pt x="228" y="132"/>
                </a:lnTo>
                <a:lnTo>
                  <a:pt x="228" y="149"/>
                </a:lnTo>
                <a:lnTo>
                  <a:pt x="261" y="166"/>
                </a:lnTo>
                <a:lnTo>
                  <a:pt x="278" y="149"/>
                </a:lnTo>
                <a:lnTo>
                  <a:pt x="294" y="132"/>
                </a:lnTo>
                <a:lnTo>
                  <a:pt x="294" y="115"/>
                </a:lnTo>
                <a:lnTo>
                  <a:pt x="311" y="115"/>
                </a:lnTo>
                <a:lnTo>
                  <a:pt x="311" y="132"/>
                </a:lnTo>
                <a:lnTo>
                  <a:pt x="327" y="132"/>
                </a:lnTo>
                <a:lnTo>
                  <a:pt x="343" y="115"/>
                </a:lnTo>
                <a:lnTo>
                  <a:pt x="343" y="100"/>
                </a:lnTo>
                <a:lnTo>
                  <a:pt x="359" y="100"/>
                </a:lnTo>
                <a:lnTo>
                  <a:pt x="376" y="100"/>
                </a:lnTo>
                <a:lnTo>
                  <a:pt x="359" y="83"/>
                </a:lnTo>
                <a:lnTo>
                  <a:pt x="359" y="66"/>
                </a:lnTo>
                <a:lnTo>
                  <a:pt x="343" y="66"/>
                </a:lnTo>
                <a:lnTo>
                  <a:pt x="327" y="66"/>
                </a:lnTo>
                <a:lnTo>
                  <a:pt x="343" y="66"/>
                </a:lnTo>
                <a:lnTo>
                  <a:pt x="343" y="83"/>
                </a:lnTo>
                <a:lnTo>
                  <a:pt x="327" y="100"/>
                </a:lnTo>
                <a:lnTo>
                  <a:pt x="311" y="100"/>
                </a:lnTo>
                <a:lnTo>
                  <a:pt x="311" y="83"/>
                </a:lnTo>
                <a:lnTo>
                  <a:pt x="294" y="83"/>
                </a:lnTo>
                <a:lnTo>
                  <a:pt x="294" y="66"/>
                </a:lnTo>
                <a:lnTo>
                  <a:pt x="278" y="66"/>
                </a:lnTo>
                <a:lnTo>
                  <a:pt x="261" y="66"/>
                </a:lnTo>
                <a:lnTo>
                  <a:pt x="245" y="66"/>
                </a:lnTo>
                <a:lnTo>
                  <a:pt x="245" y="49"/>
                </a:lnTo>
                <a:lnTo>
                  <a:pt x="261" y="33"/>
                </a:lnTo>
                <a:lnTo>
                  <a:pt x="261" y="16"/>
                </a:lnTo>
                <a:lnTo>
                  <a:pt x="261" y="0"/>
                </a:lnTo>
                <a:lnTo>
                  <a:pt x="245" y="0"/>
                </a:lnTo>
              </a:path>
            </a:pathLst>
          </a:custGeom>
          <a:solidFill>
            <a:srgbClr val="0033CC"/>
          </a:solidFill>
          <a:ln w="12700" cap="rnd" cmpd="sng">
            <a:solidFill>
              <a:schemeClr val="tx1"/>
            </a:solidFill>
            <a:prstDash val="solid"/>
            <a:round/>
            <a:headEnd type="none" w="sm" len="sm"/>
            <a:tailEnd type="none" w="sm" len="sm"/>
          </a:ln>
        </p:spPr>
        <p:txBody>
          <a:bodyPr/>
          <a:lstStyle/>
          <a:p>
            <a:endParaRPr lang="en-US" dirty="0"/>
          </a:p>
        </p:txBody>
      </p:sp>
      <p:sp>
        <p:nvSpPr>
          <p:cNvPr id="2063" name="Freeform 14"/>
          <p:cNvSpPr>
            <a:spLocks/>
          </p:cNvSpPr>
          <p:nvPr/>
        </p:nvSpPr>
        <p:spPr bwMode="auto">
          <a:xfrm>
            <a:off x="8367714" y="700087"/>
            <a:ext cx="312737" cy="491729"/>
          </a:xfrm>
          <a:custGeom>
            <a:avLst/>
            <a:gdLst>
              <a:gd name="T0" fmla="*/ 2147483647 w 197"/>
              <a:gd name="T1" fmla="*/ 2147483647 h 413"/>
              <a:gd name="T2" fmla="*/ 2147483647 w 197"/>
              <a:gd name="T3" fmla="*/ 0 h 413"/>
              <a:gd name="T4" fmla="*/ 2147483647 w 197"/>
              <a:gd name="T5" fmla="*/ 0 h 413"/>
              <a:gd name="T6" fmla="*/ 2147483647 w 197"/>
              <a:gd name="T7" fmla="*/ 2147483647 h 413"/>
              <a:gd name="T8" fmla="*/ 2147483647 w 197"/>
              <a:gd name="T9" fmla="*/ 2147483647 h 413"/>
              <a:gd name="T10" fmla="*/ 2147483647 w 197"/>
              <a:gd name="T11" fmla="*/ 2147483647 h 413"/>
              <a:gd name="T12" fmla="*/ 2147483647 w 197"/>
              <a:gd name="T13" fmla="*/ 2147483647 h 413"/>
              <a:gd name="T14" fmla="*/ 2147483647 w 197"/>
              <a:gd name="T15" fmla="*/ 2147483647 h 413"/>
              <a:gd name="T16" fmla="*/ 2147483647 w 197"/>
              <a:gd name="T17" fmla="*/ 2147483647 h 413"/>
              <a:gd name="T18" fmla="*/ 2147483647 w 197"/>
              <a:gd name="T19" fmla="*/ 2147483647 h 413"/>
              <a:gd name="T20" fmla="*/ 0 w 197"/>
              <a:gd name="T21" fmla="*/ 2147483647 h 413"/>
              <a:gd name="T22" fmla="*/ 2147483647 w 197"/>
              <a:gd name="T23" fmla="*/ 2147483647 h 413"/>
              <a:gd name="T24" fmla="*/ 2147483647 w 197"/>
              <a:gd name="T25" fmla="*/ 2147483647 h 413"/>
              <a:gd name="T26" fmla="*/ 0 w 197"/>
              <a:gd name="T27" fmla="*/ 2147483647 h 413"/>
              <a:gd name="T28" fmla="*/ 0 w 197"/>
              <a:gd name="T29" fmla="*/ 2147483647 h 413"/>
              <a:gd name="T30" fmla="*/ 2147483647 w 197"/>
              <a:gd name="T31" fmla="*/ 2147483647 h 413"/>
              <a:gd name="T32" fmla="*/ 2147483647 w 197"/>
              <a:gd name="T33" fmla="*/ 2147483647 h 413"/>
              <a:gd name="T34" fmla="*/ 2147483647 w 197"/>
              <a:gd name="T35" fmla="*/ 2147483647 h 413"/>
              <a:gd name="T36" fmla="*/ 2147483647 w 197"/>
              <a:gd name="T37" fmla="*/ 2147483647 h 413"/>
              <a:gd name="T38" fmla="*/ 2147483647 w 197"/>
              <a:gd name="T39" fmla="*/ 2147483647 h 413"/>
              <a:gd name="T40" fmla="*/ 2147483647 w 197"/>
              <a:gd name="T41" fmla="*/ 2147483647 h 413"/>
              <a:gd name="T42" fmla="*/ 2147483647 w 197"/>
              <a:gd name="T43" fmla="*/ 2147483647 h 413"/>
              <a:gd name="T44" fmla="*/ 2147483647 w 197"/>
              <a:gd name="T45" fmla="*/ 2147483647 h 413"/>
              <a:gd name="T46" fmla="*/ 2147483647 w 197"/>
              <a:gd name="T47" fmla="*/ 2147483647 h 413"/>
              <a:gd name="T48" fmla="*/ 2147483647 w 197"/>
              <a:gd name="T49" fmla="*/ 2147483647 h 413"/>
              <a:gd name="T50" fmla="*/ 2147483647 w 197"/>
              <a:gd name="T51" fmla="*/ 2147483647 h 413"/>
              <a:gd name="T52" fmla="*/ 2147483647 w 197"/>
              <a:gd name="T53" fmla="*/ 2147483647 h 41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7"/>
              <a:gd name="T82" fmla="*/ 0 h 413"/>
              <a:gd name="T83" fmla="*/ 197 w 197"/>
              <a:gd name="T84" fmla="*/ 413 h 41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7" h="413">
                <a:moveTo>
                  <a:pt x="147" y="263"/>
                </a:moveTo>
                <a:lnTo>
                  <a:pt x="49" y="0"/>
                </a:lnTo>
                <a:lnTo>
                  <a:pt x="33" y="0"/>
                </a:lnTo>
                <a:lnTo>
                  <a:pt x="16" y="15"/>
                </a:lnTo>
                <a:lnTo>
                  <a:pt x="16" y="66"/>
                </a:lnTo>
                <a:lnTo>
                  <a:pt x="16" y="81"/>
                </a:lnTo>
                <a:lnTo>
                  <a:pt x="33" y="98"/>
                </a:lnTo>
                <a:lnTo>
                  <a:pt x="33" y="130"/>
                </a:lnTo>
                <a:lnTo>
                  <a:pt x="33" y="147"/>
                </a:lnTo>
                <a:lnTo>
                  <a:pt x="33" y="164"/>
                </a:lnTo>
                <a:lnTo>
                  <a:pt x="0" y="196"/>
                </a:lnTo>
                <a:lnTo>
                  <a:pt x="16" y="196"/>
                </a:lnTo>
                <a:lnTo>
                  <a:pt x="16" y="213"/>
                </a:lnTo>
                <a:lnTo>
                  <a:pt x="0" y="263"/>
                </a:lnTo>
                <a:lnTo>
                  <a:pt x="0" y="329"/>
                </a:lnTo>
                <a:lnTo>
                  <a:pt x="16" y="362"/>
                </a:lnTo>
                <a:lnTo>
                  <a:pt x="16" y="412"/>
                </a:lnTo>
                <a:lnTo>
                  <a:pt x="147" y="379"/>
                </a:lnTo>
                <a:lnTo>
                  <a:pt x="147" y="362"/>
                </a:lnTo>
                <a:lnTo>
                  <a:pt x="164" y="362"/>
                </a:lnTo>
                <a:lnTo>
                  <a:pt x="179" y="345"/>
                </a:lnTo>
                <a:lnTo>
                  <a:pt x="196" y="345"/>
                </a:lnTo>
                <a:lnTo>
                  <a:pt x="196" y="296"/>
                </a:lnTo>
                <a:lnTo>
                  <a:pt x="179" y="296"/>
                </a:lnTo>
                <a:lnTo>
                  <a:pt x="164" y="279"/>
                </a:lnTo>
                <a:lnTo>
                  <a:pt x="164" y="263"/>
                </a:lnTo>
                <a:lnTo>
                  <a:pt x="147" y="263"/>
                </a:lnTo>
              </a:path>
            </a:pathLst>
          </a:custGeom>
          <a:solidFill>
            <a:srgbClr val="0033CC"/>
          </a:solidFill>
          <a:ln w="12700" cap="rnd" cmpd="sng">
            <a:solidFill>
              <a:schemeClr val="tx1"/>
            </a:solidFill>
            <a:prstDash val="solid"/>
            <a:round/>
            <a:headEnd type="none" w="sm" len="sm"/>
            <a:tailEnd type="none" w="sm" len="sm"/>
          </a:ln>
        </p:spPr>
        <p:txBody>
          <a:bodyPr/>
          <a:lstStyle/>
          <a:p>
            <a:endParaRPr lang="en-US" dirty="0"/>
          </a:p>
        </p:txBody>
      </p:sp>
      <p:sp>
        <p:nvSpPr>
          <p:cNvPr id="2064" name="Freeform 15"/>
          <p:cNvSpPr>
            <a:spLocks/>
          </p:cNvSpPr>
          <p:nvPr/>
        </p:nvSpPr>
        <p:spPr bwMode="auto">
          <a:xfrm>
            <a:off x="8161338" y="777479"/>
            <a:ext cx="260350" cy="434578"/>
          </a:xfrm>
          <a:custGeom>
            <a:avLst/>
            <a:gdLst>
              <a:gd name="T0" fmla="*/ 2147483647 w 164"/>
              <a:gd name="T1" fmla="*/ 0 h 365"/>
              <a:gd name="T2" fmla="*/ 2147483647 w 164"/>
              <a:gd name="T3" fmla="*/ 2147483647 h 365"/>
              <a:gd name="T4" fmla="*/ 0 w 164"/>
              <a:gd name="T5" fmla="*/ 2147483647 h 365"/>
              <a:gd name="T6" fmla="*/ 2147483647 w 164"/>
              <a:gd name="T7" fmla="*/ 2147483647 h 365"/>
              <a:gd name="T8" fmla="*/ 0 w 164"/>
              <a:gd name="T9" fmla="*/ 2147483647 h 365"/>
              <a:gd name="T10" fmla="*/ 0 w 164"/>
              <a:gd name="T11" fmla="*/ 2147483647 h 365"/>
              <a:gd name="T12" fmla="*/ 2147483647 w 164"/>
              <a:gd name="T13" fmla="*/ 2147483647 h 365"/>
              <a:gd name="T14" fmla="*/ 2147483647 w 164"/>
              <a:gd name="T15" fmla="*/ 2147483647 h 365"/>
              <a:gd name="T16" fmla="*/ 2147483647 w 164"/>
              <a:gd name="T17" fmla="*/ 2147483647 h 365"/>
              <a:gd name="T18" fmla="*/ 2147483647 w 164"/>
              <a:gd name="T19" fmla="*/ 2147483647 h 365"/>
              <a:gd name="T20" fmla="*/ 2147483647 w 164"/>
              <a:gd name="T21" fmla="*/ 2147483647 h 365"/>
              <a:gd name="T22" fmla="*/ 2147483647 w 164"/>
              <a:gd name="T23" fmla="*/ 2147483647 h 365"/>
              <a:gd name="T24" fmla="*/ 2147483647 w 164"/>
              <a:gd name="T25" fmla="*/ 2147483647 h 365"/>
              <a:gd name="T26" fmla="*/ 2147483647 w 164"/>
              <a:gd name="T27" fmla="*/ 2147483647 h 365"/>
              <a:gd name="T28" fmla="*/ 2147483647 w 164"/>
              <a:gd name="T29" fmla="*/ 2147483647 h 365"/>
              <a:gd name="T30" fmla="*/ 2147483647 w 164"/>
              <a:gd name="T31" fmla="*/ 2147483647 h 365"/>
              <a:gd name="T32" fmla="*/ 2147483647 w 164"/>
              <a:gd name="T33" fmla="*/ 2147483647 h 365"/>
              <a:gd name="T34" fmla="*/ 2147483647 w 164"/>
              <a:gd name="T35" fmla="*/ 2147483647 h 365"/>
              <a:gd name="T36" fmla="*/ 2147483647 w 164"/>
              <a:gd name="T37" fmla="*/ 2147483647 h 365"/>
              <a:gd name="T38" fmla="*/ 2147483647 w 164"/>
              <a:gd name="T39" fmla="*/ 2147483647 h 365"/>
              <a:gd name="T40" fmla="*/ 2147483647 w 164"/>
              <a:gd name="T41" fmla="*/ 2147483647 h 365"/>
              <a:gd name="T42" fmla="*/ 2147483647 w 164"/>
              <a:gd name="T43" fmla="*/ 2147483647 h 365"/>
              <a:gd name="T44" fmla="*/ 2147483647 w 164"/>
              <a:gd name="T45" fmla="*/ 2147483647 h 365"/>
              <a:gd name="T46" fmla="*/ 2147483647 w 164"/>
              <a:gd name="T47" fmla="*/ 2147483647 h 365"/>
              <a:gd name="T48" fmla="*/ 2147483647 w 164"/>
              <a:gd name="T49" fmla="*/ 2147483647 h 365"/>
              <a:gd name="T50" fmla="*/ 2147483647 w 164"/>
              <a:gd name="T51" fmla="*/ 0 h 36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4"/>
              <a:gd name="T79" fmla="*/ 0 h 365"/>
              <a:gd name="T80" fmla="*/ 164 w 164"/>
              <a:gd name="T81" fmla="*/ 365 h 36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4" h="365">
                <a:moveTo>
                  <a:pt x="146" y="0"/>
                </a:moveTo>
                <a:lnTo>
                  <a:pt x="113" y="15"/>
                </a:lnTo>
                <a:lnTo>
                  <a:pt x="0" y="49"/>
                </a:lnTo>
                <a:lnTo>
                  <a:pt x="16" y="65"/>
                </a:lnTo>
                <a:lnTo>
                  <a:pt x="0" y="98"/>
                </a:lnTo>
                <a:lnTo>
                  <a:pt x="0" y="115"/>
                </a:lnTo>
                <a:lnTo>
                  <a:pt x="32" y="148"/>
                </a:lnTo>
                <a:lnTo>
                  <a:pt x="49" y="197"/>
                </a:lnTo>
                <a:lnTo>
                  <a:pt x="49" y="248"/>
                </a:lnTo>
                <a:lnTo>
                  <a:pt x="49" y="280"/>
                </a:lnTo>
                <a:lnTo>
                  <a:pt x="80" y="297"/>
                </a:lnTo>
                <a:lnTo>
                  <a:pt x="80" y="347"/>
                </a:lnTo>
                <a:lnTo>
                  <a:pt x="80" y="364"/>
                </a:lnTo>
                <a:lnTo>
                  <a:pt x="146" y="347"/>
                </a:lnTo>
                <a:lnTo>
                  <a:pt x="146" y="297"/>
                </a:lnTo>
                <a:lnTo>
                  <a:pt x="130" y="263"/>
                </a:lnTo>
                <a:lnTo>
                  <a:pt x="130" y="197"/>
                </a:lnTo>
                <a:lnTo>
                  <a:pt x="146" y="148"/>
                </a:lnTo>
                <a:lnTo>
                  <a:pt x="146" y="131"/>
                </a:lnTo>
                <a:lnTo>
                  <a:pt x="130" y="131"/>
                </a:lnTo>
                <a:lnTo>
                  <a:pt x="163" y="98"/>
                </a:lnTo>
                <a:lnTo>
                  <a:pt x="163" y="81"/>
                </a:lnTo>
                <a:lnTo>
                  <a:pt x="163" y="65"/>
                </a:lnTo>
                <a:lnTo>
                  <a:pt x="163" y="32"/>
                </a:lnTo>
                <a:lnTo>
                  <a:pt x="146" y="15"/>
                </a:lnTo>
                <a:lnTo>
                  <a:pt x="146" y="0"/>
                </a:lnTo>
              </a:path>
            </a:pathLst>
          </a:custGeom>
          <a:solidFill>
            <a:srgbClr val="0033CC"/>
          </a:solidFill>
          <a:ln w="12700" cap="rnd" cmpd="sng">
            <a:solidFill>
              <a:schemeClr val="tx1"/>
            </a:solidFill>
            <a:prstDash val="solid"/>
            <a:round/>
            <a:headEnd type="none" w="sm" len="sm"/>
            <a:tailEnd type="none" w="sm" len="sm"/>
          </a:ln>
        </p:spPr>
        <p:txBody>
          <a:bodyPr/>
          <a:lstStyle/>
          <a:p>
            <a:endParaRPr lang="en-US" dirty="0"/>
          </a:p>
        </p:txBody>
      </p:sp>
      <p:sp>
        <p:nvSpPr>
          <p:cNvPr id="2065" name="Freeform 16"/>
          <p:cNvSpPr>
            <a:spLocks/>
          </p:cNvSpPr>
          <p:nvPr/>
        </p:nvSpPr>
        <p:spPr bwMode="auto">
          <a:xfrm>
            <a:off x="7227888" y="1387079"/>
            <a:ext cx="1003300" cy="511969"/>
          </a:xfrm>
          <a:custGeom>
            <a:avLst/>
            <a:gdLst>
              <a:gd name="T0" fmla="*/ 2147483647 w 632"/>
              <a:gd name="T1" fmla="*/ 2147483647 h 430"/>
              <a:gd name="T2" fmla="*/ 0 w 632"/>
              <a:gd name="T3" fmla="*/ 2147483647 h 430"/>
              <a:gd name="T4" fmla="*/ 2147483647 w 632"/>
              <a:gd name="T5" fmla="*/ 2147483647 h 430"/>
              <a:gd name="T6" fmla="*/ 2147483647 w 632"/>
              <a:gd name="T7" fmla="*/ 2147483647 h 430"/>
              <a:gd name="T8" fmla="*/ 2147483647 w 632"/>
              <a:gd name="T9" fmla="*/ 2147483647 h 430"/>
              <a:gd name="T10" fmla="*/ 2147483647 w 632"/>
              <a:gd name="T11" fmla="*/ 2147483647 h 430"/>
              <a:gd name="T12" fmla="*/ 2147483647 w 632"/>
              <a:gd name="T13" fmla="*/ 2147483647 h 430"/>
              <a:gd name="T14" fmla="*/ 2147483647 w 632"/>
              <a:gd name="T15" fmla="*/ 0 h 430"/>
              <a:gd name="T16" fmla="*/ 2147483647 w 632"/>
              <a:gd name="T17" fmla="*/ 2147483647 h 430"/>
              <a:gd name="T18" fmla="*/ 2147483647 w 632"/>
              <a:gd name="T19" fmla="*/ 2147483647 h 430"/>
              <a:gd name="T20" fmla="*/ 2147483647 w 632"/>
              <a:gd name="T21" fmla="*/ 2147483647 h 430"/>
              <a:gd name="T22" fmla="*/ 2147483647 w 632"/>
              <a:gd name="T23" fmla="*/ 2147483647 h 430"/>
              <a:gd name="T24" fmla="*/ 2147483647 w 632"/>
              <a:gd name="T25" fmla="*/ 2147483647 h 430"/>
              <a:gd name="T26" fmla="*/ 2147483647 w 632"/>
              <a:gd name="T27" fmla="*/ 2147483647 h 430"/>
              <a:gd name="T28" fmla="*/ 2147483647 w 632"/>
              <a:gd name="T29" fmla="*/ 2147483647 h 430"/>
              <a:gd name="T30" fmla="*/ 2147483647 w 632"/>
              <a:gd name="T31" fmla="*/ 2147483647 h 430"/>
              <a:gd name="T32" fmla="*/ 2147483647 w 632"/>
              <a:gd name="T33" fmla="*/ 2147483647 h 430"/>
              <a:gd name="T34" fmla="*/ 2147483647 w 632"/>
              <a:gd name="T35" fmla="*/ 2147483647 h 430"/>
              <a:gd name="T36" fmla="*/ 2147483647 w 632"/>
              <a:gd name="T37" fmla="*/ 2147483647 h 430"/>
              <a:gd name="T38" fmla="*/ 2147483647 w 632"/>
              <a:gd name="T39" fmla="*/ 2147483647 h 430"/>
              <a:gd name="T40" fmla="*/ 2147483647 w 632"/>
              <a:gd name="T41" fmla="*/ 2147483647 h 430"/>
              <a:gd name="T42" fmla="*/ 2147483647 w 632"/>
              <a:gd name="T43" fmla="*/ 2147483647 h 430"/>
              <a:gd name="T44" fmla="*/ 2147483647 w 632"/>
              <a:gd name="T45" fmla="*/ 2147483647 h 430"/>
              <a:gd name="T46" fmla="*/ 2147483647 w 632"/>
              <a:gd name="T47" fmla="*/ 2147483647 h 430"/>
              <a:gd name="T48" fmla="*/ 2147483647 w 632"/>
              <a:gd name="T49" fmla="*/ 2147483647 h 430"/>
              <a:gd name="T50" fmla="*/ 2147483647 w 632"/>
              <a:gd name="T51" fmla="*/ 2147483647 h 430"/>
              <a:gd name="T52" fmla="*/ 2147483647 w 632"/>
              <a:gd name="T53" fmla="*/ 2147483647 h 430"/>
              <a:gd name="T54" fmla="*/ 2147483647 w 632"/>
              <a:gd name="T55" fmla="*/ 2147483647 h 430"/>
              <a:gd name="T56" fmla="*/ 2147483647 w 632"/>
              <a:gd name="T57" fmla="*/ 2147483647 h 430"/>
              <a:gd name="T58" fmla="*/ 2147483647 w 632"/>
              <a:gd name="T59" fmla="*/ 2147483647 h 430"/>
              <a:gd name="T60" fmla="*/ 2147483647 w 632"/>
              <a:gd name="T61" fmla="*/ 2147483647 h 4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32"/>
              <a:gd name="T94" fmla="*/ 0 h 430"/>
              <a:gd name="T95" fmla="*/ 632 w 632"/>
              <a:gd name="T96" fmla="*/ 430 h 4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32" h="430">
                <a:moveTo>
                  <a:pt x="48" y="329"/>
                </a:moveTo>
                <a:lnTo>
                  <a:pt x="0" y="116"/>
                </a:lnTo>
                <a:lnTo>
                  <a:pt x="16" y="99"/>
                </a:lnTo>
                <a:lnTo>
                  <a:pt x="32" y="99"/>
                </a:lnTo>
                <a:lnTo>
                  <a:pt x="48" y="82"/>
                </a:lnTo>
                <a:lnTo>
                  <a:pt x="48" y="65"/>
                </a:lnTo>
                <a:lnTo>
                  <a:pt x="65" y="99"/>
                </a:lnTo>
                <a:lnTo>
                  <a:pt x="517" y="0"/>
                </a:lnTo>
                <a:lnTo>
                  <a:pt x="517" y="16"/>
                </a:lnTo>
                <a:lnTo>
                  <a:pt x="533" y="16"/>
                </a:lnTo>
                <a:lnTo>
                  <a:pt x="549" y="16"/>
                </a:lnTo>
                <a:lnTo>
                  <a:pt x="565" y="33"/>
                </a:lnTo>
                <a:lnTo>
                  <a:pt x="549" y="50"/>
                </a:lnTo>
                <a:lnTo>
                  <a:pt x="565" y="65"/>
                </a:lnTo>
                <a:lnTo>
                  <a:pt x="582" y="65"/>
                </a:lnTo>
                <a:lnTo>
                  <a:pt x="582" y="82"/>
                </a:lnTo>
                <a:lnTo>
                  <a:pt x="565" y="99"/>
                </a:lnTo>
                <a:lnTo>
                  <a:pt x="565" y="197"/>
                </a:lnTo>
                <a:lnTo>
                  <a:pt x="614" y="231"/>
                </a:lnTo>
                <a:lnTo>
                  <a:pt x="614" y="248"/>
                </a:lnTo>
                <a:lnTo>
                  <a:pt x="631" y="248"/>
                </a:lnTo>
                <a:lnTo>
                  <a:pt x="614" y="263"/>
                </a:lnTo>
                <a:lnTo>
                  <a:pt x="598" y="263"/>
                </a:lnTo>
                <a:lnTo>
                  <a:pt x="598" y="297"/>
                </a:lnTo>
                <a:lnTo>
                  <a:pt x="582" y="313"/>
                </a:lnTo>
                <a:lnTo>
                  <a:pt x="565" y="313"/>
                </a:lnTo>
                <a:lnTo>
                  <a:pt x="565" y="297"/>
                </a:lnTo>
                <a:lnTo>
                  <a:pt x="549" y="313"/>
                </a:lnTo>
                <a:lnTo>
                  <a:pt x="533" y="329"/>
                </a:lnTo>
                <a:lnTo>
                  <a:pt x="65" y="429"/>
                </a:lnTo>
                <a:lnTo>
                  <a:pt x="48" y="329"/>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66" name="Freeform 17"/>
          <p:cNvSpPr>
            <a:spLocks/>
          </p:cNvSpPr>
          <p:nvPr/>
        </p:nvSpPr>
        <p:spPr bwMode="auto">
          <a:xfrm>
            <a:off x="8081963" y="1741885"/>
            <a:ext cx="209550" cy="236934"/>
          </a:xfrm>
          <a:custGeom>
            <a:avLst/>
            <a:gdLst>
              <a:gd name="T0" fmla="*/ 0 w 132"/>
              <a:gd name="T1" fmla="*/ 2147483647 h 199"/>
              <a:gd name="T2" fmla="*/ 2147483647 w 132"/>
              <a:gd name="T3" fmla="*/ 2147483647 h 199"/>
              <a:gd name="T4" fmla="*/ 2147483647 w 132"/>
              <a:gd name="T5" fmla="*/ 2147483647 h 199"/>
              <a:gd name="T6" fmla="*/ 2147483647 w 132"/>
              <a:gd name="T7" fmla="*/ 2147483647 h 199"/>
              <a:gd name="T8" fmla="*/ 2147483647 w 132"/>
              <a:gd name="T9" fmla="*/ 2147483647 h 199"/>
              <a:gd name="T10" fmla="*/ 2147483647 w 132"/>
              <a:gd name="T11" fmla="*/ 2147483647 h 199"/>
              <a:gd name="T12" fmla="*/ 2147483647 w 132"/>
              <a:gd name="T13" fmla="*/ 2147483647 h 199"/>
              <a:gd name="T14" fmla="*/ 2147483647 w 132"/>
              <a:gd name="T15" fmla="*/ 2147483647 h 199"/>
              <a:gd name="T16" fmla="*/ 2147483647 w 132"/>
              <a:gd name="T17" fmla="*/ 2147483647 h 199"/>
              <a:gd name="T18" fmla="*/ 2147483647 w 132"/>
              <a:gd name="T19" fmla="*/ 2147483647 h 199"/>
              <a:gd name="T20" fmla="*/ 2147483647 w 132"/>
              <a:gd name="T21" fmla="*/ 2147483647 h 199"/>
              <a:gd name="T22" fmla="*/ 2147483647 w 132"/>
              <a:gd name="T23" fmla="*/ 2147483647 h 199"/>
              <a:gd name="T24" fmla="*/ 2147483647 w 132"/>
              <a:gd name="T25" fmla="*/ 2147483647 h 199"/>
              <a:gd name="T26" fmla="*/ 2147483647 w 132"/>
              <a:gd name="T27" fmla="*/ 0 h 199"/>
              <a:gd name="T28" fmla="*/ 2147483647 w 132"/>
              <a:gd name="T29" fmla="*/ 2147483647 h 199"/>
              <a:gd name="T30" fmla="*/ 0 w 132"/>
              <a:gd name="T31" fmla="*/ 2147483647 h 1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199"/>
              <a:gd name="T50" fmla="*/ 132 w 132"/>
              <a:gd name="T51" fmla="*/ 199 h 19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199">
                <a:moveTo>
                  <a:pt x="0" y="32"/>
                </a:moveTo>
                <a:lnTo>
                  <a:pt x="66" y="198"/>
                </a:lnTo>
                <a:lnTo>
                  <a:pt x="131" y="181"/>
                </a:lnTo>
                <a:lnTo>
                  <a:pt x="131" y="115"/>
                </a:lnTo>
                <a:lnTo>
                  <a:pt x="114" y="115"/>
                </a:lnTo>
                <a:lnTo>
                  <a:pt x="99" y="115"/>
                </a:lnTo>
                <a:lnTo>
                  <a:pt x="99" y="98"/>
                </a:lnTo>
                <a:lnTo>
                  <a:pt x="99" y="82"/>
                </a:lnTo>
                <a:lnTo>
                  <a:pt x="99" y="66"/>
                </a:lnTo>
                <a:lnTo>
                  <a:pt x="82" y="66"/>
                </a:lnTo>
                <a:lnTo>
                  <a:pt x="66" y="49"/>
                </a:lnTo>
                <a:lnTo>
                  <a:pt x="49" y="49"/>
                </a:lnTo>
                <a:lnTo>
                  <a:pt x="33" y="16"/>
                </a:lnTo>
                <a:lnTo>
                  <a:pt x="33" y="0"/>
                </a:lnTo>
                <a:lnTo>
                  <a:pt x="16" y="16"/>
                </a:lnTo>
                <a:lnTo>
                  <a:pt x="0" y="32"/>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67" name="Freeform 18"/>
          <p:cNvSpPr>
            <a:spLocks/>
          </p:cNvSpPr>
          <p:nvPr/>
        </p:nvSpPr>
        <p:spPr bwMode="auto">
          <a:xfrm>
            <a:off x="7486651" y="1779985"/>
            <a:ext cx="804863" cy="277415"/>
          </a:xfrm>
          <a:custGeom>
            <a:avLst/>
            <a:gdLst>
              <a:gd name="T0" fmla="*/ 0 w 507"/>
              <a:gd name="T1" fmla="*/ 2147483647 h 233"/>
              <a:gd name="T2" fmla="*/ 2147483647 w 507"/>
              <a:gd name="T3" fmla="*/ 2147483647 h 233"/>
              <a:gd name="T4" fmla="*/ 2147483647 w 507"/>
              <a:gd name="T5" fmla="*/ 2147483647 h 233"/>
              <a:gd name="T6" fmla="*/ 2147483647 w 507"/>
              <a:gd name="T7" fmla="*/ 2147483647 h 233"/>
              <a:gd name="T8" fmla="*/ 2147483647 w 507"/>
              <a:gd name="T9" fmla="*/ 2147483647 h 233"/>
              <a:gd name="T10" fmla="*/ 2147483647 w 507"/>
              <a:gd name="T11" fmla="*/ 2147483647 h 233"/>
              <a:gd name="T12" fmla="*/ 2147483647 w 507"/>
              <a:gd name="T13" fmla="*/ 2147483647 h 233"/>
              <a:gd name="T14" fmla="*/ 2147483647 w 507"/>
              <a:gd name="T15" fmla="*/ 2147483647 h 233"/>
              <a:gd name="T16" fmla="*/ 2147483647 w 507"/>
              <a:gd name="T17" fmla="*/ 2147483647 h 233"/>
              <a:gd name="T18" fmla="*/ 2147483647 w 507"/>
              <a:gd name="T19" fmla="*/ 2147483647 h 233"/>
              <a:gd name="T20" fmla="*/ 2147483647 w 507"/>
              <a:gd name="T21" fmla="*/ 2147483647 h 233"/>
              <a:gd name="T22" fmla="*/ 2147483647 w 507"/>
              <a:gd name="T23" fmla="*/ 2147483647 h 233"/>
              <a:gd name="T24" fmla="*/ 2147483647 w 507"/>
              <a:gd name="T25" fmla="*/ 2147483647 h 233"/>
              <a:gd name="T26" fmla="*/ 2147483647 w 507"/>
              <a:gd name="T27" fmla="*/ 2147483647 h 233"/>
              <a:gd name="T28" fmla="*/ 2147483647 w 507"/>
              <a:gd name="T29" fmla="*/ 2147483647 h 233"/>
              <a:gd name="T30" fmla="*/ 2147483647 w 507"/>
              <a:gd name="T31" fmla="*/ 2147483647 h 233"/>
              <a:gd name="T32" fmla="*/ 2147483647 w 507"/>
              <a:gd name="T33" fmla="*/ 2147483647 h 233"/>
              <a:gd name="T34" fmla="*/ 2147483647 w 507"/>
              <a:gd name="T35" fmla="*/ 2147483647 h 233"/>
              <a:gd name="T36" fmla="*/ 2147483647 w 507"/>
              <a:gd name="T37" fmla="*/ 2147483647 h 233"/>
              <a:gd name="T38" fmla="*/ 2147483647 w 507"/>
              <a:gd name="T39" fmla="*/ 2147483647 h 233"/>
              <a:gd name="T40" fmla="*/ 2147483647 w 507"/>
              <a:gd name="T41" fmla="*/ 2147483647 h 233"/>
              <a:gd name="T42" fmla="*/ 2147483647 w 507"/>
              <a:gd name="T43" fmla="*/ 2147483647 h 233"/>
              <a:gd name="T44" fmla="*/ 2147483647 w 507"/>
              <a:gd name="T45" fmla="*/ 2147483647 h 233"/>
              <a:gd name="T46" fmla="*/ 2147483647 w 507"/>
              <a:gd name="T47" fmla="*/ 2147483647 h 233"/>
              <a:gd name="T48" fmla="*/ 2147483647 w 507"/>
              <a:gd name="T49" fmla="*/ 2147483647 h 233"/>
              <a:gd name="T50" fmla="*/ 2147483647 w 507"/>
              <a:gd name="T51" fmla="*/ 2147483647 h 233"/>
              <a:gd name="T52" fmla="*/ 2147483647 w 507"/>
              <a:gd name="T53" fmla="*/ 2147483647 h 233"/>
              <a:gd name="T54" fmla="*/ 2147483647 w 507"/>
              <a:gd name="T55" fmla="*/ 2147483647 h 233"/>
              <a:gd name="T56" fmla="*/ 2147483647 w 507"/>
              <a:gd name="T57" fmla="*/ 2147483647 h 233"/>
              <a:gd name="T58" fmla="*/ 2147483647 w 507"/>
              <a:gd name="T59" fmla="*/ 2147483647 h 233"/>
              <a:gd name="T60" fmla="*/ 2147483647 w 507"/>
              <a:gd name="T61" fmla="*/ 2147483647 h 233"/>
              <a:gd name="T62" fmla="*/ 2147483647 w 507"/>
              <a:gd name="T63" fmla="*/ 2147483647 h 233"/>
              <a:gd name="T64" fmla="*/ 2147483647 w 507"/>
              <a:gd name="T65" fmla="*/ 2147483647 h 233"/>
              <a:gd name="T66" fmla="*/ 2147483647 w 507"/>
              <a:gd name="T67" fmla="*/ 2147483647 h 233"/>
              <a:gd name="T68" fmla="*/ 2147483647 w 507"/>
              <a:gd name="T69" fmla="*/ 2147483647 h 233"/>
              <a:gd name="T70" fmla="*/ 2147483647 w 507"/>
              <a:gd name="T71" fmla="*/ 2147483647 h 233"/>
              <a:gd name="T72" fmla="*/ 2147483647 w 507"/>
              <a:gd name="T73" fmla="*/ 2147483647 h 233"/>
              <a:gd name="T74" fmla="*/ 2147483647 w 507"/>
              <a:gd name="T75" fmla="*/ 2147483647 h 233"/>
              <a:gd name="T76" fmla="*/ 2147483647 w 507"/>
              <a:gd name="T77" fmla="*/ 2147483647 h 233"/>
              <a:gd name="T78" fmla="*/ 2147483647 w 507"/>
              <a:gd name="T79" fmla="*/ 2147483647 h 233"/>
              <a:gd name="T80" fmla="*/ 2147483647 w 507"/>
              <a:gd name="T81" fmla="*/ 2147483647 h 233"/>
              <a:gd name="T82" fmla="*/ 2147483647 w 507"/>
              <a:gd name="T83" fmla="*/ 2147483647 h 233"/>
              <a:gd name="T84" fmla="*/ 2147483647 w 507"/>
              <a:gd name="T85" fmla="*/ 2147483647 h 233"/>
              <a:gd name="T86" fmla="*/ 2147483647 w 507"/>
              <a:gd name="T87" fmla="*/ 2147483647 h 233"/>
              <a:gd name="T88" fmla="*/ 2147483647 w 507"/>
              <a:gd name="T89" fmla="*/ 2147483647 h 233"/>
              <a:gd name="T90" fmla="*/ 2147483647 w 507"/>
              <a:gd name="T91" fmla="*/ 2147483647 h 233"/>
              <a:gd name="T92" fmla="*/ 2147483647 w 507"/>
              <a:gd name="T93" fmla="*/ 2147483647 h 233"/>
              <a:gd name="T94" fmla="*/ 2147483647 w 507"/>
              <a:gd name="T95" fmla="*/ 2147483647 h 233"/>
              <a:gd name="T96" fmla="*/ 2147483647 w 507"/>
              <a:gd name="T97" fmla="*/ 2147483647 h 233"/>
              <a:gd name="T98" fmla="*/ 2147483647 w 507"/>
              <a:gd name="T99" fmla="*/ 2147483647 h 233"/>
              <a:gd name="T100" fmla="*/ 2147483647 w 507"/>
              <a:gd name="T101" fmla="*/ 2147483647 h 233"/>
              <a:gd name="T102" fmla="*/ 2147483647 w 507"/>
              <a:gd name="T103" fmla="*/ 2147483647 h 233"/>
              <a:gd name="T104" fmla="*/ 2147483647 w 507"/>
              <a:gd name="T105" fmla="*/ 2147483647 h 233"/>
              <a:gd name="T106" fmla="*/ 2147483647 w 507"/>
              <a:gd name="T107" fmla="*/ 2147483647 h 233"/>
              <a:gd name="T108" fmla="*/ 2147483647 w 507"/>
              <a:gd name="T109" fmla="*/ 2147483647 h 233"/>
              <a:gd name="T110" fmla="*/ 2147483647 w 507"/>
              <a:gd name="T111" fmla="*/ 2147483647 h 233"/>
              <a:gd name="T112" fmla="*/ 2147483647 w 507"/>
              <a:gd name="T113" fmla="*/ 2147483647 h 233"/>
              <a:gd name="T114" fmla="*/ 2147483647 w 507"/>
              <a:gd name="T115" fmla="*/ 0 h 233"/>
              <a:gd name="T116" fmla="*/ 0 w 507"/>
              <a:gd name="T117" fmla="*/ 2147483647 h 23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07"/>
              <a:gd name="T178" fmla="*/ 0 h 233"/>
              <a:gd name="T179" fmla="*/ 507 w 507"/>
              <a:gd name="T180" fmla="*/ 233 h 23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07" h="233">
                <a:moveTo>
                  <a:pt x="0" y="66"/>
                </a:moveTo>
                <a:lnTo>
                  <a:pt x="31" y="149"/>
                </a:lnTo>
                <a:lnTo>
                  <a:pt x="31" y="132"/>
                </a:lnTo>
                <a:lnTo>
                  <a:pt x="48" y="132"/>
                </a:lnTo>
                <a:lnTo>
                  <a:pt x="31" y="132"/>
                </a:lnTo>
                <a:lnTo>
                  <a:pt x="48" y="132"/>
                </a:lnTo>
                <a:lnTo>
                  <a:pt x="64" y="132"/>
                </a:lnTo>
                <a:lnTo>
                  <a:pt x="64" y="115"/>
                </a:lnTo>
                <a:lnTo>
                  <a:pt x="81" y="99"/>
                </a:lnTo>
                <a:lnTo>
                  <a:pt x="97" y="99"/>
                </a:lnTo>
                <a:lnTo>
                  <a:pt x="114" y="99"/>
                </a:lnTo>
                <a:lnTo>
                  <a:pt x="114" y="82"/>
                </a:lnTo>
                <a:lnTo>
                  <a:pt x="130" y="82"/>
                </a:lnTo>
                <a:lnTo>
                  <a:pt x="146" y="82"/>
                </a:lnTo>
                <a:lnTo>
                  <a:pt x="179" y="99"/>
                </a:lnTo>
                <a:lnTo>
                  <a:pt x="195" y="99"/>
                </a:lnTo>
                <a:lnTo>
                  <a:pt x="212" y="99"/>
                </a:lnTo>
                <a:lnTo>
                  <a:pt x="228" y="115"/>
                </a:lnTo>
                <a:lnTo>
                  <a:pt x="245" y="115"/>
                </a:lnTo>
                <a:lnTo>
                  <a:pt x="245" y="132"/>
                </a:lnTo>
                <a:lnTo>
                  <a:pt x="277" y="149"/>
                </a:lnTo>
                <a:lnTo>
                  <a:pt x="277" y="165"/>
                </a:lnTo>
                <a:lnTo>
                  <a:pt x="277" y="181"/>
                </a:lnTo>
                <a:lnTo>
                  <a:pt x="277" y="198"/>
                </a:lnTo>
                <a:lnTo>
                  <a:pt x="277" y="215"/>
                </a:lnTo>
                <a:lnTo>
                  <a:pt x="293" y="215"/>
                </a:lnTo>
                <a:lnTo>
                  <a:pt x="310" y="198"/>
                </a:lnTo>
                <a:lnTo>
                  <a:pt x="326" y="198"/>
                </a:lnTo>
                <a:lnTo>
                  <a:pt x="359" y="198"/>
                </a:lnTo>
                <a:lnTo>
                  <a:pt x="375" y="198"/>
                </a:lnTo>
                <a:lnTo>
                  <a:pt x="359" y="181"/>
                </a:lnTo>
                <a:lnTo>
                  <a:pt x="359" y="165"/>
                </a:lnTo>
                <a:lnTo>
                  <a:pt x="359" y="149"/>
                </a:lnTo>
                <a:lnTo>
                  <a:pt x="359" y="115"/>
                </a:lnTo>
                <a:lnTo>
                  <a:pt x="359" y="99"/>
                </a:lnTo>
                <a:lnTo>
                  <a:pt x="343" y="99"/>
                </a:lnTo>
                <a:lnTo>
                  <a:pt x="343" y="66"/>
                </a:lnTo>
                <a:lnTo>
                  <a:pt x="359" y="50"/>
                </a:lnTo>
                <a:lnTo>
                  <a:pt x="359" y="33"/>
                </a:lnTo>
                <a:lnTo>
                  <a:pt x="375" y="50"/>
                </a:lnTo>
                <a:lnTo>
                  <a:pt x="375" y="66"/>
                </a:lnTo>
                <a:lnTo>
                  <a:pt x="359" y="82"/>
                </a:lnTo>
                <a:lnTo>
                  <a:pt x="359" y="99"/>
                </a:lnTo>
                <a:lnTo>
                  <a:pt x="375" y="99"/>
                </a:lnTo>
                <a:lnTo>
                  <a:pt x="391" y="115"/>
                </a:lnTo>
                <a:lnTo>
                  <a:pt x="391" y="132"/>
                </a:lnTo>
                <a:lnTo>
                  <a:pt x="391" y="149"/>
                </a:lnTo>
                <a:lnTo>
                  <a:pt x="408" y="149"/>
                </a:lnTo>
                <a:lnTo>
                  <a:pt x="408" y="165"/>
                </a:lnTo>
                <a:lnTo>
                  <a:pt x="424" y="181"/>
                </a:lnTo>
                <a:lnTo>
                  <a:pt x="441" y="198"/>
                </a:lnTo>
                <a:lnTo>
                  <a:pt x="457" y="215"/>
                </a:lnTo>
                <a:lnTo>
                  <a:pt x="489" y="232"/>
                </a:lnTo>
                <a:lnTo>
                  <a:pt x="489" y="198"/>
                </a:lnTo>
                <a:lnTo>
                  <a:pt x="506" y="165"/>
                </a:lnTo>
                <a:lnTo>
                  <a:pt x="506" y="149"/>
                </a:lnTo>
                <a:lnTo>
                  <a:pt x="441" y="165"/>
                </a:lnTo>
                <a:lnTo>
                  <a:pt x="375" y="0"/>
                </a:lnTo>
                <a:lnTo>
                  <a:pt x="0" y="66"/>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68" name="Freeform 19"/>
          <p:cNvSpPr>
            <a:spLocks/>
          </p:cNvSpPr>
          <p:nvPr/>
        </p:nvSpPr>
        <p:spPr bwMode="auto">
          <a:xfrm>
            <a:off x="8213725" y="2037160"/>
            <a:ext cx="50800" cy="100013"/>
          </a:xfrm>
          <a:custGeom>
            <a:avLst/>
            <a:gdLst>
              <a:gd name="T0" fmla="*/ 2147483647 w 32"/>
              <a:gd name="T1" fmla="*/ 2147483647 h 84"/>
              <a:gd name="T2" fmla="*/ 2147483647 w 32"/>
              <a:gd name="T3" fmla="*/ 2147483647 h 84"/>
              <a:gd name="T4" fmla="*/ 2147483647 w 32"/>
              <a:gd name="T5" fmla="*/ 2147483647 h 84"/>
              <a:gd name="T6" fmla="*/ 2147483647 w 32"/>
              <a:gd name="T7" fmla="*/ 2147483647 h 84"/>
              <a:gd name="T8" fmla="*/ 2147483647 w 32"/>
              <a:gd name="T9" fmla="*/ 2147483647 h 84"/>
              <a:gd name="T10" fmla="*/ 0 w 32"/>
              <a:gd name="T11" fmla="*/ 2147483647 h 84"/>
              <a:gd name="T12" fmla="*/ 0 w 32"/>
              <a:gd name="T13" fmla="*/ 2147483647 h 84"/>
              <a:gd name="T14" fmla="*/ 0 w 32"/>
              <a:gd name="T15" fmla="*/ 0 h 84"/>
              <a:gd name="T16" fmla="*/ 2147483647 w 32"/>
              <a:gd name="T17" fmla="*/ 2147483647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84"/>
              <a:gd name="T29" fmla="*/ 32 w 32"/>
              <a:gd name="T30" fmla="*/ 84 h 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84">
                <a:moveTo>
                  <a:pt x="31" y="16"/>
                </a:moveTo>
                <a:lnTo>
                  <a:pt x="31" y="32"/>
                </a:lnTo>
                <a:lnTo>
                  <a:pt x="31" y="49"/>
                </a:lnTo>
                <a:lnTo>
                  <a:pt x="31" y="66"/>
                </a:lnTo>
                <a:lnTo>
                  <a:pt x="16" y="83"/>
                </a:lnTo>
                <a:lnTo>
                  <a:pt x="0" y="49"/>
                </a:lnTo>
                <a:lnTo>
                  <a:pt x="0" y="16"/>
                </a:lnTo>
                <a:lnTo>
                  <a:pt x="0" y="0"/>
                </a:lnTo>
                <a:lnTo>
                  <a:pt x="31" y="16"/>
                </a:lnTo>
              </a:path>
            </a:pathLst>
          </a:custGeom>
          <a:noFill/>
          <a:ln w="12700" cap="rnd" cmpd="sng">
            <a:solidFill>
              <a:schemeClr val="tx1"/>
            </a:solidFill>
            <a:prstDash val="solid"/>
            <a:round/>
            <a:headEnd type="none" w="sm" len="sm"/>
            <a:tailEnd type="none" w="sm" len="sm"/>
          </a:ln>
        </p:spPr>
        <p:txBody>
          <a:bodyPr/>
          <a:lstStyle/>
          <a:p>
            <a:endParaRPr lang="en-US" dirty="0"/>
          </a:p>
        </p:txBody>
      </p:sp>
      <p:sp>
        <p:nvSpPr>
          <p:cNvPr id="2069" name="Freeform 20"/>
          <p:cNvSpPr>
            <a:spLocks/>
          </p:cNvSpPr>
          <p:nvPr/>
        </p:nvSpPr>
        <p:spPr bwMode="auto">
          <a:xfrm>
            <a:off x="7045325" y="2686050"/>
            <a:ext cx="909638" cy="492919"/>
          </a:xfrm>
          <a:custGeom>
            <a:avLst/>
            <a:gdLst>
              <a:gd name="T0" fmla="*/ 2147483647 w 573"/>
              <a:gd name="T1" fmla="*/ 2147483647 h 414"/>
              <a:gd name="T2" fmla="*/ 2147483647 w 573"/>
              <a:gd name="T3" fmla="*/ 2147483647 h 414"/>
              <a:gd name="T4" fmla="*/ 2147483647 w 573"/>
              <a:gd name="T5" fmla="*/ 2147483647 h 414"/>
              <a:gd name="T6" fmla="*/ 2147483647 w 573"/>
              <a:gd name="T7" fmla="*/ 0 h 414"/>
              <a:gd name="T8" fmla="*/ 2147483647 w 573"/>
              <a:gd name="T9" fmla="*/ 2147483647 h 414"/>
              <a:gd name="T10" fmla="*/ 2147483647 w 573"/>
              <a:gd name="T11" fmla="*/ 0 h 414"/>
              <a:gd name="T12" fmla="*/ 2147483647 w 573"/>
              <a:gd name="T13" fmla="*/ 2147483647 h 414"/>
              <a:gd name="T14" fmla="*/ 2147483647 w 573"/>
              <a:gd name="T15" fmla="*/ 2147483647 h 414"/>
              <a:gd name="T16" fmla="*/ 2147483647 w 573"/>
              <a:gd name="T17" fmla="*/ 2147483647 h 414"/>
              <a:gd name="T18" fmla="*/ 2147483647 w 573"/>
              <a:gd name="T19" fmla="*/ 2147483647 h 414"/>
              <a:gd name="T20" fmla="*/ 2147483647 w 573"/>
              <a:gd name="T21" fmla="*/ 2147483647 h 414"/>
              <a:gd name="T22" fmla="*/ 0 w 573"/>
              <a:gd name="T23" fmla="*/ 2147483647 h 414"/>
              <a:gd name="T24" fmla="*/ 2147483647 w 573"/>
              <a:gd name="T25" fmla="*/ 2147483647 h 414"/>
              <a:gd name="T26" fmla="*/ 2147483647 w 573"/>
              <a:gd name="T27" fmla="*/ 2147483647 h 414"/>
              <a:gd name="T28" fmla="*/ 2147483647 w 573"/>
              <a:gd name="T29" fmla="*/ 2147483647 h 414"/>
              <a:gd name="T30" fmla="*/ 2147483647 w 573"/>
              <a:gd name="T31" fmla="*/ 2147483647 h 414"/>
              <a:gd name="T32" fmla="*/ 2147483647 w 573"/>
              <a:gd name="T33" fmla="*/ 2147483647 h 414"/>
              <a:gd name="T34" fmla="*/ 2147483647 w 573"/>
              <a:gd name="T35" fmla="*/ 2147483647 h 414"/>
              <a:gd name="T36" fmla="*/ 2147483647 w 573"/>
              <a:gd name="T37" fmla="*/ 2147483647 h 414"/>
              <a:gd name="T38" fmla="*/ 2147483647 w 573"/>
              <a:gd name="T39" fmla="*/ 2147483647 h 414"/>
              <a:gd name="T40" fmla="*/ 2147483647 w 573"/>
              <a:gd name="T41" fmla="*/ 2147483647 h 414"/>
              <a:gd name="T42" fmla="*/ 2147483647 w 573"/>
              <a:gd name="T43" fmla="*/ 2147483647 h 414"/>
              <a:gd name="T44" fmla="*/ 2147483647 w 573"/>
              <a:gd name="T45" fmla="*/ 2147483647 h 414"/>
              <a:gd name="T46" fmla="*/ 2147483647 w 573"/>
              <a:gd name="T47" fmla="*/ 2147483647 h 414"/>
              <a:gd name="T48" fmla="*/ 2147483647 w 573"/>
              <a:gd name="T49" fmla="*/ 2147483647 h 414"/>
              <a:gd name="T50" fmla="*/ 2147483647 w 573"/>
              <a:gd name="T51" fmla="*/ 2147483647 h 414"/>
              <a:gd name="T52" fmla="*/ 2147483647 w 573"/>
              <a:gd name="T53" fmla="*/ 2147483647 h 414"/>
              <a:gd name="T54" fmla="*/ 2147483647 w 573"/>
              <a:gd name="T55" fmla="*/ 2147483647 h 414"/>
              <a:gd name="T56" fmla="*/ 2147483647 w 573"/>
              <a:gd name="T57" fmla="*/ 2147483647 h 414"/>
              <a:gd name="T58" fmla="*/ 2147483647 w 573"/>
              <a:gd name="T59" fmla="*/ 2147483647 h 414"/>
              <a:gd name="T60" fmla="*/ 2147483647 w 573"/>
              <a:gd name="T61" fmla="*/ 2147483647 h 414"/>
              <a:gd name="T62" fmla="*/ 2147483647 w 573"/>
              <a:gd name="T63" fmla="*/ 2147483647 h 414"/>
              <a:gd name="T64" fmla="*/ 2147483647 w 573"/>
              <a:gd name="T65" fmla="*/ 2147483647 h 414"/>
              <a:gd name="T66" fmla="*/ 2147483647 w 573"/>
              <a:gd name="T67" fmla="*/ 2147483647 h 414"/>
              <a:gd name="T68" fmla="*/ 2147483647 w 573"/>
              <a:gd name="T69" fmla="*/ 2147483647 h 414"/>
              <a:gd name="T70" fmla="*/ 2147483647 w 573"/>
              <a:gd name="T71" fmla="*/ 2147483647 h 414"/>
              <a:gd name="T72" fmla="*/ 2147483647 w 573"/>
              <a:gd name="T73" fmla="*/ 2147483647 h 414"/>
              <a:gd name="T74" fmla="*/ 2147483647 w 573"/>
              <a:gd name="T75" fmla="*/ 2147483647 h 414"/>
              <a:gd name="T76" fmla="*/ 2147483647 w 573"/>
              <a:gd name="T77" fmla="*/ 2147483647 h 414"/>
              <a:gd name="T78" fmla="*/ 2147483647 w 573"/>
              <a:gd name="T79" fmla="*/ 2147483647 h 414"/>
              <a:gd name="T80" fmla="*/ 2147483647 w 573"/>
              <a:gd name="T81" fmla="*/ 2147483647 h 414"/>
              <a:gd name="T82" fmla="*/ 2147483647 w 573"/>
              <a:gd name="T83" fmla="*/ 2147483647 h 414"/>
              <a:gd name="T84" fmla="*/ 2147483647 w 573"/>
              <a:gd name="T85" fmla="*/ 2147483647 h 414"/>
              <a:gd name="T86" fmla="*/ 2147483647 w 573"/>
              <a:gd name="T87" fmla="*/ 2147483647 h 414"/>
              <a:gd name="T88" fmla="*/ 2147483647 w 573"/>
              <a:gd name="T89" fmla="*/ 2147483647 h 4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3"/>
              <a:gd name="T136" fmla="*/ 0 h 414"/>
              <a:gd name="T137" fmla="*/ 573 w 573"/>
              <a:gd name="T138" fmla="*/ 414 h 4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3" h="414">
                <a:moveTo>
                  <a:pt x="572" y="99"/>
                </a:moveTo>
                <a:lnTo>
                  <a:pt x="555" y="99"/>
                </a:lnTo>
                <a:lnTo>
                  <a:pt x="457" y="50"/>
                </a:lnTo>
                <a:lnTo>
                  <a:pt x="409" y="0"/>
                </a:lnTo>
                <a:lnTo>
                  <a:pt x="310" y="33"/>
                </a:lnTo>
                <a:lnTo>
                  <a:pt x="278" y="0"/>
                </a:lnTo>
                <a:lnTo>
                  <a:pt x="81" y="33"/>
                </a:lnTo>
                <a:lnTo>
                  <a:pt x="65" y="33"/>
                </a:lnTo>
                <a:lnTo>
                  <a:pt x="49" y="50"/>
                </a:lnTo>
                <a:lnTo>
                  <a:pt x="49" y="66"/>
                </a:lnTo>
                <a:lnTo>
                  <a:pt x="32" y="66"/>
                </a:lnTo>
                <a:lnTo>
                  <a:pt x="0" y="50"/>
                </a:lnTo>
                <a:lnTo>
                  <a:pt x="32" y="82"/>
                </a:lnTo>
                <a:lnTo>
                  <a:pt x="32" y="99"/>
                </a:lnTo>
                <a:lnTo>
                  <a:pt x="65" y="99"/>
                </a:lnTo>
                <a:lnTo>
                  <a:pt x="97" y="148"/>
                </a:lnTo>
                <a:lnTo>
                  <a:pt x="114" y="182"/>
                </a:lnTo>
                <a:lnTo>
                  <a:pt x="147" y="198"/>
                </a:lnTo>
                <a:lnTo>
                  <a:pt x="147" y="214"/>
                </a:lnTo>
                <a:lnTo>
                  <a:pt x="180" y="247"/>
                </a:lnTo>
                <a:lnTo>
                  <a:pt x="228" y="264"/>
                </a:lnTo>
                <a:lnTo>
                  <a:pt x="245" y="297"/>
                </a:lnTo>
                <a:lnTo>
                  <a:pt x="261" y="297"/>
                </a:lnTo>
                <a:lnTo>
                  <a:pt x="310" y="346"/>
                </a:lnTo>
                <a:lnTo>
                  <a:pt x="310" y="363"/>
                </a:lnTo>
                <a:lnTo>
                  <a:pt x="326" y="363"/>
                </a:lnTo>
                <a:lnTo>
                  <a:pt x="343" y="396"/>
                </a:lnTo>
                <a:lnTo>
                  <a:pt x="359" y="413"/>
                </a:lnTo>
                <a:lnTo>
                  <a:pt x="376" y="413"/>
                </a:lnTo>
                <a:lnTo>
                  <a:pt x="392" y="379"/>
                </a:lnTo>
                <a:lnTo>
                  <a:pt x="392" y="363"/>
                </a:lnTo>
                <a:lnTo>
                  <a:pt x="392" y="330"/>
                </a:lnTo>
                <a:lnTo>
                  <a:pt x="392" y="313"/>
                </a:lnTo>
                <a:lnTo>
                  <a:pt x="424" y="313"/>
                </a:lnTo>
                <a:lnTo>
                  <a:pt x="441" y="313"/>
                </a:lnTo>
                <a:lnTo>
                  <a:pt x="457" y="297"/>
                </a:lnTo>
                <a:lnTo>
                  <a:pt x="457" y="280"/>
                </a:lnTo>
                <a:lnTo>
                  <a:pt x="490" y="247"/>
                </a:lnTo>
                <a:lnTo>
                  <a:pt x="490" y="231"/>
                </a:lnTo>
                <a:lnTo>
                  <a:pt x="507" y="214"/>
                </a:lnTo>
                <a:lnTo>
                  <a:pt x="523" y="182"/>
                </a:lnTo>
                <a:lnTo>
                  <a:pt x="523" y="165"/>
                </a:lnTo>
                <a:lnTo>
                  <a:pt x="523" y="148"/>
                </a:lnTo>
                <a:lnTo>
                  <a:pt x="539" y="132"/>
                </a:lnTo>
                <a:lnTo>
                  <a:pt x="572" y="99"/>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70" name="Freeform 21"/>
          <p:cNvSpPr>
            <a:spLocks/>
          </p:cNvSpPr>
          <p:nvPr/>
        </p:nvSpPr>
        <p:spPr bwMode="auto">
          <a:xfrm>
            <a:off x="6683375" y="2744391"/>
            <a:ext cx="960438" cy="767953"/>
          </a:xfrm>
          <a:custGeom>
            <a:avLst/>
            <a:gdLst>
              <a:gd name="T0" fmla="*/ 2147483647 w 605"/>
              <a:gd name="T1" fmla="*/ 2147483647 h 645"/>
              <a:gd name="T2" fmla="*/ 2147483647 w 605"/>
              <a:gd name="T3" fmla="*/ 2147483647 h 645"/>
              <a:gd name="T4" fmla="*/ 2147483647 w 605"/>
              <a:gd name="T5" fmla="*/ 2147483647 h 645"/>
              <a:gd name="T6" fmla="*/ 0 w 605"/>
              <a:gd name="T7" fmla="*/ 2147483647 h 645"/>
              <a:gd name="T8" fmla="*/ 2147483647 w 605"/>
              <a:gd name="T9" fmla="*/ 2147483647 h 645"/>
              <a:gd name="T10" fmla="*/ 2147483647 w 605"/>
              <a:gd name="T11" fmla="*/ 2147483647 h 645"/>
              <a:gd name="T12" fmla="*/ 2147483647 w 605"/>
              <a:gd name="T13" fmla="*/ 2147483647 h 645"/>
              <a:gd name="T14" fmla="*/ 2147483647 w 605"/>
              <a:gd name="T15" fmla="*/ 2147483647 h 645"/>
              <a:gd name="T16" fmla="*/ 2147483647 w 605"/>
              <a:gd name="T17" fmla="*/ 2147483647 h 645"/>
              <a:gd name="T18" fmla="*/ 2147483647 w 605"/>
              <a:gd name="T19" fmla="*/ 2147483647 h 645"/>
              <a:gd name="T20" fmla="*/ 2147483647 w 605"/>
              <a:gd name="T21" fmla="*/ 2147483647 h 645"/>
              <a:gd name="T22" fmla="*/ 2147483647 w 605"/>
              <a:gd name="T23" fmla="*/ 2147483647 h 645"/>
              <a:gd name="T24" fmla="*/ 2147483647 w 605"/>
              <a:gd name="T25" fmla="*/ 2147483647 h 645"/>
              <a:gd name="T26" fmla="*/ 2147483647 w 605"/>
              <a:gd name="T27" fmla="*/ 2147483647 h 645"/>
              <a:gd name="T28" fmla="*/ 2147483647 w 605"/>
              <a:gd name="T29" fmla="*/ 2147483647 h 645"/>
              <a:gd name="T30" fmla="*/ 2147483647 w 605"/>
              <a:gd name="T31" fmla="*/ 2147483647 h 645"/>
              <a:gd name="T32" fmla="*/ 2147483647 w 605"/>
              <a:gd name="T33" fmla="*/ 2147483647 h 645"/>
              <a:gd name="T34" fmla="*/ 2147483647 w 605"/>
              <a:gd name="T35" fmla="*/ 2147483647 h 645"/>
              <a:gd name="T36" fmla="*/ 2147483647 w 605"/>
              <a:gd name="T37" fmla="*/ 2147483647 h 645"/>
              <a:gd name="T38" fmla="*/ 2147483647 w 605"/>
              <a:gd name="T39" fmla="*/ 2147483647 h 645"/>
              <a:gd name="T40" fmla="*/ 2147483647 w 605"/>
              <a:gd name="T41" fmla="*/ 2147483647 h 645"/>
              <a:gd name="T42" fmla="*/ 2147483647 w 605"/>
              <a:gd name="T43" fmla="*/ 2147483647 h 645"/>
              <a:gd name="T44" fmla="*/ 2147483647 w 605"/>
              <a:gd name="T45" fmla="*/ 2147483647 h 645"/>
              <a:gd name="T46" fmla="*/ 2147483647 w 605"/>
              <a:gd name="T47" fmla="*/ 2147483647 h 645"/>
              <a:gd name="T48" fmla="*/ 2147483647 w 605"/>
              <a:gd name="T49" fmla="*/ 2147483647 h 645"/>
              <a:gd name="T50" fmla="*/ 2147483647 w 605"/>
              <a:gd name="T51" fmla="*/ 2147483647 h 645"/>
              <a:gd name="T52" fmla="*/ 2147483647 w 605"/>
              <a:gd name="T53" fmla="*/ 2147483647 h 645"/>
              <a:gd name="T54" fmla="*/ 2147483647 w 605"/>
              <a:gd name="T55" fmla="*/ 2147483647 h 645"/>
              <a:gd name="T56" fmla="*/ 2147483647 w 605"/>
              <a:gd name="T57" fmla="*/ 2147483647 h 645"/>
              <a:gd name="T58" fmla="*/ 2147483647 w 605"/>
              <a:gd name="T59" fmla="*/ 2147483647 h 645"/>
              <a:gd name="T60" fmla="*/ 2147483647 w 605"/>
              <a:gd name="T61" fmla="*/ 2147483647 h 645"/>
              <a:gd name="T62" fmla="*/ 2147483647 w 605"/>
              <a:gd name="T63" fmla="*/ 2147483647 h 645"/>
              <a:gd name="T64" fmla="*/ 2147483647 w 605"/>
              <a:gd name="T65" fmla="*/ 2147483647 h 645"/>
              <a:gd name="T66" fmla="*/ 2147483647 w 605"/>
              <a:gd name="T67" fmla="*/ 2147483647 h 645"/>
              <a:gd name="T68" fmla="*/ 2147483647 w 605"/>
              <a:gd name="T69" fmla="*/ 2147483647 h 645"/>
              <a:gd name="T70" fmla="*/ 2147483647 w 605"/>
              <a:gd name="T71" fmla="*/ 2147483647 h 645"/>
              <a:gd name="T72" fmla="*/ 2147483647 w 605"/>
              <a:gd name="T73" fmla="*/ 2147483647 h 645"/>
              <a:gd name="T74" fmla="*/ 2147483647 w 605"/>
              <a:gd name="T75" fmla="*/ 2147483647 h 645"/>
              <a:gd name="T76" fmla="*/ 2147483647 w 605"/>
              <a:gd name="T77" fmla="*/ 2147483647 h 645"/>
              <a:gd name="T78" fmla="*/ 2147483647 w 605"/>
              <a:gd name="T79" fmla="*/ 2147483647 h 645"/>
              <a:gd name="T80" fmla="*/ 2147483647 w 605"/>
              <a:gd name="T81" fmla="*/ 2147483647 h 645"/>
              <a:gd name="T82" fmla="*/ 2147483647 w 605"/>
              <a:gd name="T83" fmla="*/ 2147483647 h 645"/>
              <a:gd name="T84" fmla="*/ 2147483647 w 605"/>
              <a:gd name="T85" fmla="*/ 2147483647 h 645"/>
              <a:gd name="T86" fmla="*/ 2147483647 w 605"/>
              <a:gd name="T87" fmla="*/ 2147483647 h 645"/>
              <a:gd name="T88" fmla="*/ 2147483647 w 605"/>
              <a:gd name="T89" fmla="*/ 2147483647 h 645"/>
              <a:gd name="T90" fmla="*/ 2147483647 w 605"/>
              <a:gd name="T91" fmla="*/ 2147483647 h 645"/>
              <a:gd name="T92" fmla="*/ 2147483647 w 605"/>
              <a:gd name="T93" fmla="*/ 2147483647 h 645"/>
              <a:gd name="T94" fmla="*/ 2147483647 w 605"/>
              <a:gd name="T95" fmla="*/ 0 h 645"/>
              <a:gd name="T96" fmla="*/ 2147483647 w 605"/>
              <a:gd name="T97" fmla="*/ 2147483647 h 645"/>
              <a:gd name="T98" fmla="*/ 2147483647 w 605"/>
              <a:gd name="T99" fmla="*/ 2147483647 h 64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5"/>
              <a:gd name="T151" fmla="*/ 0 h 645"/>
              <a:gd name="T152" fmla="*/ 605 w 605"/>
              <a:gd name="T153" fmla="*/ 645 h 64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5" h="645">
                <a:moveTo>
                  <a:pt x="180" y="15"/>
                </a:moveTo>
                <a:lnTo>
                  <a:pt x="163" y="32"/>
                </a:lnTo>
                <a:lnTo>
                  <a:pt x="130" y="32"/>
                </a:lnTo>
                <a:lnTo>
                  <a:pt x="0" y="49"/>
                </a:lnTo>
                <a:lnTo>
                  <a:pt x="97" y="363"/>
                </a:lnTo>
                <a:lnTo>
                  <a:pt x="114" y="363"/>
                </a:lnTo>
                <a:lnTo>
                  <a:pt x="147" y="412"/>
                </a:lnTo>
                <a:lnTo>
                  <a:pt x="147" y="462"/>
                </a:lnTo>
                <a:lnTo>
                  <a:pt x="130" y="479"/>
                </a:lnTo>
                <a:lnTo>
                  <a:pt x="163" y="578"/>
                </a:lnTo>
                <a:lnTo>
                  <a:pt x="163" y="594"/>
                </a:lnTo>
                <a:lnTo>
                  <a:pt x="180" y="628"/>
                </a:lnTo>
                <a:lnTo>
                  <a:pt x="473" y="594"/>
                </a:lnTo>
                <a:lnTo>
                  <a:pt x="456" y="628"/>
                </a:lnTo>
                <a:lnTo>
                  <a:pt x="506" y="628"/>
                </a:lnTo>
                <a:lnTo>
                  <a:pt x="522" y="644"/>
                </a:lnTo>
                <a:lnTo>
                  <a:pt x="506" y="611"/>
                </a:lnTo>
                <a:lnTo>
                  <a:pt x="522" y="594"/>
                </a:lnTo>
                <a:lnTo>
                  <a:pt x="538" y="594"/>
                </a:lnTo>
                <a:lnTo>
                  <a:pt x="554" y="578"/>
                </a:lnTo>
                <a:lnTo>
                  <a:pt x="571" y="562"/>
                </a:lnTo>
                <a:lnTo>
                  <a:pt x="587" y="562"/>
                </a:lnTo>
                <a:lnTo>
                  <a:pt x="587" y="495"/>
                </a:lnTo>
                <a:lnTo>
                  <a:pt x="571" y="495"/>
                </a:lnTo>
                <a:lnTo>
                  <a:pt x="571" y="462"/>
                </a:lnTo>
                <a:lnTo>
                  <a:pt x="587" y="462"/>
                </a:lnTo>
                <a:lnTo>
                  <a:pt x="587" y="429"/>
                </a:lnTo>
                <a:lnTo>
                  <a:pt x="604" y="412"/>
                </a:lnTo>
                <a:lnTo>
                  <a:pt x="587" y="412"/>
                </a:lnTo>
                <a:lnTo>
                  <a:pt x="587" y="396"/>
                </a:lnTo>
                <a:lnTo>
                  <a:pt x="587" y="380"/>
                </a:lnTo>
                <a:lnTo>
                  <a:pt x="587" y="363"/>
                </a:lnTo>
                <a:lnTo>
                  <a:pt x="571" y="346"/>
                </a:lnTo>
                <a:lnTo>
                  <a:pt x="554" y="314"/>
                </a:lnTo>
                <a:lnTo>
                  <a:pt x="538" y="314"/>
                </a:lnTo>
                <a:lnTo>
                  <a:pt x="538" y="297"/>
                </a:lnTo>
                <a:lnTo>
                  <a:pt x="489" y="247"/>
                </a:lnTo>
                <a:lnTo>
                  <a:pt x="473" y="247"/>
                </a:lnTo>
                <a:lnTo>
                  <a:pt x="456" y="214"/>
                </a:lnTo>
                <a:lnTo>
                  <a:pt x="408" y="197"/>
                </a:lnTo>
                <a:lnTo>
                  <a:pt x="375" y="164"/>
                </a:lnTo>
                <a:lnTo>
                  <a:pt x="375" y="148"/>
                </a:lnTo>
                <a:lnTo>
                  <a:pt x="342" y="132"/>
                </a:lnTo>
                <a:lnTo>
                  <a:pt x="326" y="98"/>
                </a:lnTo>
                <a:lnTo>
                  <a:pt x="294" y="49"/>
                </a:lnTo>
                <a:lnTo>
                  <a:pt x="261" y="49"/>
                </a:lnTo>
                <a:lnTo>
                  <a:pt x="261" y="32"/>
                </a:lnTo>
                <a:lnTo>
                  <a:pt x="228" y="0"/>
                </a:lnTo>
                <a:lnTo>
                  <a:pt x="211" y="15"/>
                </a:lnTo>
                <a:lnTo>
                  <a:pt x="180" y="15"/>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71" name="Freeform 22"/>
          <p:cNvSpPr>
            <a:spLocks/>
          </p:cNvSpPr>
          <p:nvPr/>
        </p:nvSpPr>
        <p:spPr bwMode="auto">
          <a:xfrm>
            <a:off x="6242051" y="2803922"/>
            <a:ext cx="728663" cy="827484"/>
          </a:xfrm>
          <a:custGeom>
            <a:avLst/>
            <a:gdLst>
              <a:gd name="T0" fmla="*/ 2147483647 w 459"/>
              <a:gd name="T1" fmla="*/ 0 h 695"/>
              <a:gd name="T2" fmla="*/ 0 w 459"/>
              <a:gd name="T3" fmla="*/ 2147483647 h 695"/>
              <a:gd name="T4" fmla="*/ 2147483647 w 459"/>
              <a:gd name="T5" fmla="*/ 2147483647 h 695"/>
              <a:gd name="T6" fmla="*/ 2147483647 w 459"/>
              <a:gd name="T7" fmla="*/ 2147483647 h 695"/>
              <a:gd name="T8" fmla="*/ 2147483647 w 459"/>
              <a:gd name="T9" fmla="*/ 2147483647 h 695"/>
              <a:gd name="T10" fmla="*/ 2147483647 w 459"/>
              <a:gd name="T11" fmla="*/ 2147483647 h 695"/>
              <a:gd name="T12" fmla="*/ 2147483647 w 459"/>
              <a:gd name="T13" fmla="*/ 2147483647 h 695"/>
              <a:gd name="T14" fmla="*/ 2147483647 w 459"/>
              <a:gd name="T15" fmla="*/ 2147483647 h 695"/>
              <a:gd name="T16" fmla="*/ 2147483647 w 459"/>
              <a:gd name="T17" fmla="*/ 2147483647 h 695"/>
              <a:gd name="T18" fmla="*/ 2147483647 w 459"/>
              <a:gd name="T19" fmla="*/ 2147483647 h 695"/>
              <a:gd name="T20" fmla="*/ 2147483647 w 459"/>
              <a:gd name="T21" fmla="*/ 2147483647 h 695"/>
              <a:gd name="T22" fmla="*/ 2147483647 w 459"/>
              <a:gd name="T23" fmla="*/ 2147483647 h 695"/>
              <a:gd name="T24" fmla="*/ 2147483647 w 459"/>
              <a:gd name="T25" fmla="*/ 2147483647 h 695"/>
              <a:gd name="T26" fmla="*/ 2147483647 w 459"/>
              <a:gd name="T27" fmla="*/ 2147483647 h 695"/>
              <a:gd name="T28" fmla="*/ 2147483647 w 459"/>
              <a:gd name="T29" fmla="*/ 2147483647 h 695"/>
              <a:gd name="T30" fmla="*/ 2147483647 w 459"/>
              <a:gd name="T31" fmla="*/ 2147483647 h 695"/>
              <a:gd name="T32" fmla="*/ 2147483647 w 459"/>
              <a:gd name="T33" fmla="*/ 2147483647 h 695"/>
              <a:gd name="T34" fmla="*/ 2147483647 w 459"/>
              <a:gd name="T35" fmla="*/ 2147483647 h 695"/>
              <a:gd name="T36" fmla="*/ 2147483647 w 459"/>
              <a:gd name="T37" fmla="*/ 2147483647 h 695"/>
              <a:gd name="T38" fmla="*/ 2147483647 w 459"/>
              <a:gd name="T39" fmla="*/ 2147483647 h 695"/>
              <a:gd name="T40" fmla="*/ 2147483647 w 459"/>
              <a:gd name="T41" fmla="*/ 2147483647 h 695"/>
              <a:gd name="T42" fmla="*/ 2147483647 w 459"/>
              <a:gd name="T43" fmla="*/ 2147483647 h 695"/>
              <a:gd name="T44" fmla="*/ 2147483647 w 459"/>
              <a:gd name="T45" fmla="*/ 2147483647 h 695"/>
              <a:gd name="T46" fmla="*/ 2147483647 w 459"/>
              <a:gd name="T47" fmla="*/ 0 h 69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9"/>
              <a:gd name="T73" fmla="*/ 0 h 695"/>
              <a:gd name="T74" fmla="*/ 459 w 459"/>
              <a:gd name="T75" fmla="*/ 695 h 69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9" h="695">
                <a:moveTo>
                  <a:pt x="277" y="0"/>
                </a:moveTo>
                <a:lnTo>
                  <a:pt x="0" y="49"/>
                </a:lnTo>
                <a:lnTo>
                  <a:pt x="16" y="495"/>
                </a:lnTo>
                <a:lnTo>
                  <a:pt x="49" y="677"/>
                </a:lnTo>
                <a:lnTo>
                  <a:pt x="82" y="677"/>
                </a:lnTo>
                <a:lnTo>
                  <a:pt x="98" y="644"/>
                </a:lnTo>
                <a:lnTo>
                  <a:pt x="114" y="644"/>
                </a:lnTo>
                <a:lnTo>
                  <a:pt x="130" y="644"/>
                </a:lnTo>
                <a:lnTo>
                  <a:pt x="114" y="660"/>
                </a:lnTo>
                <a:lnTo>
                  <a:pt x="130" y="677"/>
                </a:lnTo>
                <a:lnTo>
                  <a:pt x="147" y="694"/>
                </a:lnTo>
                <a:lnTo>
                  <a:pt x="163" y="677"/>
                </a:lnTo>
                <a:lnTo>
                  <a:pt x="163" y="644"/>
                </a:lnTo>
                <a:lnTo>
                  <a:pt x="147" y="611"/>
                </a:lnTo>
                <a:lnTo>
                  <a:pt x="147" y="594"/>
                </a:lnTo>
                <a:lnTo>
                  <a:pt x="458" y="578"/>
                </a:lnTo>
                <a:lnTo>
                  <a:pt x="441" y="544"/>
                </a:lnTo>
                <a:lnTo>
                  <a:pt x="441" y="529"/>
                </a:lnTo>
                <a:lnTo>
                  <a:pt x="408" y="429"/>
                </a:lnTo>
                <a:lnTo>
                  <a:pt x="425" y="412"/>
                </a:lnTo>
                <a:lnTo>
                  <a:pt x="425" y="363"/>
                </a:lnTo>
                <a:lnTo>
                  <a:pt x="392" y="313"/>
                </a:lnTo>
                <a:lnTo>
                  <a:pt x="375" y="313"/>
                </a:lnTo>
                <a:lnTo>
                  <a:pt x="277" y="0"/>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72" name="Freeform 23"/>
          <p:cNvSpPr>
            <a:spLocks/>
          </p:cNvSpPr>
          <p:nvPr/>
        </p:nvSpPr>
        <p:spPr bwMode="auto">
          <a:xfrm>
            <a:off x="5153026" y="2667000"/>
            <a:ext cx="779463" cy="570310"/>
          </a:xfrm>
          <a:custGeom>
            <a:avLst/>
            <a:gdLst>
              <a:gd name="T0" fmla="*/ 0 w 491"/>
              <a:gd name="T1" fmla="*/ 2147483647 h 479"/>
              <a:gd name="T2" fmla="*/ 0 w 491"/>
              <a:gd name="T3" fmla="*/ 2147483647 h 479"/>
              <a:gd name="T4" fmla="*/ 0 w 491"/>
              <a:gd name="T5" fmla="*/ 2147483647 h 479"/>
              <a:gd name="T6" fmla="*/ 2147483647 w 491"/>
              <a:gd name="T7" fmla="*/ 2147483647 h 479"/>
              <a:gd name="T8" fmla="*/ 2147483647 w 491"/>
              <a:gd name="T9" fmla="*/ 0 h 479"/>
              <a:gd name="T10" fmla="*/ 2147483647 w 491"/>
              <a:gd name="T11" fmla="*/ 2147483647 h 479"/>
              <a:gd name="T12" fmla="*/ 2147483647 w 491"/>
              <a:gd name="T13" fmla="*/ 2147483647 h 479"/>
              <a:gd name="T14" fmla="*/ 2147483647 w 491"/>
              <a:gd name="T15" fmla="*/ 2147483647 h 479"/>
              <a:gd name="T16" fmla="*/ 2147483647 w 491"/>
              <a:gd name="T17" fmla="*/ 2147483647 h 479"/>
              <a:gd name="T18" fmla="*/ 2147483647 w 491"/>
              <a:gd name="T19" fmla="*/ 2147483647 h 479"/>
              <a:gd name="T20" fmla="*/ 2147483647 w 491"/>
              <a:gd name="T21" fmla="*/ 2147483647 h 479"/>
              <a:gd name="T22" fmla="*/ 2147483647 w 491"/>
              <a:gd name="T23" fmla="*/ 2147483647 h 479"/>
              <a:gd name="T24" fmla="*/ 2147483647 w 491"/>
              <a:gd name="T25" fmla="*/ 2147483647 h 479"/>
              <a:gd name="T26" fmla="*/ 2147483647 w 491"/>
              <a:gd name="T27" fmla="*/ 2147483647 h 479"/>
              <a:gd name="T28" fmla="*/ 2147483647 w 491"/>
              <a:gd name="T29" fmla="*/ 2147483647 h 479"/>
              <a:gd name="T30" fmla="*/ 2147483647 w 491"/>
              <a:gd name="T31" fmla="*/ 2147483647 h 479"/>
              <a:gd name="T32" fmla="*/ 2147483647 w 491"/>
              <a:gd name="T33" fmla="*/ 2147483647 h 479"/>
              <a:gd name="T34" fmla="*/ 2147483647 w 491"/>
              <a:gd name="T35" fmla="*/ 2147483647 h 479"/>
              <a:gd name="T36" fmla="*/ 2147483647 w 491"/>
              <a:gd name="T37" fmla="*/ 2147483647 h 479"/>
              <a:gd name="T38" fmla="*/ 2147483647 w 491"/>
              <a:gd name="T39" fmla="*/ 2147483647 h 479"/>
              <a:gd name="T40" fmla="*/ 2147483647 w 491"/>
              <a:gd name="T41" fmla="*/ 2147483647 h 479"/>
              <a:gd name="T42" fmla="*/ 2147483647 w 491"/>
              <a:gd name="T43" fmla="*/ 2147483647 h 479"/>
              <a:gd name="T44" fmla="*/ 2147483647 w 491"/>
              <a:gd name="T45" fmla="*/ 2147483647 h 479"/>
              <a:gd name="T46" fmla="*/ 2147483647 w 491"/>
              <a:gd name="T47" fmla="*/ 2147483647 h 479"/>
              <a:gd name="T48" fmla="*/ 2147483647 w 491"/>
              <a:gd name="T49" fmla="*/ 2147483647 h 479"/>
              <a:gd name="T50" fmla="*/ 2147483647 w 491"/>
              <a:gd name="T51" fmla="*/ 2147483647 h 479"/>
              <a:gd name="T52" fmla="*/ 2147483647 w 491"/>
              <a:gd name="T53" fmla="*/ 2147483647 h 479"/>
              <a:gd name="T54" fmla="*/ 2147483647 w 491"/>
              <a:gd name="T55" fmla="*/ 2147483647 h 479"/>
              <a:gd name="T56" fmla="*/ 2147483647 w 491"/>
              <a:gd name="T57" fmla="*/ 2147483647 h 479"/>
              <a:gd name="T58" fmla="*/ 2147483647 w 491"/>
              <a:gd name="T59" fmla="*/ 2147483647 h 479"/>
              <a:gd name="T60" fmla="*/ 2147483647 w 491"/>
              <a:gd name="T61" fmla="*/ 2147483647 h 479"/>
              <a:gd name="T62" fmla="*/ 2147483647 w 491"/>
              <a:gd name="T63" fmla="*/ 2147483647 h 479"/>
              <a:gd name="T64" fmla="*/ 2147483647 w 491"/>
              <a:gd name="T65" fmla="*/ 2147483647 h 479"/>
              <a:gd name="T66" fmla="*/ 2147483647 w 491"/>
              <a:gd name="T67" fmla="*/ 2147483647 h 479"/>
              <a:gd name="T68" fmla="*/ 2147483647 w 491"/>
              <a:gd name="T69" fmla="*/ 2147483647 h 479"/>
              <a:gd name="T70" fmla="*/ 2147483647 w 491"/>
              <a:gd name="T71" fmla="*/ 2147483647 h 479"/>
              <a:gd name="T72" fmla="*/ 2147483647 w 491"/>
              <a:gd name="T73" fmla="*/ 2147483647 h 479"/>
              <a:gd name="T74" fmla="*/ 0 w 491"/>
              <a:gd name="T75" fmla="*/ 2147483647 h 47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1"/>
              <a:gd name="T115" fmla="*/ 0 h 479"/>
              <a:gd name="T116" fmla="*/ 491 w 491"/>
              <a:gd name="T117" fmla="*/ 479 h 47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1" h="479">
                <a:moveTo>
                  <a:pt x="0" y="115"/>
                </a:moveTo>
                <a:lnTo>
                  <a:pt x="0" y="98"/>
                </a:lnTo>
                <a:lnTo>
                  <a:pt x="0" y="32"/>
                </a:lnTo>
                <a:lnTo>
                  <a:pt x="327" y="15"/>
                </a:lnTo>
                <a:lnTo>
                  <a:pt x="425" y="0"/>
                </a:lnTo>
                <a:lnTo>
                  <a:pt x="441" y="15"/>
                </a:lnTo>
                <a:lnTo>
                  <a:pt x="425" y="32"/>
                </a:lnTo>
                <a:lnTo>
                  <a:pt x="425" y="49"/>
                </a:lnTo>
                <a:lnTo>
                  <a:pt x="441" y="49"/>
                </a:lnTo>
                <a:lnTo>
                  <a:pt x="473" y="49"/>
                </a:lnTo>
                <a:lnTo>
                  <a:pt x="490" y="49"/>
                </a:lnTo>
                <a:lnTo>
                  <a:pt x="490" y="66"/>
                </a:lnTo>
                <a:lnTo>
                  <a:pt x="490" y="98"/>
                </a:lnTo>
                <a:lnTo>
                  <a:pt x="473" y="98"/>
                </a:lnTo>
                <a:lnTo>
                  <a:pt x="457" y="115"/>
                </a:lnTo>
                <a:lnTo>
                  <a:pt x="457" y="147"/>
                </a:lnTo>
                <a:lnTo>
                  <a:pt x="473" y="147"/>
                </a:lnTo>
                <a:lnTo>
                  <a:pt x="473" y="181"/>
                </a:lnTo>
                <a:lnTo>
                  <a:pt x="441" y="198"/>
                </a:lnTo>
                <a:lnTo>
                  <a:pt x="441" y="213"/>
                </a:lnTo>
                <a:lnTo>
                  <a:pt x="425" y="247"/>
                </a:lnTo>
                <a:lnTo>
                  <a:pt x="425" y="296"/>
                </a:lnTo>
                <a:lnTo>
                  <a:pt x="408" y="296"/>
                </a:lnTo>
                <a:lnTo>
                  <a:pt x="392" y="345"/>
                </a:lnTo>
                <a:lnTo>
                  <a:pt x="375" y="428"/>
                </a:lnTo>
                <a:lnTo>
                  <a:pt x="392" y="478"/>
                </a:lnTo>
                <a:lnTo>
                  <a:pt x="375" y="478"/>
                </a:lnTo>
                <a:lnTo>
                  <a:pt x="82" y="478"/>
                </a:lnTo>
                <a:lnTo>
                  <a:pt x="375" y="478"/>
                </a:lnTo>
                <a:lnTo>
                  <a:pt x="82" y="478"/>
                </a:lnTo>
                <a:lnTo>
                  <a:pt x="65" y="428"/>
                </a:lnTo>
                <a:lnTo>
                  <a:pt x="16" y="411"/>
                </a:lnTo>
                <a:lnTo>
                  <a:pt x="16" y="395"/>
                </a:lnTo>
                <a:lnTo>
                  <a:pt x="16" y="362"/>
                </a:lnTo>
                <a:lnTo>
                  <a:pt x="16" y="296"/>
                </a:lnTo>
                <a:lnTo>
                  <a:pt x="16" y="230"/>
                </a:lnTo>
                <a:lnTo>
                  <a:pt x="16" y="181"/>
                </a:lnTo>
                <a:lnTo>
                  <a:pt x="0" y="115"/>
                </a:lnTo>
              </a:path>
            </a:pathLst>
          </a:custGeom>
          <a:solidFill>
            <a:srgbClr val="00B050"/>
          </a:solidFill>
          <a:ln w="12700" cap="rnd" cmpd="sng">
            <a:solidFill>
              <a:schemeClr val="tx1"/>
            </a:solidFill>
            <a:prstDash val="solid"/>
            <a:round/>
            <a:headEnd type="none" w="sm" len="sm"/>
            <a:tailEnd type="none" w="sm" len="sm"/>
          </a:ln>
        </p:spPr>
        <p:txBody>
          <a:bodyPr/>
          <a:lstStyle/>
          <a:p>
            <a:endParaRPr lang="en-US" dirty="0"/>
          </a:p>
        </p:txBody>
      </p:sp>
      <p:sp>
        <p:nvSpPr>
          <p:cNvPr id="2073" name="Freeform 24"/>
          <p:cNvSpPr>
            <a:spLocks/>
          </p:cNvSpPr>
          <p:nvPr/>
        </p:nvSpPr>
        <p:spPr bwMode="auto">
          <a:xfrm>
            <a:off x="5284788" y="3236119"/>
            <a:ext cx="984250" cy="651272"/>
          </a:xfrm>
          <a:custGeom>
            <a:avLst/>
            <a:gdLst>
              <a:gd name="T0" fmla="*/ 2147483647 w 620"/>
              <a:gd name="T1" fmla="*/ 2147483647 h 547"/>
              <a:gd name="T2" fmla="*/ 2147483647 w 620"/>
              <a:gd name="T3" fmla="*/ 2147483647 h 547"/>
              <a:gd name="T4" fmla="*/ 2147483647 w 620"/>
              <a:gd name="T5" fmla="*/ 2147483647 h 547"/>
              <a:gd name="T6" fmla="*/ 2147483647 w 620"/>
              <a:gd name="T7" fmla="*/ 2147483647 h 547"/>
              <a:gd name="T8" fmla="*/ 0 w 620"/>
              <a:gd name="T9" fmla="*/ 2147483647 h 547"/>
              <a:gd name="T10" fmla="*/ 0 w 620"/>
              <a:gd name="T11" fmla="*/ 2147483647 h 547"/>
              <a:gd name="T12" fmla="*/ 0 w 620"/>
              <a:gd name="T13" fmla="*/ 0 h 547"/>
              <a:gd name="T14" fmla="*/ 2147483647 w 620"/>
              <a:gd name="T15" fmla="*/ 0 h 547"/>
              <a:gd name="T16" fmla="*/ 2147483647 w 620"/>
              <a:gd name="T17" fmla="*/ 2147483647 h 547"/>
              <a:gd name="T18" fmla="*/ 2147483647 w 620"/>
              <a:gd name="T19" fmla="*/ 2147483647 h 547"/>
              <a:gd name="T20" fmla="*/ 2147483647 w 620"/>
              <a:gd name="T21" fmla="*/ 2147483647 h 547"/>
              <a:gd name="T22" fmla="*/ 2147483647 w 620"/>
              <a:gd name="T23" fmla="*/ 2147483647 h 547"/>
              <a:gd name="T24" fmla="*/ 2147483647 w 620"/>
              <a:gd name="T25" fmla="*/ 2147483647 h 547"/>
              <a:gd name="T26" fmla="*/ 2147483647 w 620"/>
              <a:gd name="T27" fmla="*/ 2147483647 h 547"/>
              <a:gd name="T28" fmla="*/ 2147483647 w 620"/>
              <a:gd name="T29" fmla="*/ 2147483647 h 547"/>
              <a:gd name="T30" fmla="*/ 2147483647 w 620"/>
              <a:gd name="T31" fmla="*/ 2147483647 h 547"/>
              <a:gd name="T32" fmla="*/ 2147483647 w 620"/>
              <a:gd name="T33" fmla="*/ 2147483647 h 547"/>
              <a:gd name="T34" fmla="*/ 2147483647 w 620"/>
              <a:gd name="T35" fmla="*/ 2147483647 h 547"/>
              <a:gd name="T36" fmla="*/ 2147483647 w 620"/>
              <a:gd name="T37" fmla="*/ 2147483647 h 547"/>
              <a:gd name="T38" fmla="*/ 2147483647 w 620"/>
              <a:gd name="T39" fmla="*/ 2147483647 h 547"/>
              <a:gd name="T40" fmla="*/ 2147483647 w 620"/>
              <a:gd name="T41" fmla="*/ 2147483647 h 547"/>
              <a:gd name="T42" fmla="*/ 2147483647 w 620"/>
              <a:gd name="T43" fmla="*/ 2147483647 h 547"/>
              <a:gd name="T44" fmla="*/ 2147483647 w 620"/>
              <a:gd name="T45" fmla="*/ 2147483647 h 547"/>
              <a:gd name="T46" fmla="*/ 2147483647 w 620"/>
              <a:gd name="T47" fmla="*/ 2147483647 h 547"/>
              <a:gd name="T48" fmla="*/ 2147483647 w 620"/>
              <a:gd name="T49" fmla="*/ 2147483647 h 547"/>
              <a:gd name="T50" fmla="*/ 2147483647 w 620"/>
              <a:gd name="T51" fmla="*/ 2147483647 h 547"/>
              <a:gd name="T52" fmla="*/ 2147483647 w 620"/>
              <a:gd name="T53" fmla="*/ 2147483647 h 547"/>
              <a:gd name="T54" fmla="*/ 2147483647 w 620"/>
              <a:gd name="T55" fmla="*/ 2147483647 h 547"/>
              <a:gd name="T56" fmla="*/ 2147483647 w 620"/>
              <a:gd name="T57" fmla="*/ 2147483647 h 547"/>
              <a:gd name="T58" fmla="*/ 2147483647 w 620"/>
              <a:gd name="T59" fmla="*/ 2147483647 h 547"/>
              <a:gd name="T60" fmla="*/ 2147483647 w 620"/>
              <a:gd name="T61" fmla="*/ 2147483647 h 547"/>
              <a:gd name="T62" fmla="*/ 2147483647 w 620"/>
              <a:gd name="T63" fmla="*/ 2147483647 h 547"/>
              <a:gd name="T64" fmla="*/ 2147483647 w 620"/>
              <a:gd name="T65" fmla="*/ 2147483647 h 547"/>
              <a:gd name="T66" fmla="*/ 2147483647 w 620"/>
              <a:gd name="T67" fmla="*/ 2147483647 h 547"/>
              <a:gd name="T68" fmla="*/ 2147483647 w 620"/>
              <a:gd name="T69" fmla="*/ 2147483647 h 547"/>
              <a:gd name="T70" fmla="*/ 2147483647 w 620"/>
              <a:gd name="T71" fmla="*/ 2147483647 h 547"/>
              <a:gd name="T72" fmla="*/ 2147483647 w 620"/>
              <a:gd name="T73" fmla="*/ 2147483647 h 547"/>
              <a:gd name="T74" fmla="*/ 2147483647 w 620"/>
              <a:gd name="T75" fmla="*/ 2147483647 h 547"/>
              <a:gd name="T76" fmla="*/ 2147483647 w 620"/>
              <a:gd name="T77" fmla="*/ 2147483647 h 5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20"/>
              <a:gd name="T118" fmla="*/ 0 h 547"/>
              <a:gd name="T119" fmla="*/ 620 w 620"/>
              <a:gd name="T120" fmla="*/ 547 h 5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20" h="547">
                <a:moveTo>
                  <a:pt x="48" y="347"/>
                </a:moveTo>
                <a:lnTo>
                  <a:pt x="48" y="330"/>
                </a:lnTo>
                <a:lnTo>
                  <a:pt x="48" y="313"/>
                </a:lnTo>
                <a:lnTo>
                  <a:pt x="48" y="297"/>
                </a:lnTo>
                <a:lnTo>
                  <a:pt x="48" y="281"/>
                </a:lnTo>
                <a:lnTo>
                  <a:pt x="48" y="247"/>
                </a:lnTo>
                <a:lnTo>
                  <a:pt x="31" y="230"/>
                </a:lnTo>
                <a:lnTo>
                  <a:pt x="31" y="215"/>
                </a:lnTo>
                <a:lnTo>
                  <a:pt x="15" y="198"/>
                </a:lnTo>
                <a:lnTo>
                  <a:pt x="0" y="181"/>
                </a:lnTo>
                <a:lnTo>
                  <a:pt x="0" y="165"/>
                </a:lnTo>
                <a:lnTo>
                  <a:pt x="0" y="132"/>
                </a:lnTo>
                <a:lnTo>
                  <a:pt x="0" y="33"/>
                </a:lnTo>
                <a:lnTo>
                  <a:pt x="0" y="0"/>
                </a:lnTo>
                <a:lnTo>
                  <a:pt x="293" y="0"/>
                </a:lnTo>
                <a:lnTo>
                  <a:pt x="309" y="0"/>
                </a:lnTo>
                <a:lnTo>
                  <a:pt x="309" y="49"/>
                </a:lnTo>
                <a:lnTo>
                  <a:pt x="309" y="82"/>
                </a:lnTo>
                <a:lnTo>
                  <a:pt x="325" y="99"/>
                </a:lnTo>
                <a:lnTo>
                  <a:pt x="309" y="132"/>
                </a:lnTo>
                <a:lnTo>
                  <a:pt x="309" y="165"/>
                </a:lnTo>
                <a:lnTo>
                  <a:pt x="293" y="181"/>
                </a:lnTo>
                <a:lnTo>
                  <a:pt x="276" y="230"/>
                </a:lnTo>
                <a:lnTo>
                  <a:pt x="276" y="264"/>
                </a:lnTo>
                <a:lnTo>
                  <a:pt x="276" y="281"/>
                </a:lnTo>
                <a:lnTo>
                  <a:pt x="456" y="281"/>
                </a:lnTo>
                <a:lnTo>
                  <a:pt x="472" y="313"/>
                </a:lnTo>
                <a:lnTo>
                  <a:pt x="504" y="347"/>
                </a:lnTo>
                <a:lnTo>
                  <a:pt x="521" y="363"/>
                </a:lnTo>
                <a:lnTo>
                  <a:pt x="472" y="363"/>
                </a:lnTo>
                <a:lnTo>
                  <a:pt x="456" y="347"/>
                </a:lnTo>
                <a:lnTo>
                  <a:pt x="423" y="363"/>
                </a:lnTo>
                <a:lnTo>
                  <a:pt x="407" y="363"/>
                </a:lnTo>
                <a:lnTo>
                  <a:pt x="440" y="396"/>
                </a:lnTo>
                <a:lnTo>
                  <a:pt x="456" y="380"/>
                </a:lnTo>
                <a:lnTo>
                  <a:pt x="472" y="363"/>
                </a:lnTo>
                <a:lnTo>
                  <a:pt x="504" y="396"/>
                </a:lnTo>
                <a:lnTo>
                  <a:pt x="521" y="413"/>
                </a:lnTo>
                <a:lnTo>
                  <a:pt x="554" y="380"/>
                </a:lnTo>
                <a:lnTo>
                  <a:pt x="570" y="396"/>
                </a:lnTo>
                <a:lnTo>
                  <a:pt x="537" y="429"/>
                </a:lnTo>
                <a:lnTo>
                  <a:pt x="521" y="446"/>
                </a:lnTo>
                <a:lnTo>
                  <a:pt x="554" y="463"/>
                </a:lnTo>
                <a:lnTo>
                  <a:pt x="587" y="463"/>
                </a:lnTo>
                <a:lnTo>
                  <a:pt x="619" y="479"/>
                </a:lnTo>
                <a:lnTo>
                  <a:pt x="619" y="512"/>
                </a:lnTo>
                <a:lnTo>
                  <a:pt x="602" y="512"/>
                </a:lnTo>
                <a:lnTo>
                  <a:pt x="570" y="512"/>
                </a:lnTo>
                <a:lnTo>
                  <a:pt x="554" y="512"/>
                </a:lnTo>
                <a:lnTo>
                  <a:pt x="521" y="479"/>
                </a:lnTo>
                <a:lnTo>
                  <a:pt x="488" y="479"/>
                </a:lnTo>
                <a:lnTo>
                  <a:pt x="488" y="512"/>
                </a:lnTo>
                <a:lnTo>
                  <a:pt x="472" y="512"/>
                </a:lnTo>
                <a:lnTo>
                  <a:pt x="456" y="512"/>
                </a:lnTo>
                <a:lnTo>
                  <a:pt x="456" y="495"/>
                </a:lnTo>
                <a:lnTo>
                  <a:pt x="423" y="529"/>
                </a:lnTo>
                <a:lnTo>
                  <a:pt x="407" y="546"/>
                </a:lnTo>
                <a:lnTo>
                  <a:pt x="374" y="546"/>
                </a:lnTo>
                <a:lnTo>
                  <a:pt x="342" y="529"/>
                </a:lnTo>
                <a:lnTo>
                  <a:pt x="342" y="495"/>
                </a:lnTo>
                <a:lnTo>
                  <a:pt x="342" y="463"/>
                </a:lnTo>
                <a:lnTo>
                  <a:pt x="276" y="463"/>
                </a:lnTo>
                <a:lnTo>
                  <a:pt x="244" y="463"/>
                </a:lnTo>
                <a:lnTo>
                  <a:pt x="276" y="495"/>
                </a:lnTo>
                <a:lnTo>
                  <a:pt x="260" y="479"/>
                </a:lnTo>
                <a:lnTo>
                  <a:pt x="228" y="495"/>
                </a:lnTo>
                <a:lnTo>
                  <a:pt x="195" y="479"/>
                </a:lnTo>
                <a:lnTo>
                  <a:pt x="162" y="479"/>
                </a:lnTo>
                <a:lnTo>
                  <a:pt x="130" y="463"/>
                </a:lnTo>
                <a:lnTo>
                  <a:pt x="114" y="479"/>
                </a:lnTo>
                <a:lnTo>
                  <a:pt x="64" y="463"/>
                </a:lnTo>
                <a:lnTo>
                  <a:pt x="48" y="495"/>
                </a:lnTo>
                <a:lnTo>
                  <a:pt x="31" y="463"/>
                </a:lnTo>
                <a:lnTo>
                  <a:pt x="31" y="446"/>
                </a:lnTo>
                <a:lnTo>
                  <a:pt x="48" y="413"/>
                </a:lnTo>
                <a:lnTo>
                  <a:pt x="48" y="396"/>
                </a:lnTo>
                <a:lnTo>
                  <a:pt x="48" y="363"/>
                </a:lnTo>
                <a:lnTo>
                  <a:pt x="48" y="347"/>
                </a:lnTo>
              </a:path>
            </a:pathLst>
          </a:custGeom>
          <a:solidFill>
            <a:srgbClr val="00B050"/>
          </a:solidFill>
          <a:ln w="12700" cap="rnd" cmpd="sng">
            <a:solidFill>
              <a:schemeClr val="tx1"/>
            </a:solidFill>
            <a:prstDash val="solid"/>
            <a:round/>
            <a:headEnd type="none" w="sm" len="sm"/>
            <a:tailEnd type="none" w="sm" len="sm"/>
          </a:ln>
        </p:spPr>
        <p:txBody>
          <a:bodyPr/>
          <a:lstStyle/>
          <a:p>
            <a:endParaRPr lang="en-US" dirty="0"/>
          </a:p>
        </p:txBody>
      </p:sp>
      <p:sp>
        <p:nvSpPr>
          <p:cNvPr id="2074" name="Freeform 25"/>
          <p:cNvSpPr>
            <a:spLocks/>
          </p:cNvSpPr>
          <p:nvPr/>
        </p:nvSpPr>
        <p:spPr bwMode="auto">
          <a:xfrm>
            <a:off x="5722939" y="2863454"/>
            <a:ext cx="598487" cy="807244"/>
          </a:xfrm>
          <a:custGeom>
            <a:avLst/>
            <a:gdLst>
              <a:gd name="T0" fmla="*/ 2147483647 w 377"/>
              <a:gd name="T1" fmla="*/ 2147483647 h 678"/>
              <a:gd name="T2" fmla="*/ 2147483647 w 377"/>
              <a:gd name="T3" fmla="*/ 2147483647 h 678"/>
              <a:gd name="T4" fmla="*/ 2147483647 w 377"/>
              <a:gd name="T5" fmla="*/ 2147483647 h 678"/>
              <a:gd name="T6" fmla="*/ 2147483647 w 377"/>
              <a:gd name="T7" fmla="*/ 2147483647 h 678"/>
              <a:gd name="T8" fmla="*/ 2147483647 w 377"/>
              <a:gd name="T9" fmla="*/ 2147483647 h 678"/>
              <a:gd name="T10" fmla="*/ 2147483647 w 377"/>
              <a:gd name="T11" fmla="*/ 2147483647 h 678"/>
              <a:gd name="T12" fmla="*/ 2147483647 w 377"/>
              <a:gd name="T13" fmla="*/ 2147483647 h 678"/>
              <a:gd name="T14" fmla="*/ 2147483647 w 377"/>
              <a:gd name="T15" fmla="*/ 2147483647 h 678"/>
              <a:gd name="T16" fmla="*/ 2147483647 w 377"/>
              <a:gd name="T17" fmla="*/ 2147483647 h 678"/>
              <a:gd name="T18" fmla="*/ 2147483647 w 377"/>
              <a:gd name="T19" fmla="*/ 2147483647 h 678"/>
              <a:gd name="T20" fmla="*/ 2147483647 w 377"/>
              <a:gd name="T21" fmla="*/ 2147483647 h 678"/>
              <a:gd name="T22" fmla="*/ 2147483647 w 377"/>
              <a:gd name="T23" fmla="*/ 2147483647 h 678"/>
              <a:gd name="T24" fmla="*/ 2147483647 w 377"/>
              <a:gd name="T25" fmla="*/ 2147483647 h 678"/>
              <a:gd name="T26" fmla="*/ 2147483647 w 377"/>
              <a:gd name="T27" fmla="*/ 2147483647 h 678"/>
              <a:gd name="T28" fmla="*/ 0 w 377"/>
              <a:gd name="T29" fmla="*/ 2147483647 h 678"/>
              <a:gd name="T30" fmla="*/ 0 w 377"/>
              <a:gd name="T31" fmla="*/ 2147483647 h 678"/>
              <a:gd name="T32" fmla="*/ 0 w 377"/>
              <a:gd name="T33" fmla="*/ 2147483647 h 678"/>
              <a:gd name="T34" fmla="*/ 2147483647 w 377"/>
              <a:gd name="T35" fmla="*/ 2147483647 h 678"/>
              <a:gd name="T36" fmla="*/ 2147483647 w 377"/>
              <a:gd name="T37" fmla="*/ 2147483647 h 678"/>
              <a:gd name="T38" fmla="*/ 2147483647 w 377"/>
              <a:gd name="T39" fmla="*/ 2147483647 h 678"/>
              <a:gd name="T40" fmla="*/ 2147483647 w 377"/>
              <a:gd name="T41" fmla="*/ 2147483647 h 678"/>
              <a:gd name="T42" fmla="*/ 2147483647 w 377"/>
              <a:gd name="T43" fmla="*/ 2147483647 h 678"/>
              <a:gd name="T44" fmla="*/ 2147483647 w 377"/>
              <a:gd name="T45" fmla="*/ 2147483647 h 678"/>
              <a:gd name="T46" fmla="*/ 2147483647 w 377"/>
              <a:gd name="T47" fmla="*/ 2147483647 h 678"/>
              <a:gd name="T48" fmla="*/ 2147483647 w 377"/>
              <a:gd name="T49" fmla="*/ 2147483647 h 678"/>
              <a:gd name="T50" fmla="*/ 2147483647 w 377"/>
              <a:gd name="T51" fmla="*/ 2147483647 h 678"/>
              <a:gd name="T52" fmla="*/ 2147483647 w 377"/>
              <a:gd name="T53" fmla="*/ 2147483647 h 678"/>
              <a:gd name="T54" fmla="*/ 2147483647 w 377"/>
              <a:gd name="T55" fmla="*/ 2147483647 h 678"/>
              <a:gd name="T56" fmla="*/ 2147483647 w 377"/>
              <a:gd name="T57" fmla="*/ 2147483647 h 678"/>
              <a:gd name="T58" fmla="*/ 2147483647 w 377"/>
              <a:gd name="T59" fmla="*/ 0 h 678"/>
              <a:gd name="T60" fmla="*/ 2147483647 w 377"/>
              <a:gd name="T61" fmla="*/ 2147483647 h 678"/>
              <a:gd name="T62" fmla="*/ 2147483647 w 377"/>
              <a:gd name="T63" fmla="*/ 2147483647 h 6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7"/>
              <a:gd name="T97" fmla="*/ 0 h 678"/>
              <a:gd name="T98" fmla="*/ 377 w 377"/>
              <a:gd name="T99" fmla="*/ 678 h 67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7" h="678">
                <a:moveTo>
                  <a:pt x="82" y="33"/>
                </a:moveTo>
                <a:lnTo>
                  <a:pt x="82" y="49"/>
                </a:lnTo>
                <a:lnTo>
                  <a:pt x="65" y="82"/>
                </a:lnTo>
                <a:lnTo>
                  <a:pt x="65" y="132"/>
                </a:lnTo>
                <a:lnTo>
                  <a:pt x="49" y="132"/>
                </a:lnTo>
                <a:lnTo>
                  <a:pt x="32" y="181"/>
                </a:lnTo>
                <a:lnTo>
                  <a:pt x="16" y="264"/>
                </a:lnTo>
                <a:lnTo>
                  <a:pt x="32" y="313"/>
                </a:lnTo>
                <a:lnTo>
                  <a:pt x="32" y="363"/>
                </a:lnTo>
                <a:lnTo>
                  <a:pt x="32" y="396"/>
                </a:lnTo>
                <a:lnTo>
                  <a:pt x="49" y="413"/>
                </a:lnTo>
                <a:lnTo>
                  <a:pt x="32" y="446"/>
                </a:lnTo>
                <a:lnTo>
                  <a:pt x="32" y="479"/>
                </a:lnTo>
                <a:lnTo>
                  <a:pt x="16" y="495"/>
                </a:lnTo>
                <a:lnTo>
                  <a:pt x="0" y="544"/>
                </a:lnTo>
                <a:lnTo>
                  <a:pt x="0" y="578"/>
                </a:lnTo>
                <a:lnTo>
                  <a:pt x="0" y="595"/>
                </a:lnTo>
                <a:lnTo>
                  <a:pt x="180" y="595"/>
                </a:lnTo>
                <a:lnTo>
                  <a:pt x="196" y="627"/>
                </a:lnTo>
                <a:lnTo>
                  <a:pt x="228" y="661"/>
                </a:lnTo>
                <a:lnTo>
                  <a:pt x="245" y="677"/>
                </a:lnTo>
                <a:lnTo>
                  <a:pt x="278" y="677"/>
                </a:lnTo>
                <a:lnTo>
                  <a:pt x="278" y="661"/>
                </a:lnTo>
                <a:lnTo>
                  <a:pt x="294" y="644"/>
                </a:lnTo>
                <a:lnTo>
                  <a:pt x="311" y="644"/>
                </a:lnTo>
                <a:lnTo>
                  <a:pt x="326" y="644"/>
                </a:lnTo>
                <a:lnTo>
                  <a:pt x="359" y="627"/>
                </a:lnTo>
                <a:lnTo>
                  <a:pt x="376" y="627"/>
                </a:lnTo>
                <a:lnTo>
                  <a:pt x="343" y="446"/>
                </a:lnTo>
                <a:lnTo>
                  <a:pt x="326" y="0"/>
                </a:lnTo>
                <a:lnTo>
                  <a:pt x="114" y="16"/>
                </a:lnTo>
                <a:lnTo>
                  <a:pt x="82" y="33"/>
                </a:lnTo>
              </a:path>
            </a:pathLst>
          </a:custGeom>
          <a:solidFill>
            <a:srgbClr val="00B050"/>
          </a:solidFill>
          <a:ln w="12700" cap="rnd" cmpd="sng">
            <a:solidFill>
              <a:schemeClr val="tx1"/>
            </a:solidFill>
            <a:prstDash val="solid"/>
            <a:round/>
            <a:headEnd type="none" w="sm" len="sm"/>
            <a:tailEnd type="none" w="sm" len="sm"/>
          </a:ln>
        </p:spPr>
        <p:txBody>
          <a:bodyPr/>
          <a:lstStyle/>
          <a:p>
            <a:endParaRPr lang="en-US" dirty="0"/>
          </a:p>
        </p:txBody>
      </p:sp>
      <p:sp>
        <p:nvSpPr>
          <p:cNvPr id="2075" name="Freeform 26"/>
          <p:cNvSpPr>
            <a:spLocks/>
          </p:cNvSpPr>
          <p:nvPr/>
        </p:nvSpPr>
        <p:spPr bwMode="auto">
          <a:xfrm>
            <a:off x="5878513" y="2449116"/>
            <a:ext cx="1479550" cy="434578"/>
          </a:xfrm>
          <a:custGeom>
            <a:avLst/>
            <a:gdLst>
              <a:gd name="T0" fmla="*/ 2147483647 w 932"/>
              <a:gd name="T1" fmla="*/ 2147483647 h 365"/>
              <a:gd name="T2" fmla="*/ 2147483647 w 932"/>
              <a:gd name="T3" fmla="*/ 2147483647 h 365"/>
              <a:gd name="T4" fmla="*/ 2147483647 w 932"/>
              <a:gd name="T5" fmla="*/ 2147483647 h 365"/>
              <a:gd name="T6" fmla="*/ 2147483647 w 932"/>
              <a:gd name="T7" fmla="*/ 2147483647 h 365"/>
              <a:gd name="T8" fmla="*/ 2147483647 w 932"/>
              <a:gd name="T9" fmla="*/ 2147483647 h 365"/>
              <a:gd name="T10" fmla="*/ 2147483647 w 932"/>
              <a:gd name="T11" fmla="*/ 2147483647 h 365"/>
              <a:gd name="T12" fmla="*/ 2147483647 w 932"/>
              <a:gd name="T13" fmla="*/ 2147483647 h 365"/>
              <a:gd name="T14" fmla="*/ 2147483647 w 932"/>
              <a:gd name="T15" fmla="*/ 2147483647 h 365"/>
              <a:gd name="T16" fmla="*/ 2147483647 w 932"/>
              <a:gd name="T17" fmla="*/ 2147483647 h 365"/>
              <a:gd name="T18" fmla="*/ 2147483647 w 932"/>
              <a:gd name="T19" fmla="*/ 2147483647 h 365"/>
              <a:gd name="T20" fmla="*/ 2147483647 w 932"/>
              <a:gd name="T21" fmla="*/ 2147483647 h 365"/>
              <a:gd name="T22" fmla="*/ 0 w 932"/>
              <a:gd name="T23" fmla="*/ 2147483647 h 365"/>
              <a:gd name="T24" fmla="*/ 0 w 932"/>
              <a:gd name="T25" fmla="*/ 2147483647 h 365"/>
              <a:gd name="T26" fmla="*/ 2147483647 w 932"/>
              <a:gd name="T27" fmla="*/ 2147483647 h 365"/>
              <a:gd name="T28" fmla="*/ 2147483647 w 932"/>
              <a:gd name="T29" fmla="*/ 2147483647 h 365"/>
              <a:gd name="T30" fmla="*/ 2147483647 w 932"/>
              <a:gd name="T31" fmla="*/ 2147483647 h 365"/>
              <a:gd name="T32" fmla="*/ 2147483647 w 932"/>
              <a:gd name="T33" fmla="*/ 2147483647 h 365"/>
              <a:gd name="T34" fmla="*/ 2147483647 w 932"/>
              <a:gd name="T35" fmla="*/ 2147483647 h 365"/>
              <a:gd name="T36" fmla="*/ 2147483647 w 932"/>
              <a:gd name="T37" fmla="*/ 2147483647 h 365"/>
              <a:gd name="T38" fmla="*/ 2147483647 w 932"/>
              <a:gd name="T39" fmla="*/ 2147483647 h 365"/>
              <a:gd name="T40" fmla="*/ 2147483647 w 932"/>
              <a:gd name="T41" fmla="*/ 2147483647 h 365"/>
              <a:gd name="T42" fmla="*/ 2147483647 w 932"/>
              <a:gd name="T43" fmla="*/ 2147483647 h 365"/>
              <a:gd name="T44" fmla="*/ 2147483647 w 932"/>
              <a:gd name="T45" fmla="*/ 2147483647 h 365"/>
              <a:gd name="T46" fmla="*/ 2147483647 w 932"/>
              <a:gd name="T47" fmla="*/ 2147483647 h 365"/>
              <a:gd name="T48" fmla="*/ 2147483647 w 932"/>
              <a:gd name="T49" fmla="*/ 2147483647 h 365"/>
              <a:gd name="T50" fmla="*/ 2147483647 w 932"/>
              <a:gd name="T51" fmla="*/ 2147483647 h 365"/>
              <a:gd name="T52" fmla="*/ 2147483647 w 932"/>
              <a:gd name="T53" fmla="*/ 2147483647 h 365"/>
              <a:gd name="T54" fmla="*/ 2147483647 w 932"/>
              <a:gd name="T55" fmla="*/ 2147483647 h 365"/>
              <a:gd name="T56" fmla="*/ 2147483647 w 932"/>
              <a:gd name="T57" fmla="*/ 2147483647 h 365"/>
              <a:gd name="T58" fmla="*/ 2147483647 w 932"/>
              <a:gd name="T59" fmla="*/ 2147483647 h 365"/>
              <a:gd name="T60" fmla="*/ 2147483647 w 932"/>
              <a:gd name="T61" fmla="*/ 0 h 365"/>
              <a:gd name="T62" fmla="*/ 2147483647 w 932"/>
              <a:gd name="T63" fmla="*/ 0 h 365"/>
              <a:gd name="T64" fmla="*/ 2147483647 w 932"/>
              <a:gd name="T65" fmla="*/ 2147483647 h 365"/>
              <a:gd name="T66" fmla="*/ 2147483647 w 932"/>
              <a:gd name="T67" fmla="*/ 2147483647 h 365"/>
              <a:gd name="T68" fmla="*/ 2147483647 w 932"/>
              <a:gd name="T69" fmla="*/ 2147483647 h 3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32"/>
              <a:gd name="T106" fmla="*/ 0 h 365"/>
              <a:gd name="T107" fmla="*/ 932 w 932"/>
              <a:gd name="T108" fmla="*/ 365 h 3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32" h="365">
                <a:moveTo>
                  <a:pt x="473" y="99"/>
                </a:moveTo>
                <a:lnTo>
                  <a:pt x="342" y="116"/>
                </a:lnTo>
                <a:lnTo>
                  <a:pt x="245" y="116"/>
                </a:lnTo>
                <a:lnTo>
                  <a:pt x="196" y="148"/>
                </a:lnTo>
                <a:lnTo>
                  <a:pt x="49" y="165"/>
                </a:lnTo>
                <a:lnTo>
                  <a:pt x="32" y="182"/>
                </a:lnTo>
                <a:lnTo>
                  <a:pt x="32" y="198"/>
                </a:lnTo>
                <a:lnTo>
                  <a:pt x="32" y="231"/>
                </a:lnTo>
                <a:lnTo>
                  <a:pt x="32" y="248"/>
                </a:lnTo>
                <a:lnTo>
                  <a:pt x="32" y="281"/>
                </a:lnTo>
                <a:lnTo>
                  <a:pt x="16" y="281"/>
                </a:lnTo>
                <a:lnTo>
                  <a:pt x="0" y="297"/>
                </a:lnTo>
                <a:lnTo>
                  <a:pt x="0" y="330"/>
                </a:lnTo>
                <a:lnTo>
                  <a:pt x="16" y="330"/>
                </a:lnTo>
                <a:lnTo>
                  <a:pt x="16" y="364"/>
                </a:lnTo>
                <a:lnTo>
                  <a:pt x="228" y="347"/>
                </a:lnTo>
                <a:lnTo>
                  <a:pt x="473" y="314"/>
                </a:lnTo>
                <a:lnTo>
                  <a:pt x="637" y="281"/>
                </a:lnTo>
                <a:lnTo>
                  <a:pt x="670" y="231"/>
                </a:lnTo>
                <a:lnTo>
                  <a:pt x="702" y="198"/>
                </a:lnTo>
                <a:lnTo>
                  <a:pt x="718" y="198"/>
                </a:lnTo>
                <a:lnTo>
                  <a:pt x="735" y="198"/>
                </a:lnTo>
                <a:lnTo>
                  <a:pt x="751" y="165"/>
                </a:lnTo>
                <a:lnTo>
                  <a:pt x="784" y="148"/>
                </a:lnTo>
                <a:lnTo>
                  <a:pt x="784" y="116"/>
                </a:lnTo>
                <a:lnTo>
                  <a:pt x="833" y="99"/>
                </a:lnTo>
                <a:lnTo>
                  <a:pt x="849" y="82"/>
                </a:lnTo>
                <a:lnTo>
                  <a:pt x="866" y="66"/>
                </a:lnTo>
                <a:lnTo>
                  <a:pt x="866" y="50"/>
                </a:lnTo>
                <a:lnTo>
                  <a:pt x="882" y="50"/>
                </a:lnTo>
                <a:lnTo>
                  <a:pt x="931" y="0"/>
                </a:lnTo>
                <a:lnTo>
                  <a:pt x="882" y="0"/>
                </a:lnTo>
                <a:lnTo>
                  <a:pt x="702" y="50"/>
                </a:lnTo>
                <a:lnTo>
                  <a:pt x="604" y="82"/>
                </a:lnTo>
                <a:lnTo>
                  <a:pt x="473" y="99"/>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76" name="Freeform 27"/>
          <p:cNvSpPr>
            <a:spLocks/>
          </p:cNvSpPr>
          <p:nvPr/>
        </p:nvSpPr>
        <p:spPr bwMode="auto">
          <a:xfrm>
            <a:off x="6891338" y="2291954"/>
            <a:ext cx="1504950" cy="513159"/>
          </a:xfrm>
          <a:custGeom>
            <a:avLst/>
            <a:gdLst>
              <a:gd name="T0" fmla="*/ 2147483647 w 948"/>
              <a:gd name="T1" fmla="*/ 2147483647 h 431"/>
              <a:gd name="T2" fmla="*/ 2147483647 w 948"/>
              <a:gd name="T3" fmla="*/ 0 h 431"/>
              <a:gd name="T4" fmla="*/ 2147483647 w 948"/>
              <a:gd name="T5" fmla="*/ 2147483647 h 431"/>
              <a:gd name="T6" fmla="*/ 2147483647 w 948"/>
              <a:gd name="T7" fmla="*/ 2147483647 h 431"/>
              <a:gd name="T8" fmla="*/ 2147483647 w 948"/>
              <a:gd name="T9" fmla="*/ 2147483647 h 431"/>
              <a:gd name="T10" fmla="*/ 2147483647 w 948"/>
              <a:gd name="T11" fmla="*/ 2147483647 h 431"/>
              <a:gd name="T12" fmla="*/ 2147483647 w 948"/>
              <a:gd name="T13" fmla="*/ 2147483647 h 431"/>
              <a:gd name="T14" fmla="*/ 2147483647 w 948"/>
              <a:gd name="T15" fmla="*/ 2147483647 h 431"/>
              <a:gd name="T16" fmla="*/ 2147483647 w 948"/>
              <a:gd name="T17" fmla="*/ 2147483647 h 431"/>
              <a:gd name="T18" fmla="*/ 2147483647 w 948"/>
              <a:gd name="T19" fmla="*/ 2147483647 h 431"/>
              <a:gd name="T20" fmla="*/ 2147483647 w 948"/>
              <a:gd name="T21" fmla="*/ 2147483647 h 431"/>
              <a:gd name="T22" fmla="*/ 2147483647 w 948"/>
              <a:gd name="T23" fmla="*/ 2147483647 h 431"/>
              <a:gd name="T24" fmla="*/ 2147483647 w 948"/>
              <a:gd name="T25" fmla="*/ 2147483647 h 431"/>
              <a:gd name="T26" fmla="*/ 2147483647 w 948"/>
              <a:gd name="T27" fmla="*/ 2147483647 h 431"/>
              <a:gd name="T28" fmla="*/ 2147483647 w 948"/>
              <a:gd name="T29" fmla="*/ 2147483647 h 431"/>
              <a:gd name="T30" fmla="*/ 2147483647 w 948"/>
              <a:gd name="T31" fmla="*/ 2147483647 h 431"/>
              <a:gd name="T32" fmla="*/ 2147483647 w 948"/>
              <a:gd name="T33" fmla="*/ 2147483647 h 431"/>
              <a:gd name="T34" fmla="*/ 2147483647 w 948"/>
              <a:gd name="T35" fmla="*/ 2147483647 h 431"/>
              <a:gd name="T36" fmla="*/ 2147483647 w 948"/>
              <a:gd name="T37" fmla="*/ 2147483647 h 431"/>
              <a:gd name="T38" fmla="*/ 2147483647 w 948"/>
              <a:gd name="T39" fmla="*/ 2147483647 h 431"/>
              <a:gd name="T40" fmla="*/ 2147483647 w 948"/>
              <a:gd name="T41" fmla="*/ 2147483647 h 431"/>
              <a:gd name="T42" fmla="*/ 2147483647 w 948"/>
              <a:gd name="T43" fmla="*/ 2147483647 h 431"/>
              <a:gd name="T44" fmla="*/ 2147483647 w 948"/>
              <a:gd name="T45" fmla="*/ 2147483647 h 431"/>
              <a:gd name="T46" fmla="*/ 2147483647 w 948"/>
              <a:gd name="T47" fmla="*/ 2147483647 h 431"/>
              <a:gd name="T48" fmla="*/ 2147483647 w 948"/>
              <a:gd name="T49" fmla="*/ 2147483647 h 431"/>
              <a:gd name="T50" fmla="*/ 2147483647 w 948"/>
              <a:gd name="T51" fmla="*/ 2147483647 h 431"/>
              <a:gd name="T52" fmla="*/ 2147483647 w 948"/>
              <a:gd name="T53" fmla="*/ 2147483647 h 431"/>
              <a:gd name="T54" fmla="*/ 2147483647 w 948"/>
              <a:gd name="T55" fmla="*/ 2147483647 h 431"/>
              <a:gd name="T56" fmla="*/ 2147483647 w 948"/>
              <a:gd name="T57" fmla="*/ 2147483647 h 431"/>
              <a:gd name="T58" fmla="*/ 2147483647 w 948"/>
              <a:gd name="T59" fmla="*/ 2147483647 h 431"/>
              <a:gd name="T60" fmla="*/ 0 w 948"/>
              <a:gd name="T61" fmla="*/ 2147483647 h 431"/>
              <a:gd name="T62" fmla="*/ 2147483647 w 948"/>
              <a:gd name="T63" fmla="*/ 2147483647 h 431"/>
              <a:gd name="T64" fmla="*/ 2147483647 w 948"/>
              <a:gd name="T65" fmla="*/ 2147483647 h 431"/>
              <a:gd name="T66" fmla="*/ 2147483647 w 948"/>
              <a:gd name="T67" fmla="*/ 2147483647 h 431"/>
              <a:gd name="T68" fmla="*/ 2147483647 w 948"/>
              <a:gd name="T69" fmla="*/ 2147483647 h 431"/>
              <a:gd name="T70" fmla="*/ 2147483647 w 948"/>
              <a:gd name="T71" fmla="*/ 2147483647 h 431"/>
              <a:gd name="T72" fmla="*/ 2147483647 w 948"/>
              <a:gd name="T73" fmla="*/ 2147483647 h 431"/>
              <a:gd name="T74" fmla="*/ 2147483647 w 948"/>
              <a:gd name="T75" fmla="*/ 2147483647 h 43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48"/>
              <a:gd name="T115" fmla="*/ 0 h 431"/>
              <a:gd name="T116" fmla="*/ 948 w 948"/>
              <a:gd name="T117" fmla="*/ 431 h 43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48" h="431">
                <a:moveTo>
                  <a:pt x="506" y="98"/>
                </a:moveTo>
                <a:lnTo>
                  <a:pt x="750" y="49"/>
                </a:lnTo>
                <a:lnTo>
                  <a:pt x="849" y="15"/>
                </a:lnTo>
                <a:lnTo>
                  <a:pt x="881" y="0"/>
                </a:lnTo>
                <a:lnTo>
                  <a:pt x="881" y="15"/>
                </a:lnTo>
                <a:lnTo>
                  <a:pt x="849" y="49"/>
                </a:lnTo>
                <a:lnTo>
                  <a:pt x="816" y="49"/>
                </a:lnTo>
                <a:lnTo>
                  <a:pt x="799" y="49"/>
                </a:lnTo>
                <a:lnTo>
                  <a:pt x="783" y="66"/>
                </a:lnTo>
                <a:lnTo>
                  <a:pt x="832" y="81"/>
                </a:lnTo>
                <a:lnTo>
                  <a:pt x="881" y="49"/>
                </a:lnTo>
                <a:lnTo>
                  <a:pt x="897" y="49"/>
                </a:lnTo>
                <a:lnTo>
                  <a:pt x="897" y="66"/>
                </a:lnTo>
                <a:lnTo>
                  <a:pt x="897" y="98"/>
                </a:lnTo>
                <a:lnTo>
                  <a:pt x="897" y="115"/>
                </a:lnTo>
                <a:lnTo>
                  <a:pt x="897" y="131"/>
                </a:lnTo>
                <a:lnTo>
                  <a:pt x="881" y="148"/>
                </a:lnTo>
                <a:lnTo>
                  <a:pt x="849" y="131"/>
                </a:lnTo>
                <a:lnTo>
                  <a:pt x="816" y="148"/>
                </a:lnTo>
                <a:lnTo>
                  <a:pt x="849" y="148"/>
                </a:lnTo>
                <a:lnTo>
                  <a:pt x="849" y="181"/>
                </a:lnTo>
                <a:lnTo>
                  <a:pt x="816" y="197"/>
                </a:lnTo>
                <a:lnTo>
                  <a:pt x="783" y="231"/>
                </a:lnTo>
                <a:lnTo>
                  <a:pt x="832" y="231"/>
                </a:lnTo>
                <a:lnTo>
                  <a:pt x="849" y="197"/>
                </a:lnTo>
                <a:lnTo>
                  <a:pt x="864" y="214"/>
                </a:lnTo>
                <a:lnTo>
                  <a:pt x="881" y="181"/>
                </a:lnTo>
                <a:lnTo>
                  <a:pt x="897" y="181"/>
                </a:lnTo>
                <a:lnTo>
                  <a:pt x="914" y="131"/>
                </a:lnTo>
                <a:lnTo>
                  <a:pt x="930" y="131"/>
                </a:lnTo>
                <a:lnTo>
                  <a:pt x="947" y="98"/>
                </a:lnTo>
                <a:lnTo>
                  <a:pt x="947" y="115"/>
                </a:lnTo>
                <a:lnTo>
                  <a:pt x="947" y="131"/>
                </a:lnTo>
                <a:lnTo>
                  <a:pt x="914" y="181"/>
                </a:lnTo>
                <a:lnTo>
                  <a:pt x="897" y="214"/>
                </a:lnTo>
                <a:lnTo>
                  <a:pt x="881" y="231"/>
                </a:lnTo>
                <a:lnTo>
                  <a:pt x="881" y="263"/>
                </a:lnTo>
                <a:lnTo>
                  <a:pt x="849" y="263"/>
                </a:lnTo>
                <a:lnTo>
                  <a:pt x="799" y="280"/>
                </a:lnTo>
                <a:lnTo>
                  <a:pt x="783" y="314"/>
                </a:lnTo>
                <a:lnTo>
                  <a:pt x="783" y="330"/>
                </a:lnTo>
                <a:lnTo>
                  <a:pt x="750" y="346"/>
                </a:lnTo>
                <a:lnTo>
                  <a:pt x="734" y="363"/>
                </a:lnTo>
                <a:lnTo>
                  <a:pt x="750" y="380"/>
                </a:lnTo>
                <a:lnTo>
                  <a:pt x="718" y="413"/>
                </a:lnTo>
                <a:lnTo>
                  <a:pt x="685" y="413"/>
                </a:lnTo>
                <a:lnTo>
                  <a:pt x="669" y="430"/>
                </a:lnTo>
                <a:lnTo>
                  <a:pt x="652" y="430"/>
                </a:lnTo>
                <a:lnTo>
                  <a:pt x="554" y="380"/>
                </a:lnTo>
                <a:lnTo>
                  <a:pt x="506" y="330"/>
                </a:lnTo>
                <a:lnTo>
                  <a:pt x="407" y="363"/>
                </a:lnTo>
                <a:lnTo>
                  <a:pt x="375" y="330"/>
                </a:lnTo>
                <a:lnTo>
                  <a:pt x="179" y="363"/>
                </a:lnTo>
                <a:lnTo>
                  <a:pt x="163" y="363"/>
                </a:lnTo>
                <a:lnTo>
                  <a:pt x="147" y="380"/>
                </a:lnTo>
                <a:lnTo>
                  <a:pt x="147" y="396"/>
                </a:lnTo>
                <a:lnTo>
                  <a:pt x="130" y="396"/>
                </a:lnTo>
                <a:lnTo>
                  <a:pt x="97" y="380"/>
                </a:lnTo>
                <a:lnTo>
                  <a:pt x="81" y="396"/>
                </a:lnTo>
                <a:lnTo>
                  <a:pt x="49" y="396"/>
                </a:lnTo>
                <a:lnTo>
                  <a:pt x="32" y="413"/>
                </a:lnTo>
                <a:lnTo>
                  <a:pt x="0" y="413"/>
                </a:lnTo>
                <a:lnTo>
                  <a:pt x="32" y="363"/>
                </a:lnTo>
                <a:lnTo>
                  <a:pt x="64" y="330"/>
                </a:lnTo>
                <a:lnTo>
                  <a:pt x="81" y="330"/>
                </a:lnTo>
                <a:lnTo>
                  <a:pt x="97" y="330"/>
                </a:lnTo>
                <a:lnTo>
                  <a:pt x="114" y="297"/>
                </a:lnTo>
                <a:lnTo>
                  <a:pt x="147" y="280"/>
                </a:lnTo>
                <a:lnTo>
                  <a:pt x="147" y="248"/>
                </a:lnTo>
                <a:lnTo>
                  <a:pt x="195" y="231"/>
                </a:lnTo>
                <a:lnTo>
                  <a:pt x="212" y="214"/>
                </a:lnTo>
                <a:lnTo>
                  <a:pt x="228" y="197"/>
                </a:lnTo>
                <a:lnTo>
                  <a:pt x="228" y="181"/>
                </a:lnTo>
                <a:lnTo>
                  <a:pt x="244" y="181"/>
                </a:lnTo>
                <a:lnTo>
                  <a:pt x="277" y="148"/>
                </a:lnTo>
                <a:lnTo>
                  <a:pt x="506" y="98"/>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77" name="Freeform 28"/>
          <p:cNvSpPr>
            <a:spLocks/>
          </p:cNvSpPr>
          <p:nvPr/>
        </p:nvSpPr>
        <p:spPr bwMode="auto">
          <a:xfrm>
            <a:off x="6580189" y="1526381"/>
            <a:ext cx="727075" cy="648891"/>
          </a:xfrm>
          <a:custGeom>
            <a:avLst/>
            <a:gdLst>
              <a:gd name="T0" fmla="*/ 2147483647 w 458"/>
              <a:gd name="T1" fmla="*/ 2147483647 h 545"/>
              <a:gd name="T2" fmla="*/ 2147483647 w 458"/>
              <a:gd name="T3" fmla="*/ 2147483647 h 545"/>
              <a:gd name="T4" fmla="*/ 2147483647 w 458"/>
              <a:gd name="T5" fmla="*/ 2147483647 h 545"/>
              <a:gd name="T6" fmla="*/ 2147483647 w 458"/>
              <a:gd name="T7" fmla="*/ 2147483647 h 545"/>
              <a:gd name="T8" fmla="*/ 2147483647 w 458"/>
              <a:gd name="T9" fmla="*/ 2147483647 h 545"/>
              <a:gd name="T10" fmla="*/ 2147483647 w 458"/>
              <a:gd name="T11" fmla="*/ 2147483647 h 545"/>
              <a:gd name="T12" fmla="*/ 2147483647 w 458"/>
              <a:gd name="T13" fmla="*/ 2147483647 h 545"/>
              <a:gd name="T14" fmla="*/ 2147483647 w 458"/>
              <a:gd name="T15" fmla="*/ 2147483647 h 545"/>
              <a:gd name="T16" fmla="*/ 2147483647 w 458"/>
              <a:gd name="T17" fmla="*/ 2147483647 h 545"/>
              <a:gd name="T18" fmla="*/ 2147483647 w 458"/>
              <a:gd name="T19" fmla="*/ 2147483647 h 545"/>
              <a:gd name="T20" fmla="*/ 2147483647 w 458"/>
              <a:gd name="T21" fmla="*/ 2147483647 h 545"/>
              <a:gd name="T22" fmla="*/ 2147483647 w 458"/>
              <a:gd name="T23" fmla="*/ 2147483647 h 545"/>
              <a:gd name="T24" fmla="*/ 2147483647 w 458"/>
              <a:gd name="T25" fmla="*/ 2147483647 h 545"/>
              <a:gd name="T26" fmla="*/ 2147483647 w 458"/>
              <a:gd name="T27" fmla="*/ 2147483647 h 545"/>
              <a:gd name="T28" fmla="*/ 2147483647 w 458"/>
              <a:gd name="T29" fmla="*/ 2147483647 h 545"/>
              <a:gd name="T30" fmla="*/ 2147483647 w 458"/>
              <a:gd name="T31" fmla="*/ 2147483647 h 545"/>
              <a:gd name="T32" fmla="*/ 2147483647 w 458"/>
              <a:gd name="T33" fmla="*/ 2147483647 h 545"/>
              <a:gd name="T34" fmla="*/ 2147483647 w 458"/>
              <a:gd name="T35" fmla="*/ 2147483647 h 545"/>
              <a:gd name="T36" fmla="*/ 2147483647 w 458"/>
              <a:gd name="T37" fmla="*/ 2147483647 h 545"/>
              <a:gd name="T38" fmla="*/ 2147483647 w 458"/>
              <a:gd name="T39" fmla="*/ 2147483647 h 545"/>
              <a:gd name="T40" fmla="*/ 2147483647 w 458"/>
              <a:gd name="T41" fmla="*/ 2147483647 h 545"/>
              <a:gd name="T42" fmla="*/ 2147483647 w 458"/>
              <a:gd name="T43" fmla="*/ 2147483647 h 545"/>
              <a:gd name="T44" fmla="*/ 2147483647 w 458"/>
              <a:gd name="T45" fmla="*/ 2147483647 h 545"/>
              <a:gd name="T46" fmla="*/ 0 w 458"/>
              <a:gd name="T47" fmla="*/ 2147483647 h 545"/>
              <a:gd name="T48" fmla="*/ 2147483647 w 458"/>
              <a:gd name="T49" fmla="*/ 2147483647 h 545"/>
              <a:gd name="T50" fmla="*/ 2147483647 w 458"/>
              <a:gd name="T51" fmla="*/ 2147483647 h 545"/>
              <a:gd name="T52" fmla="*/ 2147483647 w 458"/>
              <a:gd name="T53" fmla="*/ 2147483647 h 545"/>
              <a:gd name="T54" fmla="*/ 2147483647 w 458"/>
              <a:gd name="T55" fmla="*/ 2147483647 h 545"/>
              <a:gd name="T56" fmla="*/ 2147483647 w 458"/>
              <a:gd name="T57" fmla="*/ 2147483647 h 545"/>
              <a:gd name="T58" fmla="*/ 2147483647 w 458"/>
              <a:gd name="T59" fmla="*/ 0 h 545"/>
              <a:gd name="T60" fmla="*/ 2147483647 w 458"/>
              <a:gd name="T61" fmla="*/ 2147483647 h 5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8"/>
              <a:gd name="T94" fmla="*/ 0 h 545"/>
              <a:gd name="T95" fmla="*/ 458 w 458"/>
              <a:gd name="T96" fmla="*/ 545 h 54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8" h="545">
                <a:moveTo>
                  <a:pt x="457" y="213"/>
                </a:moveTo>
                <a:lnTo>
                  <a:pt x="440" y="230"/>
                </a:lnTo>
                <a:lnTo>
                  <a:pt x="440" y="362"/>
                </a:lnTo>
                <a:lnTo>
                  <a:pt x="424" y="379"/>
                </a:lnTo>
                <a:lnTo>
                  <a:pt x="391" y="379"/>
                </a:lnTo>
                <a:lnTo>
                  <a:pt x="391" y="411"/>
                </a:lnTo>
                <a:lnTo>
                  <a:pt x="374" y="411"/>
                </a:lnTo>
                <a:lnTo>
                  <a:pt x="374" y="461"/>
                </a:lnTo>
                <a:lnTo>
                  <a:pt x="342" y="461"/>
                </a:lnTo>
                <a:lnTo>
                  <a:pt x="342" y="494"/>
                </a:lnTo>
                <a:lnTo>
                  <a:pt x="342" y="511"/>
                </a:lnTo>
                <a:lnTo>
                  <a:pt x="342" y="527"/>
                </a:lnTo>
                <a:lnTo>
                  <a:pt x="326" y="544"/>
                </a:lnTo>
                <a:lnTo>
                  <a:pt x="342" y="527"/>
                </a:lnTo>
                <a:lnTo>
                  <a:pt x="326" y="544"/>
                </a:lnTo>
                <a:lnTo>
                  <a:pt x="276" y="527"/>
                </a:lnTo>
                <a:lnTo>
                  <a:pt x="276" y="511"/>
                </a:lnTo>
                <a:lnTo>
                  <a:pt x="244" y="527"/>
                </a:lnTo>
                <a:lnTo>
                  <a:pt x="228" y="527"/>
                </a:lnTo>
                <a:lnTo>
                  <a:pt x="179" y="527"/>
                </a:lnTo>
                <a:lnTo>
                  <a:pt x="162" y="527"/>
                </a:lnTo>
                <a:lnTo>
                  <a:pt x="114" y="494"/>
                </a:lnTo>
                <a:lnTo>
                  <a:pt x="48" y="494"/>
                </a:lnTo>
                <a:lnTo>
                  <a:pt x="0" y="147"/>
                </a:lnTo>
                <a:lnTo>
                  <a:pt x="179" y="115"/>
                </a:lnTo>
                <a:lnTo>
                  <a:pt x="228" y="132"/>
                </a:lnTo>
                <a:lnTo>
                  <a:pt x="293" y="115"/>
                </a:lnTo>
                <a:lnTo>
                  <a:pt x="342" y="81"/>
                </a:lnTo>
                <a:lnTo>
                  <a:pt x="359" y="32"/>
                </a:lnTo>
                <a:lnTo>
                  <a:pt x="407" y="0"/>
                </a:lnTo>
                <a:lnTo>
                  <a:pt x="457" y="213"/>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78" name="Freeform 29"/>
          <p:cNvSpPr>
            <a:spLocks/>
          </p:cNvSpPr>
          <p:nvPr/>
        </p:nvSpPr>
        <p:spPr bwMode="auto">
          <a:xfrm>
            <a:off x="6992939" y="1897857"/>
            <a:ext cx="1271587" cy="613172"/>
          </a:xfrm>
          <a:custGeom>
            <a:avLst/>
            <a:gdLst>
              <a:gd name="T0" fmla="*/ 2147483647 w 801"/>
              <a:gd name="T1" fmla="*/ 2147483647 h 515"/>
              <a:gd name="T2" fmla="*/ 2147483647 w 801"/>
              <a:gd name="T3" fmla="*/ 2147483647 h 515"/>
              <a:gd name="T4" fmla="*/ 2147483647 w 801"/>
              <a:gd name="T5" fmla="*/ 2147483647 h 515"/>
              <a:gd name="T6" fmla="*/ 2147483647 w 801"/>
              <a:gd name="T7" fmla="*/ 2147483647 h 515"/>
              <a:gd name="T8" fmla="*/ 2147483647 w 801"/>
              <a:gd name="T9" fmla="*/ 2147483647 h 515"/>
              <a:gd name="T10" fmla="*/ 2147483647 w 801"/>
              <a:gd name="T11" fmla="*/ 2147483647 h 515"/>
              <a:gd name="T12" fmla="*/ 2147483647 w 801"/>
              <a:gd name="T13" fmla="*/ 0 h 515"/>
              <a:gd name="T14" fmla="*/ 2147483647 w 801"/>
              <a:gd name="T15" fmla="*/ 0 h 515"/>
              <a:gd name="T16" fmla="*/ 2147483647 w 801"/>
              <a:gd name="T17" fmla="*/ 0 h 515"/>
              <a:gd name="T18" fmla="*/ 2147483647 w 801"/>
              <a:gd name="T19" fmla="*/ 2147483647 h 515"/>
              <a:gd name="T20" fmla="*/ 2147483647 w 801"/>
              <a:gd name="T21" fmla="*/ 2147483647 h 515"/>
              <a:gd name="T22" fmla="*/ 2147483647 w 801"/>
              <a:gd name="T23" fmla="*/ 2147483647 h 515"/>
              <a:gd name="T24" fmla="*/ 2147483647 w 801"/>
              <a:gd name="T25" fmla="*/ 2147483647 h 515"/>
              <a:gd name="T26" fmla="*/ 2147483647 w 801"/>
              <a:gd name="T27" fmla="*/ 2147483647 h 515"/>
              <a:gd name="T28" fmla="*/ 2147483647 w 801"/>
              <a:gd name="T29" fmla="*/ 2147483647 h 515"/>
              <a:gd name="T30" fmla="*/ 2147483647 w 801"/>
              <a:gd name="T31" fmla="*/ 2147483647 h 515"/>
              <a:gd name="T32" fmla="*/ 2147483647 w 801"/>
              <a:gd name="T33" fmla="*/ 2147483647 h 515"/>
              <a:gd name="T34" fmla="*/ 2147483647 w 801"/>
              <a:gd name="T35" fmla="*/ 2147483647 h 515"/>
              <a:gd name="T36" fmla="*/ 2147483647 w 801"/>
              <a:gd name="T37" fmla="*/ 2147483647 h 515"/>
              <a:gd name="T38" fmla="*/ 2147483647 w 801"/>
              <a:gd name="T39" fmla="*/ 2147483647 h 515"/>
              <a:gd name="T40" fmla="*/ 2147483647 w 801"/>
              <a:gd name="T41" fmla="*/ 2147483647 h 515"/>
              <a:gd name="T42" fmla="*/ 2147483647 w 801"/>
              <a:gd name="T43" fmla="*/ 2147483647 h 515"/>
              <a:gd name="T44" fmla="*/ 2147483647 w 801"/>
              <a:gd name="T45" fmla="*/ 2147483647 h 515"/>
              <a:gd name="T46" fmla="*/ 2147483647 w 801"/>
              <a:gd name="T47" fmla="*/ 2147483647 h 515"/>
              <a:gd name="T48" fmla="*/ 0 w 801"/>
              <a:gd name="T49" fmla="*/ 2147483647 h 515"/>
              <a:gd name="T50" fmla="*/ 2147483647 w 801"/>
              <a:gd name="T51" fmla="*/ 2147483647 h 515"/>
              <a:gd name="T52" fmla="*/ 2147483647 w 801"/>
              <a:gd name="T53" fmla="*/ 2147483647 h 515"/>
              <a:gd name="T54" fmla="*/ 2147483647 w 801"/>
              <a:gd name="T55" fmla="*/ 2147483647 h 515"/>
              <a:gd name="T56" fmla="*/ 2147483647 w 801"/>
              <a:gd name="T57" fmla="*/ 2147483647 h 515"/>
              <a:gd name="T58" fmla="*/ 2147483647 w 801"/>
              <a:gd name="T59" fmla="*/ 2147483647 h 515"/>
              <a:gd name="T60" fmla="*/ 2147483647 w 801"/>
              <a:gd name="T61" fmla="*/ 2147483647 h 515"/>
              <a:gd name="T62" fmla="*/ 2147483647 w 801"/>
              <a:gd name="T63" fmla="*/ 2147483647 h 515"/>
              <a:gd name="T64" fmla="*/ 2147483647 w 801"/>
              <a:gd name="T65" fmla="*/ 2147483647 h 515"/>
              <a:gd name="T66" fmla="*/ 2147483647 w 801"/>
              <a:gd name="T67" fmla="*/ 2147483647 h 515"/>
              <a:gd name="T68" fmla="*/ 2147483647 w 801"/>
              <a:gd name="T69" fmla="*/ 2147483647 h 515"/>
              <a:gd name="T70" fmla="*/ 2147483647 w 801"/>
              <a:gd name="T71" fmla="*/ 2147483647 h 515"/>
              <a:gd name="T72" fmla="*/ 2147483647 w 801"/>
              <a:gd name="T73" fmla="*/ 2147483647 h 5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1"/>
              <a:gd name="T112" fmla="*/ 0 h 515"/>
              <a:gd name="T113" fmla="*/ 801 w 801"/>
              <a:gd name="T114" fmla="*/ 515 h 5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1" h="515">
                <a:moveTo>
                  <a:pt x="327" y="231"/>
                </a:moveTo>
                <a:lnTo>
                  <a:pt x="342" y="214"/>
                </a:lnTo>
                <a:lnTo>
                  <a:pt x="359" y="165"/>
                </a:lnTo>
                <a:lnTo>
                  <a:pt x="375" y="165"/>
                </a:lnTo>
                <a:lnTo>
                  <a:pt x="392" y="148"/>
                </a:lnTo>
                <a:lnTo>
                  <a:pt x="408" y="148"/>
                </a:lnTo>
                <a:lnTo>
                  <a:pt x="408" y="115"/>
                </a:lnTo>
                <a:lnTo>
                  <a:pt x="408" y="98"/>
                </a:lnTo>
                <a:lnTo>
                  <a:pt x="425" y="98"/>
                </a:lnTo>
                <a:lnTo>
                  <a:pt x="425" y="66"/>
                </a:lnTo>
                <a:lnTo>
                  <a:pt x="441" y="49"/>
                </a:lnTo>
                <a:lnTo>
                  <a:pt x="441" y="32"/>
                </a:lnTo>
                <a:lnTo>
                  <a:pt x="441" y="15"/>
                </a:lnTo>
                <a:lnTo>
                  <a:pt x="457" y="0"/>
                </a:lnTo>
                <a:lnTo>
                  <a:pt x="473" y="15"/>
                </a:lnTo>
                <a:lnTo>
                  <a:pt x="490" y="0"/>
                </a:lnTo>
                <a:lnTo>
                  <a:pt x="506" y="0"/>
                </a:lnTo>
                <a:lnTo>
                  <a:pt x="523" y="0"/>
                </a:lnTo>
                <a:lnTo>
                  <a:pt x="539" y="15"/>
                </a:lnTo>
                <a:lnTo>
                  <a:pt x="555" y="15"/>
                </a:lnTo>
                <a:lnTo>
                  <a:pt x="555" y="32"/>
                </a:lnTo>
                <a:lnTo>
                  <a:pt x="587" y="49"/>
                </a:lnTo>
                <a:lnTo>
                  <a:pt x="587" y="66"/>
                </a:lnTo>
                <a:lnTo>
                  <a:pt x="587" y="82"/>
                </a:lnTo>
                <a:lnTo>
                  <a:pt x="587" y="98"/>
                </a:lnTo>
                <a:lnTo>
                  <a:pt x="587" y="115"/>
                </a:lnTo>
                <a:lnTo>
                  <a:pt x="604" y="115"/>
                </a:lnTo>
                <a:lnTo>
                  <a:pt x="620" y="98"/>
                </a:lnTo>
                <a:lnTo>
                  <a:pt x="637" y="98"/>
                </a:lnTo>
                <a:lnTo>
                  <a:pt x="670" y="98"/>
                </a:lnTo>
                <a:lnTo>
                  <a:pt x="653" y="115"/>
                </a:lnTo>
                <a:lnTo>
                  <a:pt x="702" y="148"/>
                </a:lnTo>
                <a:lnTo>
                  <a:pt x="718" y="148"/>
                </a:lnTo>
                <a:lnTo>
                  <a:pt x="718" y="165"/>
                </a:lnTo>
                <a:lnTo>
                  <a:pt x="718" y="182"/>
                </a:lnTo>
                <a:lnTo>
                  <a:pt x="718" y="199"/>
                </a:lnTo>
                <a:lnTo>
                  <a:pt x="718" y="231"/>
                </a:lnTo>
                <a:lnTo>
                  <a:pt x="735" y="231"/>
                </a:lnTo>
                <a:lnTo>
                  <a:pt x="735" y="248"/>
                </a:lnTo>
                <a:lnTo>
                  <a:pt x="718" y="281"/>
                </a:lnTo>
                <a:lnTo>
                  <a:pt x="735" y="281"/>
                </a:lnTo>
                <a:lnTo>
                  <a:pt x="751" y="281"/>
                </a:lnTo>
                <a:lnTo>
                  <a:pt x="768" y="265"/>
                </a:lnTo>
                <a:lnTo>
                  <a:pt x="784" y="281"/>
                </a:lnTo>
                <a:lnTo>
                  <a:pt x="800" y="298"/>
                </a:lnTo>
                <a:lnTo>
                  <a:pt x="784" y="347"/>
                </a:lnTo>
                <a:lnTo>
                  <a:pt x="685" y="381"/>
                </a:lnTo>
                <a:lnTo>
                  <a:pt x="441" y="430"/>
                </a:lnTo>
                <a:lnTo>
                  <a:pt x="213" y="480"/>
                </a:lnTo>
                <a:lnTo>
                  <a:pt x="0" y="514"/>
                </a:lnTo>
                <a:lnTo>
                  <a:pt x="16" y="497"/>
                </a:lnTo>
                <a:lnTo>
                  <a:pt x="16" y="480"/>
                </a:lnTo>
                <a:lnTo>
                  <a:pt x="32" y="463"/>
                </a:lnTo>
                <a:lnTo>
                  <a:pt x="49" y="463"/>
                </a:lnTo>
                <a:lnTo>
                  <a:pt x="49" y="430"/>
                </a:lnTo>
                <a:lnTo>
                  <a:pt x="65" y="430"/>
                </a:lnTo>
                <a:lnTo>
                  <a:pt x="65" y="398"/>
                </a:lnTo>
                <a:lnTo>
                  <a:pt x="82" y="398"/>
                </a:lnTo>
                <a:lnTo>
                  <a:pt x="98" y="381"/>
                </a:lnTo>
                <a:lnTo>
                  <a:pt x="114" y="364"/>
                </a:lnTo>
                <a:lnTo>
                  <a:pt x="130" y="347"/>
                </a:lnTo>
                <a:lnTo>
                  <a:pt x="130" y="364"/>
                </a:lnTo>
                <a:lnTo>
                  <a:pt x="147" y="381"/>
                </a:lnTo>
                <a:lnTo>
                  <a:pt x="180" y="381"/>
                </a:lnTo>
                <a:lnTo>
                  <a:pt x="180" y="364"/>
                </a:lnTo>
                <a:lnTo>
                  <a:pt x="196" y="364"/>
                </a:lnTo>
                <a:lnTo>
                  <a:pt x="213" y="364"/>
                </a:lnTo>
                <a:lnTo>
                  <a:pt x="228" y="364"/>
                </a:lnTo>
                <a:lnTo>
                  <a:pt x="245" y="331"/>
                </a:lnTo>
                <a:lnTo>
                  <a:pt x="261" y="331"/>
                </a:lnTo>
                <a:lnTo>
                  <a:pt x="277" y="331"/>
                </a:lnTo>
                <a:lnTo>
                  <a:pt x="310" y="314"/>
                </a:lnTo>
                <a:lnTo>
                  <a:pt x="310" y="281"/>
                </a:lnTo>
                <a:lnTo>
                  <a:pt x="310" y="265"/>
                </a:lnTo>
                <a:lnTo>
                  <a:pt x="327" y="231"/>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79" name="Freeform 30"/>
          <p:cNvSpPr>
            <a:spLocks/>
          </p:cNvSpPr>
          <p:nvPr/>
        </p:nvSpPr>
        <p:spPr bwMode="auto">
          <a:xfrm>
            <a:off x="7072314" y="1779985"/>
            <a:ext cx="701675" cy="572690"/>
          </a:xfrm>
          <a:custGeom>
            <a:avLst/>
            <a:gdLst>
              <a:gd name="T0" fmla="*/ 2147483647 w 442"/>
              <a:gd name="T1" fmla="*/ 2147483647 h 481"/>
              <a:gd name="T2" fmla="*/ 2147483647 w 442"/>
              <a:gd name="T3" fmla="*/ 2147483647 h 481"/>
              <a:gd name="T4" fmla="*/ 2147483647 w 442"/>
              <a:gd name="T5" fmla="*/ 2147483647 h 481"/>
              <a:gd name="T6" fmla="*/ 2147483647 w 442"/>
              <a:gd name="T7" fmla="*/ 2147483647 h 481"/>
              <a:gd name="T8" fmla="*/ 2147483647 w 442"/>
              <a:gd name="T9" fmla="*/ 2147483647 h 481"/>
              <a:gd name="T10" fmla="*/ 2147483647 w 442"/>
              <a:gd name="T11" fmla="*/ 2147483647 h 481"/>
              <a:gd name="T12" fmla="*/ 0 w 442"/>
              <a:gd name="T13" fmla="*/ 2147483647 h 481"/>
              <a:gd name="T14" fmla="*/ 2147483647 w 442"/>
              <a:gd name="T15" fmla="*/ 2147483647 h 481"/>
              <a:gd name="T16" fmla="*/ 2147483647 w 442"/>
              <a:gd name="T17" fmla="*/ 2147483647 h 481"/>
              <a:gd name="T18" fmla="*/ 2147483647 w 442"/>
              <a:gd name="T19" fmla="*/ 2147483647 h 481"/>
              <a:gd name="T20" fmla="*/ 2147483647 w 442"/>
              <a:gd name="T21" fmla="*/ 2147483647 h 481"/>
              <a:gd name="T22" fmla="*/ 2147483647 w 442"/>
              <a:gd name="T23" fmla="*/ 2147483647 h 481"/>
              <a:gd name="T24" fmla="*/ 2147483647 w 442"/>
              <a:gd name="T25" fmla="*/ 2147483647 h 481"/>
              <a:gd name="T26" fmla="*/ 2147483647 w 442"/>
              <a:gd name="T27" fmla="*/ 2147483647 h 481"/>
              <a:gd name="T28" fmla="*/ 2147483647 w 442"/>
              <a:gd name="T29" fmla="*/ 2147483647 h 481"/>
              <a:gd name="T30" fmla="*/ 2147483647 w 442"/>
              <a:gd name="T31" fmla="*/ 2147483647 h 481"/>
              <a:gd name="T32" fmla="*/ 2147483647 w 442"/>
              <a:gd name="T33" fmla="*/ 2147483647 h 481"/>
              <a:gd name="T34" fmla="*/ 2147483647 w 442"/>
              <a:gd name="T35" fmla="*/ 2147483647 h 481"/>
              <a:gd name="T36" fmla="*/ 2147483647 w 442"/>
              <a:gd name="T37" fmla="*/ 2147483647 h 481"/>
              <a:gd name="T38" fmla="*/ 2147483647 w 442"/>
              <a:gd name="T39" fmla="*/ 2147483647 h 481"/>
              <a:gd name="T40" fmla="*/ 2147483647 w 442"/>
              <a:gd name="T41" fmla="*/ 2147483647 h 481"/>
              <a:gd name="T42" fmla="*/ 2147483647 w 442"/>
              <a:gd name="T43" fmla="*/ 2147483647 h 481"/>
              <a:gd name="T44" fmla="*/ 2147483647 w 442"/>
              <a:gd name="T45" fmla="*/ 2147483647 h 481"/>
              <a:gd name="T46" fmla="*/ 2147483647 w 442"/>
              <a:gd name="T47" fmla="*/ 2147483647 h 481"/>
              <a:gd name="T48" fmla="*/ 2147483647 w 442"/>
              <a:gd name="T49" fmla="*/ 2147483647 h 481"/>
              <a:gd name="T50" fmla="*/ 2147483647 w 442"/>
              <a:gd name="T51" fmla="*/ 2147483647 h 481"/>
              <a:gd name="T52" fmla="*/ 2147483647 w 442"/>
              <a:gd name="T53" fmla="*/ 2147483647 h 481"/>
              <a:gd name="T54" fmla="*/ 2147483647 w 442"/>
              <a:gd name="T55" fmla="*/ 2147483647 h 481"/>
              <a:gd name="T56" fmla="*/ 2147483647 w 442"/>
              <a:gd name="T57" fmla="*/ 2147483647 h 481"/>
              <a:gd name="T58" fmla="*/ 2147483647 w 442"/>
              <a:gd name="T59" fmla="*/ 2147483647 h 481"/>
              <a:gd name="T60" fmla="*/ 2147483647 w 442"/>
              <a:gd name="T61" fmla="*/ 2147483647 h 481"/>
              <a:gd name="T62" fmla="*/ 2147483647 w 442"/>
              <a:gd name="T63" fmla="*/ 2147483647 h 4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2"/>
              <a:gd name="T97" fmla="*/ 0 h 481"/>
              <a:gd name="T98" fmla="*/ 442 w 442"/>
              <a:gd name="T99" fmla="*/ 481 h 4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2" h="481">
                <a:moveTo>
                  <a:pt x="147" y="0"/>
                </a:moveTo>
                <a:lnTo>
                  <a:pt x="130" y="16"/>
                </a:lnTo>
                <a:lnTo>
                  <a:pt x="130" y="149"/>
                </a:lnTo>
                <a:lnTo>
                  <a:pt x="114" y="166"/>
                </a:lnTo>
                <a:lnTo>
                  <a:pt x="81" y="166"/>
                </a:lnTo>
                <a:lnTo>
                  <a:pt x="81" y="198"/>
                </a:lnTo>
                <a:lnTo>
                  <a:pt x="64" y="198"/>
                </a:lnTo>
                <a:lnTo>
                  <a:pt x="64" y="247"/>
                </a:lnTo>
                <a:lnTo>
                  <a:pt x="32" y="247"/>
                </a:lnTo>
                <a:lnTo>
                  <a:pt x="32" y="281"/>
                </a:lnTo>
                <a:lnTo>
                  <a:pt x="32" y="298"/>
                </a:lnTo>
                <a:lnTo>
                  <a:pt x="32" y="313"/>
                </a:lnTo>
                <a:lnTo>
                  <a:pt x="16" y="330"/>
                </a:lnTo>
                <a:lnTo>
                  <a:pt x="0" y="364"/>
                </a:lnTo>
                <a:lnTo>
                  <a:pt x="0" y="380"/>
                </a:lnTo>
                <a:lnTo>
                  <a:pt x="16" y="413"/>
                </a:lnTo>
                <a:lnTo>
                  <a:pt x="49" y="430"/>
                </a:lnTo>
                <a:lnTo>
                  <a:pt x="81" y="446"/>
                </a:lnTo>
                <a:lnTo>
                  <a:pt x="64" y="463"/>
                </a:lnTo>
                <a:lnTo>
                  <a:pt x="81" y="463"/>
                </a:lnTo>
                <a:lnTo>
                  <a:pt x="97" y="480"/>
                </a:lnTo>
                <a:lnTo>
                  <a:pt x="130" y="480"/>
                </a:lnTo>
                <a:lnTo>
                  <a:pt x="130" y="463"/>
                </a:lnTo>
                <a:lnTo>
                  <a:pt x="147" y="463"/>
                </a:lnTo>
                <a:lnTo>
                  <a:pt x="163" y="463"/>
                </a:lnTo>
                <a:lnTo>
                  <a:pt x="179" y="463"/>
                </a:lnTo>
                <a:lnTo>
                  <a:pt x="195" y="430"/>
                </a:lnTo>
                <a:lnTo>
                  <a:pt x="212" y="430"/>
                </a:lnTo>
                <a:lnTo>
                  <a:pt x="228" y="430"/>
                </a:lnTo>
                <a:lnTo>
                  <a:pt x="261" y="413"/>
                </a:lnTo>
                <a:lnTo>
                  <a:pt x="261" y="380"/>
                </a:lnTo>
                <a:lnTo>
                  <a:pt x="261" y="364"/>
                </a:lnTo>
                <a:lnTo>
                  <a:pt x="278" y="330"/>
                </a:lnTo>
                <a:lnTo>
                  <a:pt x="293" y="313"/>
                </a:lnTo>
                <a:lnTo>
                  <a:pt x="310" y="264"/>
                </a:lnTo>
                <a:lnTo>
                  <a:pt x="326" y="264"/>
                </a:lnTo>
                <a:lnTo>
                  <a:pt x="343" y="247"/>
                </a:lnTo>
                <a:lnTo>
                  <a:pt x="359" y="247"/>
                </a:lnTo>
                <a:lnTo>
                  <a:pt x="359" y="215"/>
                </a:lnTo>
                <a:lnTo>
                  <a:pt x="359" y="198"/>
                </a:lnTo>
                <a:lnTo>
                  <a:pt x="376" y="198"/>
                </a:lnTo>
                <a:lnTo>
                  <a:pt x="376" y="166"/>
                </a:lnTo>
                <a:lnTo>
                  <a:pt x="392" y="149"/>
                </a:lnTo>
                <a:lnTo>
                  <a:pt x="392" y="132"/>
                </a:lnTo>
                <a:lnTo>
                  <a:pt x="392" y="115"/>
                </a:lnTo>
                <a:lnTo>
                  <a:pt x="408" y="99"/>
                </a:lnTo>
                <a:lnTo>
                  <a:pt x="424" y="115"/>
                </a:lnTo>
                <a:lnTo>
                  <a:pt x="441" y="99"/>
                </a:lnTo>
                <a:lnTo>
                  <a:pt x="408" y="83"/>
                </a:lnTo>
                <a:lnTo>
                  <a:pt x="392" y="83"/>
                </a:lnTo>
                <a:lnTo>
                  <a:pt x="376" y="83"/>
                </a:lnTo>
                <a:lnTo>
                  <a:pt x="376" y="99"/>
                </a:lnTo>
                <a:lnTo>
                  <a:pt x="359" y="99"/>
                </a:lnTo>
                <a:lnTo>
                  <a:pt x="343" y="99"/>
                </a:lnTo>
                <a:lnTo>
                  <a:pt x="326" y="115"/>
                </a:lnTo>
                <a:lnTo>
                  <a:pt x="326" y="132"/>
                </a:lnTo>
                <a:lnTo>
                  <a:pt x="310" y="132"/>
                </a:lnTo>
                <a:lnTo>
                  <a:pt x="293" y="132"/>
                </a:lnTo>
                <a:lnTo>
                  <a:pt x="310" y="132"/>
                </a:lnTo>
                <a:lnTo>
                  <a:pt x="293" y="132"/>
                </a:lnTo>
                <a:lnTo>
                  <a:pt x="293" y="149"/>
                </a:lnTo>
                <a:lnTo>
                  <a:pt x="278" y="83"/>
                </a:lnTo>
                <a:lnTo>
                  <a:pt x="278" y="66"/>
                </a:lnTo>
                <a:lnTo>
                  <a:pt x="163" y="83"/>
                </a:lnTo>
                <a:lnTo>
                  <a:pt x="147" y="0"/>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80" name="Freeform 31"/>
          <p:cNvSpPr>
            <a:spLocks/>
          </p:cNvSpPr>
          <p:nvPr/>
        </p:nvSpPr>
        <p:spPr bwMode="auto">
          <a:xfrm>
            <a:off x="4868863" y="1996679"/>
            <a:ext cx="1143000" cy="731044"/>
          </a:xfrm>
          <a:custGeom>
            <a:avLst/>
            <a:gdLst>
              <a:gd name="T0" fmla="*/ 2147483647 w 720"/>
              <a:gd name="T1" fmla="*/ 2147483647 h 614"/>
              <a:gd name="T2" fmla="*/ 2147483647 w 720"/>
              <a:gd name="T3" fmla="*/ 2147483647 h 614"/>
              <a:gd name="T4" fmla="*/ 2147483647 w 720"/>
              <a:gd name="T5" fmla="*/ 2147483647 h 614"/>
              <a:gd name="T6" fmla="*/ 2147483647 w 720"/>
              <a:gd name="T7" fmla="*/ 2147483647 h 614"/>
              <a:gd name="T8" fmla="*/ 2147483647 w 720"/>
              <a:gd name="T9" fmla="*/ 2147483647 h 614"/>
              <a:gd name="T10" fmla="*/ 2147483647 w 720"/>
              <a:gd name="T11" fmla="*/ 2147483647 h 614"/>
              <a:gd name="T12" fmla="*/ 2147483647 w 720"/>
              <a:gd name="T13" fmla="*/ 2147483647 h 614"/>
              <a:gd name="T14" fmla="*/ 2147483647 w 720"/>
              <a:gd name="T15" fmla="*/ 2147483647 h 614"/>
              <a:gd name="T16" fmla="*/ 2147483647 w 720"/>
              <a:gd name="T17" fmla="*/ 2147483647 h 614"/>
              <a:gd name="T18" fmla="*/ 2147483647 w 720"/>
              <a:gd name="T19" fmla="*/ 2147483647 h 614"/>
              <a:gd name="T20" fmla="*/ 2147483647 w 720"/>
              <a:gd name="T21" fmla="*/ 2147483647 h 614"/>
              <a:gd name="T22" fmla="*/ 2147483647 w 720"/>
              <a:gd name="T23" fmla="*/ 2147483647 h 614"/>
              <a:gd name="T24" fmla="*/ 2147483647 w 720"/>
              <a:gd name="T25" fmla="*/ 2147483647 h 614"/>
              <a:gd name="T26" fmla="*/ 2147483647 w 720"/>
              <a:gd name="T27" fmla="*/ 2147483647 h 614"/>
              <a:gd name="T28" fmla="*/ 2147483647 w 720"/>
              <a:gd name="T29" fmla="*/ 2147483647 h 614"/>
              <a:gd name="T30" fmla="*/ 2147483647 w 720"/>
              <a:gd name="T31" fmla="*/ 2147483647 h 614"/>
              <a:gd name="T32" fmla="*/ 2147483647 w 720"/>
              <a:gd name="T33" fmla="*/ 2147483647 h 614"/>
              <a:gd name="T34" fmla="*/ 2147483647 w 720"/>
              <a:gd name="T35" fmla="*/ 2147483647 h 614"/>
              <a:gd name="T36" fmla="*/ 2147483647 w 720"/>
              <a:gd name="T37" fmla="*/ 2147483647 h 614"/>
              <a:gd name="T38" fmla="*/ 2147483647 w 720"/>
              <a:gd name="T39" fmla="*/ 2147483647 h 614"/>
              <a:gd name="T40" fmla="*/ 2147483647 w 720"/>
              <a:gd name="T41" fmla="*/ 2147483647 h 614"/>
              <a:gd name="T42" fmla="*/ 2147483647 w 720"/>
              <a:gd name="T43" fmla="*/ 2147483647 h 614"/>
              <a:gd name="T44" fmla="*/ 2147483647 w 720"/>
              <a:gd name="T45" fmla="*/ 0 h 614"/>
              <a:gd name="T46" fmla="*/ 2147483647 w 720"/>
              <a:gd name="T47" fmla="*/ 0 h 614"/>
              <a:gd name="T48" fmla="*/ 2147483647 w 720"/>
              <a:gd name="T49" fmla="*/ 2147483647 h 614"/>
              <a:gd name="T50" fmla="*/ 2147483647 w 720"/>
              <a:gd name="T51" fmla="*/ 2147483647 h 614"/>
              <a:gd name="T52" fmla="*/ 0 w 720"/>
              <a:gd name="T53" fmla="*/ 2147483647 h 614"/>
              <a:gd name="T54" fmla="*/ 2147483647 w 720"/>
              <a:gd name="T55" fmla="*/ 2147483647 h 614"/>
              <a:gd name="T56" fmla="*/ 2147483647 w 720"/>
              <a:gd name="T57" fmla="*/ 2147483647 h 614"/>
              <a:gd name="T58" fmla="*/ 2147483647 w 720"/>
              <a:gd name="T59" fmla="*/ 2147483647 h 614"/>
              <a:gd name="T60" fmla="*/ 2147483647 w 720"/>
              <a:gd name="T61" fmla="*/ 2147483647 h 614"/>
              <a:gd name="T62" fmla="*/ 2147483647 w 720"/>
              <a:gd name="T63" fmla="*/ 2147483647 h 614"/>
              <a:gd name="T64" fmla="*/ 2147483647 w 720"/>
              <a:gd name="T65" fmla="*/ 2147483647 h 6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0"/>
              <a:gd name="T100" fmla="*/ 0 h 614"/>
              <a:gd name="T101" fmla="*/ 720 w 720"/>
              <a:gd name="T102" fmla="*/ 614 h 6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0" h="614">
                <a:moveTo>
                  <a:pt x="179" y="596"/>
                </a:moveTo>
                <a:lnTo>
                  <a:pt x="506" y="579"/>
                </a:lnTo>
                <a:lnTo>
                  <a:pt x="604" y="563"/>
                </a:lnTo>
                <a:lnTo>
                  <a:pt x="621" y="579"/>
                </a:lnTo>
                <a:lnTo>
                  <a:pt x="604" y="596"/>
                </a:lnTo>
                <a:lnTo>
                  <a:pt x="604" y="613"/>
                </a:lnTo>
                <a:lnTo>
                  <a:pt x="621" y="613"/>
                </a:lnTo>
                <a:lnTo>
                  <a:pt x="653" y="613"/>
                </a:lnTo>
                <a:lnTo>
                  <a:pt x="669" y="613"/>
                </a:lnTo>
                <a:lnTo>
                  <a:pt x="669" y="579"/>
                </a:lnTo>
                <a:lnTo>
                  <a:pt x="669" y="563"/>
                </a:lnTo>
                <a:lnTo>
                  <a:pt x="686" y="546"/>
                </a:lnTo>
                <a:lnTo>
                  <a:pt x="702" y="529"/>
                </a:lnTo>
                <a:lnTo>
                  <a:pt x="719" y="497"/>
                </a:lnTo>
                <a:lnTo>
                  <a:pt x="719" y="480"/>
                </a:lnTo>
                <a:lnTo>
                  <a:pt x="719" y="446"/>
                </a:lnTo>
                <a:lnTo>
                  <a:pt x="669" y="431"/>
                </a:lnTo>
                <a:lnTo>
                  <a:pt x="669" y="414"/>
                </a:lnTo>
                <a:lnTo>
                  <a:pt x="669" y="380"/>
                </a:lnTo>
                <a:lnTo>
                  <a:pt x="669" y="364"/>
                </a:lnTo>
                <a:lnTo>
                  <a:pt x="653" y="348"/>
                </a:lnTo>
                <a:lnTo>
                  <a:pt x="636" y="348"/>
                </a:lnTo>
                <a:lnTo>
                  <a:pt x="621" y="331"/>
                </a:lnTo>
                <a:lnTo>
                  <a:pt x="604" y="315"/>
                </a:lnTo>
                <a:lnTo>
                  <a:pt x="588" y="298"/>
                </a:lnTo>
                <a:lnTo>
                  <a:pt x="571" y="298"/>
                </a:lnTo>
                <a:lnTo>
                  <a:pt x="571" y="281"/>
                </a:lnTo>
                <a:lnTo>
                  <a:pt x="588" y="249"/>
                </a:lnTo>
                <a:lnTo>
                  <a:pt x="588" y="232"/>
                </a:lnTo>
                <a:lnTo>
                  <a:pt x="588" y="215"/>
                </a:lnTo>
                <a:lnTo>
                  <a:pt x="571" y="198"/>
                </a:lnTo>
                <a:lnTo>
                  <a:pt x="571" y="215"/>
                </a:lnTo>
                <a:lnTo>
                  <a:pt x="555" y="215"/>
                </a:lnTo>
                <a:lnTo>
                  <a:pt x="538" y="215"/>
                </a:lnTo>
                <a:lnTo>
                  <a:pt x="538" y="198"/>
                </a:lnTo>
                <a:lnTo>
                  <a:pt x="538" y="183"/>
                </a:lnTo>
                <a:lnTo>
                  <a:pt x="522" y="166"/>
                </a:lnTo>
                <a:lnTo>
                  <a:pt x="506" y="149"/>
                </a:lnTo>
                <a:lnTo>
                  <a:pt x="490" y="132"/>
                </a:lnTo>
                <a:lnTo>
                  <a:pt x="457" y="99"/>
                </a:lnTo>
                <a:lnTo>
                  <a:pt x="440" y="99"/>
                </a:lnTo>
                <a:lnTo>
                  <a:pt x="440" y="83"/>
                </a:lnTo>
                <a:lnTo>
                  <a:pt x="424" y="66"/>
                </a:lnTo>
                <a:lnTo>
                  <a:pt x="424" y="33"/>
                </a:lnTo>
                <a:lnTo>
                  <a:pt x="424" y="16"/>
                </a:lnTo>
                <a:lnTo>
                  <a:pt x="407" y="0"/>
                </a:lnTo>
                <a:lnTo>
                  <a:pt x="375" y="0"/>
                </a:lnTo>
                <a:lnTo>
                  <a:pt x="326" y="0"/>
                </a:lnTo>
                <a:lnTo>
                  <a:pt x="277" y="16"/>
                </a:lnTo>
                <a:lnTo>
                  <a:pt x="228" y="16"/>
                </a:lnTo>
                <a:lnTo>
                  <a:pt x="162" y="16"/>
                </a:lnTo>
                <a:lnTo>
                  <a:pt x="81" y="16"/>
                </a:lnTo>
                <a:lnTo>
                  <a:pt x="0" y="16"/>
                </a:lnTo>
                <a:lnTo>
                  <a:pt x="0" y="50"/>
                </a:lnTo>
                <a:lnTo>
                  <a:pt x="16" y="66"/>
                </a:lnTo>
                <a:lnTo>
                  <a:pt x="32" y="83"/>
                </a:lnTo>
                <a:lnTo>
                  <a:pt x="32" y="99"/>
                </a:lnTo>
                <a:lnTo>
                  <a:pt x="48" y="116"/>
                </a:lnTo>
                <a:lnTo>
                  <a:pt x="81" y="116"/>
                </a:lnTo>
                <a:lnTo>
                  <a:pt x="81" y="132"/>
                </a:lnTo>
                <a:lnTo>
                  <a:pt x="81" y="166"/>
                </a:lnTo>
                <a:lnTo>
                  <a:pt x="97" y="198"/>
                </a:lnTo>
                <a:lnTo>
                  <a:pt x="114" y="198"/>
                </a:lnTo>
                <a:lnTo>
                  <a:pt x="130" y="215"/>
                </a:lnTo>
                <a:lnTo>
                  <a:pt x="130" y="232"/>
                </a:lnTo>
                <a:lnTo>
                  <a:pt x="147" y="529"/>
                </a:lnTo>
                <a:lnTo>
                  <a:pt x="179" y="596"/>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1" name="Freeform 32"/>
          <p:cNvSpPr>
            <a:spLocks/>
          </p:cNvSpPr>
          <p:nvPr/>
        </p:nvSpPr>
        <p:spPr bwMode="auto">
          <a:xfrm>
            <a:off x="6113463" y="1683544"/>
            <a:ext cx="571500" cy="690563"/>
          </a:xfrm>
          <a:custGeom>
            <a:avLst/>
            <a:gdLst>
              <a:gd name="T0" fmla="*/ 2147483647 w 360"/>
              <a:gd name="T1" fmla="*/ 2147483647 h 580"/>
              <a:gd name="T2" fmla="*/ 2147483647 w 360"/>
              <a:gd name="T3" fmla="*/ 2147483647 h 580"/>
              <a:gd name="T4" fmla="*/ 2147483647 w 360"/>
              <a:gd name="T5" fmla="*/ 2147483647 h 580"/>
              <a:gd name="T6" fmla="*/ 2147483647 w 360"/>
              <a:gd name="T7" fmla="*/ 2147483647 h 580"/>
              <a:gd name="T8" fmla="*/ 2147483647 w 360"/>
              <a:gd name="T9" fmla="*/ 2147483647 h 580"/>
              <a:gd name="T10" fmla="*/ 2147483647 w 360"/>
              <a:gd name="T11" fmla="*/ 2147483647 h 580"/>
              <a:gd name="T12" fmla="*/ 2147483647 w 360"/>
              <a:gd name="T13" fmla="*/ 2147483647 h 580"/>
              <a:gd name="T14" fmla="*/ 2147483647 w 360"/>
              <a:gd name="T15" fmla="*/ 2147483647 h 580"/>
              <a:gd name="T16" fmla="*/ 2147483647 w 360"/>
              <a:gd name="T17" fmla="*/ 2147483647 h 580"/>
              <a:gd name="T18" fmla="*/ 0 w 360"/>
              <a:gd name="T19" fmla="*/ 2147483647 h 580"/>
              <a:gd name="T20" fmla="*/ 2147483647 w 360"/>
              <a:gd name="T21" fmla="*/ 2147483647 h 580"/>
              <a:gd name="T22" fmla="*/ 2147483647 w 360"/>
              <a:gd name="T23" fmla="*/ 2147483647 h 580"/>
              <a:gd name="T24" fmla="*/ 2147483647 w 360"/>
              <a:gd name="T25" fmla="*/ 2147483647 h 580"/>
              <a:gd name="T26" fmla="*/ 2147483647 w 360"/>
              <a:gd name="T27" fmla="*/ 2147483647 h 580"/>
              <a:gd name="T28" fmla="*/ 2147483647 w 360"/>
              <a:gd name="T29" fmla="*/ 2147483647 h 580"/>
              <a:gd name="T30" fmla="*/ 2147483647 w 360"/>
              <a:gd name="T31" fmla="*/ 0 h 580"/>
              <a:gd name="T32" fmla="*/ 2147483647 w 360"/>
              <a:gd name="T33" fmla="*/ 2147483647 h 580"/>
              <a:gd name="T34" fmla="*/ 2147483647 w 360"/>
              <a:gd name="T35" fmla="*/ 2147483647 h 580"/>
              <a:gd name="T36" fmla="*/ 2147483647 w 360"/>
              <a:gd name="T37" fmla="*/ 2147483647 h 580"/>
              <a:gd name="T38" fmla="*/ 2147483647 w 360"/>
              <a:gd name="T39" fmla="*/ 2147483647 h 580"/>
              <a:gd name="T40" fmla="*/ 2147483647 w 360"/>
              <a:gd name="T41" fmla="*/ 2147483647 h 580"/>
              <a:gd name="T42" fmla="*/ 2147483647 w 360"/>
              <a:gd name="T43" fmla="*/ 2147483647 h 580"/>
              <a:gd name="T44" fmla="*/ 2147483647 w 360"/>
              <a:gd name="T45" fmla="*/ 2147483647 h 580"/>
              <a:gd name="T46" fmla="*/ 2147483647 w 360"/>
              <a:gd name="T47" fmla="*/ 2147483647 h 580"/>
              <a:gd name="T48" fmla="*/ 2147483647 w 360"/>
              <a:gd name="T49" fmla="*/ 2147483647 h 580"/>
              <a:gd name="T50" fmla="*/ 2147483647 w 360"/>
              <a:gd name="T51" fmla="*/ 2147483647 h 580"/>
              <a:gd name="T52" fmla="*/ 2147483647 w 360"/>
              <a:gd name="T53" fmla="*/ 2147483647 h 580"/>
              <a:gd name="T54" fmla="*/ 2147483647 w 360"/>
              <a:gd name="T55" fmla="*/ 2147483647 h 580"/>
              <a:gd name="T56" fmla="*/ 2147483647 w 360"/>
              <a:gd name="T57" fmla="*/ 2147483647 h 580"/>
              <a:gd name="T58" fmla="*/ 2147483647 w 360"/>
              <a:gd name="T59" fmla="*/ 2147483647 h 580"/>
              <a:gd name="T60" fmla="*/ 2147483647 w 360"/>
              <a:gd name="T61" fmla="*/ 2147483647 h 580"/>
              <a:gd name="T62" fmla="*/ 2147483647 w 360"/>
              <a:gd name="T63" fmla="*/ 2147483647 h 580"/>
              <a:gd name="T64" fmla="*/ 2147483647 w 360"/>
              <a:gd name="T65" fmla="*/ 2147483647 h 580"/>
              <a:gd name="T66" fmla="*/ 2147483647 w 360"/>
              <a:gd name="T67" fmla="*/ 2147483647 h 580"/>
              <a:gd name="T68" fmla="*/ 2147483647 w 360"/>
              <a:gd name="T69" fmla="*/ 2147483647 h 5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0"/>
              <a:gd name="T106" fmla="*/ 0 h 580"/>
              <a:gd name="T107" fmla="*/ 360 w 360"/>
              <a:gd name="T108" fmla="*/ 580 h 5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0" h="580">
                <a:moveTo>
                  <a:pt x="49" y="562"/>
                </a:moveTo>
                <a:lnTo>
                  <a:pt x="49" y="562"/>
                </a:lnTo>
                <a:lnTo>
                  <a:pt x="49" y="545"/>
                </a:lnTo>
                <a:lnTo>
                  <a:pt x="49" y="528"/>
                </a:lnTo>
                <a:lnTo>
                  <a:pt x="49" y="512"/>
                </a:lnTo>
                <a:lnTo>
                  <a:pt x="65" y="495"/>
                </a:lnTo>
                <a:lnTo>
                  <a:pt x="81" y="479"/>
                </a:lnTo>
                <a:lnTo>
                  <a:pt x="81" y="462"/>
                </a:lnTo>
                <a:lnTo>
                  <a:pt x="49" y="446"/>
                </a:lnTo>
                <a:lnTo>
                  <a:pt x="0" y="49"/>
                </a:lnTo>
                <a:lnTo>
                  <a:pt x="32" y="32"/>
                </a:lnTo>
                <a:lnTo>
                  <a:pt x="49" y="49"/>
                </a:lnTo>
                <a:lnTo>
                  <a:pt x="65" y="49"/>
                </a:lnTo>
                <a:lnTo>
                  <a:pt x="97" y="49"/>
                </a:lnTo>
                <a:lnTo>
                  <a:pt x="130" y="32"/>
                </a:lnTo>
                <a:lnTo>
                  <a:pt x="277" y="0"/>
                </a:lnTo>
                <a:lnTo>
                  <a:pt x="294" y="15"/>
                </a:lnTo>
                <a:lnTo>
                  <a:pt x="342" y="363"/>
                </a:lnTo>
                <a:lnTo>
                  <a:pt x="342" y="380"/>
                </a:lnTo>
                <a:lnTo>
                  <a:pt x="359" y="412"/>
                </a:lnTo>
                <a:lnTo>
                  <a:pt x="342" y="412"/>
                </a:lnTo>
                <a:lnTo>
                  <a:pt x="326" y="412"/>
                </a:lnTo>
                <a:lnTo>
                  <a:pt x="309" y="429"/>
                </a:lnTo>
                <a:lnTo>
                  <a:pt x="294" y="429"/>
                </a:lnTo>
                <a:lnTo>
                  <a:pt x="294" y="479"/>
                </a:lnTo>
                <a:lnTo>
                  <a:pt x="294" y="495"/>
                </a:lnTo>
                <a:lnTo>
                  <a:pt x="277" y="495"/>
                </a:lnTo>
                <a:lnTo>
                  <a:pt x="261" y="545"/>
                </a:lnTo>
                <a:lnTo>
                  <a:pt x="228" y="528"/>
                </a:lnTo>
                <a:lnTo>
                  <a:pt x="211" y="528"/>
                </a:lnTo>
                <a:lnTo>
                  <a:pt x="195" y="562"/>
                </a:lnTo>
                <a:lnTo>
                  <a:pt x="163" y="562"/>
                </a:lnTo>
                <a:lnTo>
                  <a:pt x="163" y="579"/>
                </a:lnTo>
                <a:lnTo>
                  <a:pt x="49" y="579"/>
                </a:lnTo>
                <a:lnTo>
                  <a:pt x="49" y="562"/>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2" name="Freeform 33"/>
          <p:cNvSpPr>
            <a:spLocks/>
          </p:cNvSpPr>
          <p:nvPr/>
        </p:nvSpPr>
        <p:spPr bwMode="auto">
          <a:xfrm>
            <a:off x="5957888" y="2114550"/>
            <a:ext cx="1244600" cy="533400"/>
          </a:xfrm>
          <a:custGeom>
            <a:avLst/>
            <a:gdLst>
              <a:gd name="T0" fmla="*/ 2147483647 w 784"/>
              <a:gd name="T1" fmla="*/ 2147483647 h 448"/>
              <a:gd name="T2" fmla="*/ 2147483647 w 784"/>
              <a:gd name="T3" fmla="*/ 2147483647 h 448"/>
              <a:gd name="T4" fmla="*/ 2147483647 w 784"/>
              <a:gd name="T5" fmla="*/ 2147483647 h 448"/>
              <a:gd name="T6" fmla="*/ 2147483647 w 784"/>
              <a:gd name="T7" fmla="*/ 2147483647 h 448"/>
              <a:gd name="T8" fmla="*/ 2147483647 w 784"/>
              <a:gd name="T9" fmla="*/ 2147483647 h 448"/>
              <a:gd name="T10" fmla="*/ 2147483647 w 784"/>
              <a:gd name="T11" fmla="*/ 2147483647 h 448"/>
              <a:gd name="T12" fmla="*/ 2147483647 w 784"/>
              <a:gd name="T13" fmla="*/ 2147483647 h 448"/>
              <a:gd name="T14" fmla="*/ 2147483647 w 784"/>
              <a:gd name="T15" fmla="*/ 2147483647 h 448"/>
              <a:gd name="T16" fmla="*/ 0 w 784"/>
              <a:gd name="T17" fmla="*/ 2147483647 h 448"/>
              <a:gd name="T18" fmla="*/ 2147483647 w 784"/>
              <a:gd name="T19" fmla="*/ 2147483647 h 448"/>
              <a:gd name="T20" fmla="*/ 2147483647 w 784"/>
              <a:gd name="T21" fmla="*/ 2147483647 h 448"/>
              <a:gd name="T22" fmla="*/ 2147483647 w 784"/>
              <a:gd name="T23" fmla="*/ 2147483647 h 448"/>
              <a:gd name="T24" fmla="*/ 2147483647 w 784"/>
              <a:gd name="T25" fmla="*/ 2147483647 h 448"/>
              <a:gd name="T26" fmla="*/ 2147483647 w 784"/>
              <a:gd name="T27" fmla="*/ 2147483647 h 448"/>
              <a:gd name="T28" fmla="*/ 2147483647 w 784"/>
              <a:gd name="T29" fmla="*/ 2147483647 h 448"/>
              <a:gd name="T30" fmla="*/ 2147483647 w 784"/>
              <a:gd name="T31" fmla="*/ 2147483647 h 448"/>
              <a:gd name="T32" fmla="*/ 2147483647 w 784"/>
              <a:gd name="T33" fmla="*/ 2147483647 h 448"/>
              <a:gd name="T34" fmla="*/ 2147483647 w 784"/>
              <a:gd name="T35" fmla="*/ 2147483647 h 448"/>
              <a:gd name="T36" fmla="*/ 2147483647 w 784"/>
              <a:gd name="T37" fmla="*/ 2147483647 h 448"/>
              <a:gd name="T38" fmla="*/ 2147483647 w 784"/>
              <a:gd name="T39" fmla="*/ 2147483647 h 448"/>
              <a:gd name="T40" fmla="*/ 2147483647 w 784"/>
              <a:gd name="T41" fmla="*/ 2147483647 h 448"/>
              <a:gd name="T42" fmla="*/ 2147483647 w 784"/>
              <a:gd name="T43" fmla="*/ 2147483647 h 448"/>
              <a:gd name="T44" fmla="*/ 2147483647 w 784"/>
              <a:gd name="T45" fmla="*/ 2147483647 h 448"/>
              <a:gd name="T46" fmla="*/ 2147483647 w 784"/>
              <a:gd name="T47" fmla="*/ 0 h 448"/>
              <a:gd name="T48" fmla="*/ 2147483647 w 784"/>
              <a:gd name="T49" fmla="*/ 2147483647 h 448"/>
              <a:gd name="T50" fmla="*/ 2147483647 w 784"/>
              <a:gd name="T51" fmla="*/ 2147483647 h 448"/>
              <a:gd name="T52" fmla="*/ 2147483647 w 784"/>
              <a:gd name="T53" fmla="*/ 2147483647 h 448"/>
              <a:gd name="T54" fmla="*/ 2147483647 w 784"/>
              <a:gd name="T55" fmla="*/ 2147483647 h 448"/>
              <a:gd name="T56" fmla="*/ 2147483647 w 784"/>
              <a:gd name="T57" fmla="*/ 2147483647 h 448"/>
              <a:gd name="T58" fmla="*/ 2147483647 w 784"/>
              <a:gd name="T59" fmla="*/ 2147483647 h 448"/>
              <a:gd name="T60" fmla="*/ 2147483647 w 784"/>
              <a:gd name="T61" fmla="*/ 2147483647 h 448"/>
              <a:gd name="T62" fmla="*/ 2147483647 w 784"/>
              <a:gd name="T63" fmla="*/ 2147483647 h 4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84"/>
              <a:gd name="T97" fmla="*/ 0 h 448"/>
              <a:gd name="T98" fmla="*/ 784 w 784"/>
              <a:gd name="T99" fmla="*/ 448 h 4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84" h="448">
                <a:moveTo>
                  <a:pt x="147" y="215"/>
                </a:moveTo>
                <a:lnTo>
                  <a:pt x="130" y="231"/>
                </a:lnTo>
                <a:lnTo>
                  <a:pt x="130" y="248"/>
                </a:lnTo>
                <a:lnTo>
                  <a:pt x="147" y="280"/>
                </a:lnTo>
                <a:lnTo>
                  <a:pt x="130" y="297"/>
                </a:lnTo>
                <a:lnTo>
                  <a:pt x="97" y="280"/>
                </a:lnTo>
                <a:lnTo>
                  <a:pt x="97" y="297"/>
                </a:lnTo>
                <a:lnTo>
                  <a:pt x="97" y="331"/>
                </a:lnTo>
                <a:lnTo>
                  <a:pt x="81" y="346"/>
                </a:lnTo>
                <a:lnTo>
                  <a:pt x="49" y="346"/>
                </a:lnTo>
                <a:lnTo>
                  <a:pt x="32" y="331"/>
                </a:lnTo>
                <a:lnTo>
                  <a:pt x="32" y="346"/>
                </a:lnTo>
                <a:lnTo>
                  <a:pt x="32" y="331"/>
                </a:lnTo>
                <a:lnTo>
                  <a:pt x="32" y="346"/>
                </a:lnTo>
                <a:lnTo>
                  <a:pt x="32" y="380"/>
                </a:lnTo>
                <a:lnTo>
                  <a:pt x="32" y="397"/>
                </a:lnTo>
                <a:lnTo>
                  <a:pt x="16" y="430"/>
                </a:lnTo>
                <a:lnTo>
                  <a:pt x="0" y="447"/>
                </a:lnTo>
                <a:lnTo>
                  <a:pt x="147" y="430"/>
                </a:lnTo>
                <a:lnTo>
                  <a:pt x="195" y="397"/>
                </a:lnTo>
                <a:lnTo>
                  <a:pt x="293" y="397"/>
                </a:lnTo>
                <a:lnTo>
                  <a:pt x="423" y="380"/>
                </a:lnTo>
                <a:lnTo>
                  <a:pt x="554" y="363"/>
                </a:lnTo>
                <a:lnTo>
                  <a:pt x="652" y="346"/>
                </a:lnTo>
                <a:lnTo>
                  <a:pt x="652" y="331"/>
                </a:lnTo>
                <a:lnTo>
                  <a:pt x="668" y="314"/>
                </a:lnTo>
                <a:lnTo>
                  <a:pt x="668" y="297"/>
                </a:lnTo>
                <a:lnTo>
                  <a:pt x="685" y="280"/>
                </a:lnTo>
                <a:lnTo>
                  <a:pt x="701" y="280"/>
                </a:lnTo>
                <a:lnTo>
                  <a:pt x="701" y="248"/>
                </a:lnTo>
                <a:lnTo>
                  <a:pt x="718" y="248"/>
                </a:lnTo>
                <a:lnTo>
                  <a:pt x="734" y="215"/>
                </a:lnTo>
                <a:lnTo>
                  <a:pt x="751" y="198"/>
                </a:lnTo>
                <a:lnTo>
                  <a:pt x="766" y="181"/>
                </a:lnTo>
                <a:lnTo>
                  <a:pt x="783" y="165"/>
                </a:lnTo>
                <a:lnTo>
                  <a:pt x="751" y="149"/>
                </a:lnTo>
                <a:lnTo>
                  <a:pt x="718" y="132"/>
                </a:lnTo>
                <a:lnTo>
                  <a:pt x="701" y="98"/>
                </a:lnTo>
                <a:lnTo>
                  <a:pt x="701" y="83"/>
                </a:lnTo>
                <a:lnTo>
                  <a:pt x="718" y="49"/>
                </a:lnTo>
                <a:lnTo>
                  <a:pt x="668" y="32"/>
                </a:lnTo>
                <a:lnTo>
                  <a:pt x="668" y="16"/>
                </a:lnTo>
                <a:lnTo>
                  <a:pt x="636" y="32"/>
                </a:lnTo>
                <a:lnTo>
                  <a:pt x="620" y="32"/>
                </a:lnTo>
                <a:lnTo>
                  <a:pt x="571" y="32"/>
                </a:lnTo>
                <a:lnTo>
                  <a:pt x="554" y="32"/>
                </a:lnTo>
                <a:lnTo>
                  <a:pt x="506" y="0"/>
                </a:lnTo>
                <a:lnTo>
                  <a:pt x="440" y="0"/>
                </a:lnTo>
                <a:lnTo>
                  <a:pt x="440" y="16"/>
                </a:lnTo>
                <a:lnTo>
                  <a:pt x="456" y="49"/>
                </a:lnTo>
                <a:lnTo>
                  <a:pt x="440" y="49"/>
                </a:lnTo>
                <a:lnTo>
                  <a:pt x="423" y="49"/>
                </a:lnTo>
                <a:lnTo>
                  <a:pt x="407" y="66"/>
                </a:lnTo>
                <a:lnTo>
                  <a:pt x="392" y="66"/>
                </a:lnTo>
                <a:lnTo>
                  <a:pt x="392" y="115"/>
                </a:lnTo>
                <a:lnTo>
                  <a:pt x="392" y="132"/>
                </a:lnTo>
                <a:lnTo>
                  <a:pt x="375" y="132"/>
                </a:lnTo>
                <a:lnTo>
                  <a:pt x="359" y="181"/>
                </a:lnTo>
                <a:lnTo>
                  <a:pt x="326" y="165"/>
                </a:lnTo>
                <a:lnTo>
                  <a:pt x="309" y="165"/>
                </a:lnTo>
                <a:lnTo>
                  <a:pt x="293" y="198"/>
                </a:lnTo>
                <a:lnTo>
                  <a:pt x="261" y="198"/>
                </a:lnTo>
                <a:lnTo>
                  <a:pt x="261" y="215"/>
                </a:lnTo>
                <a:lnTo>
                  <a:pt x="147" y="215"/>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83" name="Freeform 34"/>
          <p:cNvSpPr>
            <a:spLocks/>
          </p:cNvSpPr>
          <p:nvPr/>
        </p:nvSpPr>
        <p:spPr bwMode="auto">
          <a:xfrm>
            <a:off x="5541964" y="1622823"/>
            <a:ext cx="701675" cy="906065"/>
          </a:xfrm>
          <a:custGeom>
            <a:avLst/>
            <a:gdLst>
              <a:gd name="T0" fmla="*/ 2147483647 w 442"/>
              <a:gd name="T1" fmla="*/ 2147483647 h 761"/>
              <a:gd name="T2" fmla="*/ 2147483647 w 442"/>
              <a:gd name="T3" fmla="*/ 2147483647 h 761"/>
              <a:gd name="T4" fmla="*/ 2147483647 w 442"/>
              <a:gd name="T5" fmla="*/ 2147483647 h 761"/>
              <a:gd name="T6" fmla="*/ 2147483647 w 442"/>
              <a:gd name="T7" fmla="*/ 2147483647 h 761"/>
              <a:gd name="T8" fmla="*/ 2147483647 w 442"/>
              <a:gd name="T9" fmla="*/ 2147483647 h 761"/>
              <a:gd name="T10" fmla="*/ 2147483647 w 442"/>
              <a:gd name="T11" fmla="*/ 2147483647 h 761"/>
              <a:gd name="T12" fmla="*/ 2147483647 w 442"/>
              <a:gd name="T13" fmla="*/ 2147483647 h 761"/>
              <a:gd name="T14" fmla="*/ 0 w 442"/>
              <a:gd name="T15" fmla="*/ 2147483647 h 761"/>
              <a:gd name="T16" fmla="*/ 0 w 442"/>
              <a:gd name="T17" fmla="*/ 2147483647 h 761"/>
              <a:gd name="T18" fmla="*/ 2147483647 w 442"/>
              <a:gd name="T19" fmla="*/ 2147483647 h 761"/>
              <a:gd name="T20" fmla="*/ 2147483647 w 442"/>
              <a:gd name="T21" fmla="*/ 2147483647 h 761"/>
              <a:gd name="T22" fmla="*/ 2147483647 w 442"/>
              <a:gd name="T23" fmla="*/ 2147483647 h 761"/>
              <a:gd name="T24" fmla="*/ 2147483647 w 442"/>
              <a:gd name="T25" fmla="*/ 2147483647 h 761"/>
              <a:gd name="T26" fmla="*/ 2147483647 w 442"/>
              <a:gd name="T27" fmla="*/ 2147483647 h 761"/>
              <a:gd name="T28" fmla="*/ 2147483647 w 442"/>
              <a:gd name="T29" fmla="*/ 2147483647 h 761"/>
              <a:gd name="T30" fmla="*/ 2147483647 w 442"/>
              <a:gd name="T31" fmla="*/ 2147483647 h 761"/>
              <a:gd name="T32" fmla="*/ 2147483647 w 442"/>
              <a:gd name="T33" fmla="*/ 2147483647 h 761"/>
              <a:gd name="T34" fmla="*/ 2147483647 w 442"/>
              <a:gd name="T35" fmla="*/ 2147483647 h 761"/>
              <a:gd name="T36" fmla="*/ 2147483647 w 442"/>
              <a:gd name="T37" fmla="*/ 2147483647 h 761"/>
              <a:gd name="T38" fmla="*/ 2147483647 w 442"/>
              <a:gd name="T39" fmla="*/ 2147483647 h 761"/>
              <a:gd name="T40" fmla="*/ 2147483647 w 442"/>
              <a:gd name="T41" fmla="*/ 2147483647 h 761"/>
              <a:gd name="T42" fmla="*/ 2147483647 w 442"/>
              <a:gd name="T43" fmla="*/ 2147483647 h 761"/>
              <a:gd name="T44" fmla="*/ 2147483647 w 442"/>
              <a:gd name="T45" fmla="*/ 2147483647 h 761"/>
              <a:gd name="T46" fmla="*/ 2147483647 w 442"/>
              <a:gd name="T47" fmla="*/ 2147483647 h 761"/>
              <a:gd name="T48" fmla="*/ 2147483647 w 442"/>
              <a:gd name="T49" fmla="*/ 2147483647 h 761"/>
              <a:gd name="T50" fmla="*/ 2147483647 w 442"/>
              <a:gd name="T51" fmla="*/ 2147483647 h 761"/>
              <a:gd name="T52" fmla="*/ 2147483647 w 442"/>
              <a:gd name="T53" fmla="*/ 2147483647 h 761"/>
              <a:gd name="T54" fmla="*/ 2147483647 w 442"/>
              <a:gd name="T55" fmla="*/ 2147483647 h 761"/>
              <a:gd name="T56" fmla="*/ 2147483647 w 442"/>
              <a:gd name="T57" fmla="*/ 2147483647 h 761"/>
              <a:gd name="T58" fmla="*/ 2147483647 w 442"/>
              <a:gd name="T59" fmla="*/ 2147483647 h 761"/>
              <a:gd name="T60" fmla="*/ 2147483647 w 442"/>
              <a:gd name="T61" fmla="*/ 2147483647 h 761"/>
              <a:gd name="T62" fmla="*/ 2147483647 w 442"/>
              <a:gd name="T63" fmla="*/ 2147483647 h 761"/>
              <a:gd name="T64" fmla="*/ 2147483647 w 442"/>
              <a:gd name="T65" fmla="*/ 2147483647 h 761"/>
              <a:gd name="T66" fmla="*/ 2147483647 w 442"/>
              <a:gd name="T67" fmla="*/ 2147483647 h 761"/>
              <a:gd name="T68" fmla="*/ 2147483647 w 442"/>
              <a:gd name="T69" fmla="*/ 2147483647 h 761"/>
              <a:gd name="T70" fmla="*/ 2147483647 w 442"/>
              <a:gd name="T71" fmla="*/ 0 h 76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2"/>
              <a:gd name="T109" fmla="*/ 0 h 761"/>
              <a:gd name="T110" fmla="*/ 442 w 442"/>
              <a:gd name="T111" fmla="*/ 761 h 76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2" h="761">
                <a:moveTo>
                  <a:pt x="65" y="50"/>
                </a:moveTo>
                <a:lnTo>
                  <a:pt x="82" y="66"/>
                </a:lnTo>
                <a:lnTo>
                  <a:pt x="114" y="99"/>
                </a:lnTo>
                <a:lnTo>
                  <a:pt x="114" y="132"/>
                </a:lnTo>
                <a:lnTo>
                  <a:pt x="82" y="149"/>
                </a:lnTo>
                <a:lnTo>
                  <a:pt x="82" y="182"/>
                </a:lnTo>
                <a:lnTo>
                  <a:pt x="65" y="182"/>
                </a:lnTo>
                <a:lnTo>
                  <a:pt x="32" y="198"/>
                </a:lnTo>
                <a:lnTo>
                  <a:pt x="49" y="232"/>
                </a:lnTo>
                <a:lnTo>
                  <a:pt x="49" y="247"/>
                </a:lnTo>
                <a:lnTo>
                  <a:pt x="32" y="264"/>
                </a:lnTo>
                <a:lnTo>
                  <a:pt x="32" y="281"/>
                </a:lnTo>
                <a:lnTo>
                  <a:pt x="16" y="281"/>
                </a:lnTo>
                <a:lnTo>
                  <a:pt x="16" y="298"/>
                </a:lnTo>
                <a:lnTo>
                  <a:pt x="0" y="313"/>
                </a:lnTo>
                <a:lnTo>
                  <a:pt x="0" y="330"/>
                </a:lnTo>
                <a:lnTo>
                  <a:pt x="0" y="347"/>
                </a:lnTo>
                <a:lnTo>
                  <a:pt x="0" y="380"/>
                </a:lnTo>
                <a:lnTo>
                  <a:pt x="16" y="396"/>
                </a:lnTo>
                <a:lnTo>
                  <a:pt x="16" y="413"/>
                </a:lnTo>
                <a:lnTo>
                  <a:pt x="32" y="413"/>
                </a:lnTo>
                <a:lnTo>
                  <a:pt x="65" y="446"/>
                </a:lnTo>
                <a:lnTo>
                  <a:pt x="82" y="462"/>
                </a:lnTo>
                <a:lnTo>
                  <a:pt x="97" y="479"/>
                </a:lnTo>
                <a:lnTo>
                  <a:pt x="114" y="496"/>
                </a:lnTo>
                <a:lnTo>
                  <a:pt x="114" y="512"/>
                </a:lnTo>
                <a:lnTo>
                  <a:pt x="114" y="529"/>
                </a:lnTo>
                <a:lnTo>
                  <a:pt x="130" y="529"/>
                </a:lnTo>
                <a:lnTo>
                  <a:pt x="147" y="529"/>
                </a:lnTo>
                <a:lnTo>
                  <a:pt x="147" y="512"/>
                </a:lnTo>
                <a:lnTo>
                  <a:pt x="163" y="529"/>
                </a:lnTo>
                <a:lnTo>
                  <a:pt x="163" y="545"/>
                </a:lnTo>
                <a:lnTo>
                  <a:pt x="163" y="562"/>
                </a:lnTo>
                <a:lnTo>
                  <a:pt x="147" y="595"/>
                </a:lnTo>
                <a:lnTo>
                  <a:pt x="147" y="612"/>
                </a:lnTo>
                <a:lnTo>
                  <a:pt x="163" y="612"/>
                </a:lnTo>
                <a:lnTo>
                  <a:pt x="180" y="628"/>
                </a:lnTo>
                <a:lnTo>
                  <a:pt x="196" y="644"/>
                </a:lnTo>
                <a:lnTo>
                  <a:pt x="212" y="661"/>
                </a:lnTo>
                <a:lnTo>
                  <a:pt x="228" y="661"/>
                </a:lnTo>
                <a:lnTo>
                  <a:pt x="245" y="678"/>
                </a:lnTo>
                <a:lnTo>
                  <a:pt x="245" y="693"/>
                </a:lnTo>
                <a:lnTo>
                  <a:pt x="245" y="727"/>
                </a:lnTo>
                <a:lnTo>
                  <a:pt x="245" y="744"/>
                </a:lnTo>
                <a:lnTo>
                  <a:pt x="294" y="760"/>
                </a:lnTo>
                <a:lnTo>
                  <a:pt x="294" y="744"/>
                </a:lnTo>
                <a:lnTo>
                  <a:pt x="294" y="760"/>
                </a:lnTo>
                <a:lnTo>
                  <a:pt x="294" y="744"/>
                </a:lnTo>
                <a:lnTo>
                  <a:pt x="311" y="760"/>
                </a:lnTo>
                <a:lnTo>
                  <a:pt x="343" y="760"/>
                </a:lnTo>
                <a:lnTo>
                  <a:pt x="359" y="744"/>
                </a:lnTo>
                <a:lnTo>
                  <a:pt x="359" y="710"/>
                </a:lnTo>
                <a:lnTo>
                  <a:pt x="359" y="693"/>
                </a:lnTo>
                <a:lnTo>
                  <a:pt x="392" y="710"/>
                </a:lnTo>
                <a:lnTo>
                  <a:pt x="409" y="693"/>
                </a:lnTo>
                <a:lnTo>
                  <a:pt x="392" y="661"/>
                </a:lnTo>
                <a:lnTo>
                  <a:pt x="392" y="644"/>
                </a:lnTo>
                <a:lnTo>
                  <a:pt x="409" y="628"/>
                </a:lnTo>
                <a:lnTo>
                  <a:pt x="409" y="612"/>
                </a:lnTo>
                <a:lnTo>
                  <a:pt x="409" y="595"/>
                </a:lnTo>
                <a:lnTo>
                  <a:pt x="409" y="578"/>
                </a:lnTo>
                <a:lnTo>
                  <a:pt x="409" y="562"/>
                </a:lnTo>
                <a:lnTo>
                  <a:pt x="425" y="545"/>
                </a:lnTo>
                <a:lnTo>
                  <a:pt x="441" y="529"/>
                </a:lnTo>
                <a:lnTo>
                  <a:pt x="441" y="512"/>
                </a:lnTo>
                <a:lnTo>
                  <a:pt x="409" y="496"/>
                </a:lnTo>
                <a:lnTo>
                  <a:pt x="359" y="99"/>
                </a:lnTo>
                <a:lnTo>
                  <a:pt x="392" y="82"/>
                </a:lnTo>
                <a:lnTo>
                  <a:pt x="376" y="82"/>
                </a:lnTo>
                <a:lnTo>
                  <a:pt x="326" y="33"/>
                </a:lnTo>
                <a:lnTo>
                  <a:pt x="326" y="16"/>
                </a:lnTo>
                <a:lnTo>
                  <a:pt x="326" y="0"/>
                </a:lnTo>
                <a:lnTo>
                  <a:pt x="65" y="50"/>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4" name="Freeform 35"/>
          <p:cNvSpPr>
            <a:spLocks/>
          </p:cNvSpPr>
          <p:nvPr/>
        </p:nvSpPr>
        <p:spPr bwMode="auto">
          <a:xfrm>
            <a:off x="4713289" y="1506141"/>
            <a:ext cx="1011237" cy="513159"/>
          </a:xfrm>
          <a:custGeom>
            <a:avLst/>
            <a:gdLst>
              <a:gd name="T0" fmla="*/ 0 w 637"/>
              <a:gd name="T1" fmla="*/ 2147483647 h 431"/>
              <a:gd name="T2" fmla="*/ 0 w 637"/>
              <a:gd name="T3" fmla="*/ 2147483647 h 431"/>
              <a:gd name="T4" fmla="*/ 0 w 637"/>
              <a:gd name="T5" fmla="*/ 2147483647 h 431"/>
              <a:gd name="T6" fmla="*/ 0 w 637"/>
              <a:gd name="T7" fmla="*/ 2147483647 h 431"/>
              <a:gd name="T8" fmla="*/ 0 w 637"/>
              <a:gd name="T9" fmla="*/ 2147483647 h 431"/>
              <a:gd name="T10" fmla="*/ 0 w 637"/>
              <a:gd name="T11" fmla="*/ 2147483647 h 431"/>
              <a:gd name="T12" fmla="*/ 0 w 637"/>
              <a:gd name="T13" fmla="*/ 2147483647 h 431"/>
              <a:gd name="T14" fmla="*/ 0 w 637"/>
              <a:gd name="T15" fmla="*/ 2147483647 h 431"/>
              <a:gd name="T16" fmla="*/ 0 w 637"/>
              <a:gd name="T17" fmla="*/ 2147483647 h 431"/>
              <a:gd name="T18" fmla="*/ 2147483647 w 637"/>
              <a:gd name="T19" fmla="*/ 2147483647 h 431"/>
              <a:gd name="T20" fmla="*/ 2147483647 w 637"/>
              <a:gd name="T21" fmla="*/ 2147483647 h 431"/>
              <a:gd name="T22" fmla="*/ 2147483647 w 637"/>
              <a:gd name="T23" fmla="*/ 2147483647 h 431"/>
              <a:gd name="T24" fmla="*/ 2147483647 w 637"/>
              <a:gd name="T25" fmla="*/ 2147483647 h 431"/>
              <a:gd name="T26" fmla="*/ 2147483647 w 637"/>
              <a:gd name="T27" fmla="*/ 2147483647 h 431"/>
              <a:gd name="T28" fmla="*/ 2147483647 w 637"/>
              <a:gd name="T29" fmla="*/ 2147483647 h 431"/>
              <a:gd name="T30" fmla="*/ 2147483647 w 637"/>
              <a:gd name="T31" fmla="*/ 2147483647 h 431"/>
              <a:gd name="T32" fmla="*/ 2147483647 w 637"/>
              <a:gd name="T33" fmla="*/ 2147483647 h 431"/>
              <a:gd name="T34" fmla="*/ 2147483647 w 637"/>
              <a:gd name="T35" fmla="*/ 2147483647 h 431"/>
              <a:gd name="T36" fmla="*/ 2147483647 w 637"/>
              <a:gd name="T37" fmla="*/ 2147483647 h 431"/>
              <a:gd name="T38" fmla="*/ 2147483647 w 637"/>
              <a:gd name="T39" fmla="*/ 2147483647 h 431"/>
              <a:gd name="T40" fmla="*/ 2147483647 w 637"/>
              <a:gd name="T41" fmla="*/ 2147483647 h 431"/>
              <a:gd name="T42" fmla="*/ 2147483647 w 637"/>
              <a:gd name="T43" fmla="*/ 2147483647 h 431"/>
              <a:gd name="T44" fmla="*/ 2147483647 w 637"/>
              <a:gd name="T45" fmla="*/ 2147483647 h 431"/>
              <a:gd name="T46" fmla="*/ 2147483647 w 637"/>
              <a:gd name="T47" fmla="*/ 2147483647 h 431"/>
              <a:gd name="T48" fmla="*/ 2147483647 w 637"/>
              <a:gd name="T49" fmla="*/ 2147483647 h 431"/>
              <a:gd name="T50" fmla="*/ 2147483647 w 637"/>
              <a:gd name="T51" fmla="*/ 2147483647 h 431"/>
              <a:gd name="T52" fmla="*/ 2147483647 w 637"/>
              <a:gd name="T53" fmla="*/ 2147483647 h 431"/>
              <a:gd name="T54" fmla="*/ 2147483647 w 637"/>
              <a:gd name="T55" fmla="*/ 2147483647 h 431"/>
              <a:gd name="T56" fmla="*/ 2147483647 w 637"/>
              <a:gd name="T57" fmla="*/ 2147483647 h 431"/>
              <a:gd name="T58" fmla="*/ 2147483647 w 637"/>
              <a:gd name="T59" fmla="*/ 2147483647 h 431"/>
              <a:gd name="T60" fmla="*/ 2147483647 w 637"/>
              <a:gd name="T61" fmla="*/ 2147483647 h 431"/>
              <a:gd name="T62" fmla="*/ 2147483647 w 637"/>
              <a:gd name="T63" fmla="*/ 2147483647 h 431"/>
              <a:gd name="T64" fmla="*/ 2147483647 w 637"/>
              <a:gd name="T65" fmla="*/ 2147483647 h 431"/>
              <a:gd name="T66" fmla="*/ 2147483647 w 637"/>
              <a:gd name="T67" fmla="*/ 2147483647 h 431"/>
              <a:gd name="T68" fmla="*/ 2147483647 w 637"/>
              <a:gd name="T69" fmla="*/ 2147483647 h 431"/>
              <a:gd name="T70" fmla="*/ 2147483647 w 637"/>
              <a:gd name="T71" fmla="*/ 2147483647 h 431"/>
              <a:gd name="T72" fmla="*/ 2147483647 w 637"/>
              <a:gd name="T73" fmla="*/ 2147483647 h 431"/>
              <a:gd name="T74" fmla="*/ 2147483647 w 637"/>
              <a:gd name="T75" fmla="*/ 2147483647 h 431"/>
              <a:gd name="T76" fmla="*/ 2147483647 w 637"/>
              <a:gd name="T77" fmla="*/ 2147483647 h 431"/>
              <a:gd name="T78" fmla="*/ 2147483647 w 637"/>
              <a:gd name="T79" fmla="*/ 2147483647 h 431"/>
              <a:gd name="T80" fmla="*/ 2147483647 w 637"/>
              <a:gd name="T81" fmla="*/ 2147483647 h 431"/>
              <a:gd name="T82" fmla="*/ 2147483647 w 637"/>
              <a:gd name="T83" fmla="*/ 2147483647 h 431"/>
              <a:gd name="T84" fmla="*/ 2147483647 w 637"/>
              <a:gd name="T85" fmla="*/ 2147483647 h 431"/>
              <a:gd name="T86" fmla="*/ 2147483647 w 637"/>
              <a:gd name="T87" fmla="*/ 2147483647 h 431"/>
              <a:gd name="T88" fmla="*/ 2147483647 w 637"/>
              <a:gd name="T89" fmla="*/ 2147483647 h 431"/>
              <a:gd name="T90" fmla="*/ 2147483647 w 637"/>
              <a:gd name="T91" fmla="*/ 2147483647 h 431"/>
              <a:gd name="T92" fmla="*/ 2147483647 w 637"/>
              <a:gd name="T93" fmla="*/ 2147483647 h 431"/>
              <a:gd name="T94" fmla="*/ 2147483647 w 637"/>
              <a:gd name="T95" fmla="*/ 2147483647 h 431"/>
              <a:gd name="T96" fmla="*/ 2147483647 w 637"/>
              <a:gd name="T97" fmla="*/ 2147483647 h 431"/>
              <a:gd name="T98" fmla="*/ 2147483647 w 637"/>
              <a:gd name="T99" fmla="*/ 0 h 431"/>
              <a:gd name="T100" fmla="*/ 2147483647 w 637"/>
              <a:gd name="T101" fmla="*/ 2147483647 h 431"/>
              <a:gd name="T102" fmla="*/ 2147483647 w 637"/>
              <a:gd name="T103" fmla="*/ 0 h 431"/>
              <a:gd name="T104" fmla="*/ 0 w 637"/>
              <a:gd name="T105" fmla="*/ 2147483647 h 4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37"/>
              <a:gd name="T160" fmla="*/ 0 h 431"/>
              <a:gd name="T161" fmla="*/ 637 w 637"/>
              <a:gd name="T162" fmla="*/ 431 h 43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37" h="431">
                <a:moveTo>
                  <a:pt x="0" y="49"/>
                </a:moveTo>
                <a:lnTo>
                  <a:pt x="0" y="49"/>
                </a:lnTo>
                <a:lnTo>
                  <a:pt x="0" y="66"/>
                </a:lnTo>
                <a:lnTo>
                  <a:pt x="0" y="83"/>
                </a:lnTo>
                <a:lnTo>
                  <a:pt x="0" y="98"/>
                </a:lnTo>
                <a:lnTo>
                  <a:pt x="0" y="132"/>
                </a:lnTo>
                <a:lnTo>
                  <a:pt x="0" y="149"/>
                </a:lnTo>
                <a:lnTo>
                  <a:pt x="0" y="165"/>
                </a:lnTo>
                <a:lnTo>
                  <a:pt x="0" y="198"/>
                </a:lnTo>
                <a:lnTo>
                  <a:pt x="16" y="198"/>
                </a:lnTo>
                <a:lnTo>
                  <a:pt x="16" y="231"/>
                </a:lnTo>
                <a:lnTo>
                  <a:pt x="31" y="248"/>
                </a:lnTo>
                <a:lnTo>
                  <a:pt x="48" y="248"/>
                </a:lnTo>
                <a:lnTo>
                  <a:pt x="48" y="281"/>
                </a:lnTo>
                <a:lnTo>
                  <a:pt x="64" y="297"/>
                </a:lnTo>
                <a:lnTo>
                  <a:pt x="64" y="314"/>
                </a:lnTo>
                <a:lnTo>
                  <a:pt x="64" y="331"/>
                </a:lnTo>
                <a:lnTo>
                  <a:pt x="64" y="346"/>
                </a:lnTo>
                <a:lnTo>
                  <a:pt x="64" y="380"/>
                </a:lnTo>
                <a:lnTo>
                  <a:pt x="81" y="380"/>
                </a:lnTo>
                <a:lnTo>
                  <a:pt x="81" y="413"/>
                </a:lnTo>
                <a:lnTo>
                  <a:pt x="97" y="430"/>
                </a:lnTo>
                <a:lnTo>
                  <a:pt x="179" y="430"/>
                </a:lnTo>
                <a:lnTo>
                  <a:pt x="260" y="430"/>
                </a:lnTo>
                <a:lnTo>
                  <a:pt x="326" y="430"/>
                </a:lnTo>
                <a:lnTo>
                  <a:pt x="374" y="430"/>
                </a:lnTo>
                <a:lnTo>
                  <a:pt x="424" y="413"/>
                </a:lnTo>
                <a:lnTo>
                  <a:pt x="473" y="413"/>
                </a:lnTo>
                <a:lnTo>
                  <a:pt x="505" y="413"/>
                </a:lnTo>
                <a:lnTo>
                  <a:pt x="521" y="430"/>
                </a:lnTo>
                <a:lnTo>
                  <a:pt x="521" y="413"/>
                </a:lnTo>
                <a:lnTo>
                  <a:pt x="538" y="397"/>
                </a:lnTo>
                <a:lnTo>
                  <a:pt x="538" y="380"/>
                </a:lnTo>
                <a:lnTo>
                  <a:pt x="554" y="380"/>
                </a:lnTo>
                <a:lnTo>
                  <a:pt x="554" y="363"/>
                </a:lnTo>
                <a:lnTo>
                  <a:pt x="571" y="346"/>
                </a:lnTo>
                <a:lnTo>
                  <a:pt x="571" y="331"/>
                </a:lnTo>
                <a:lnTo>
                  <a:pt x="554" y="297"/>
                </a:lnTo>
                <a:lnTo>
                  <a:pt x="587" y="281"/>
                </a:lnTo>
                <a:lnTo>
                  <a:pt x="604" y="281"/>
                </a:lnTo>
                <a:lnTo>
                  <a:pt x="604" y="248"/>
                </a:lnTo>
                <a:lnTo>
                  <a:pt x="636" y="231"/>
                </a:lnTo>
                <a:lnTo>
                  <a:pt x="636" y="198"/>
                </a:lnTo>
                <a:lnTo>
                  <a:pt x="604" y="165"/>
                </a:lnTo>
                <a:lnTo>
                  <a:pt x="587" y="149"/>
                </a:lnTo>
                <a:lnTo>
                  <a:pt x="554" y="115"/>
                </a:lnTo>
                <a:lnTo>
                  <a:pt x="538" y="115"/>
                </a:lnTo>
                <a:lnTo>
                  <a:pt x="521" y="98"/>
                </a:lnTo>
                <a:lnTo>
                  <a:pt x="521" y="16"/>
                </a:lnTo>
                <a:lnTo>
                  <a:pt x="521" y="0"/>
                </a:lnTo>
                <a:lnTo>
                  <a:pt x="521" y="16"/>
                </a:lnTo>
                <a:lnTo>
                  <a:pt x="521" y="0"/>
                </a:lnTo>
                <a:lnTo>
                  <a:pt x="0" y="49"/>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5" name="Freeform 36"/>
          <p:cNvSpPr>
            <a:spLocks/>
          </p:cNvSpPr>
          <p:nvPr/>
        </p:nvSpPr>
        <p:spPr bwMode="auto">
          <a:xfrm>
            <a:off x="5284789" y="934641"/>
            <a:ext cx="803275" cy="750094"/>
          </a:xfrm>
          <a:custGeom>
            <a:avLst/>
            <a:gdLst>
              <a:gd name="T0" fmla="*/ 2147483647 w 506"/>
              <a:gd name="T1" fmla="*/ 2147483647 h 630"/>
              <a:gd name="T2" fmla="*/ 2147483647 w 506"/>
              <a:gd name="T3" fmla="*/ 2147483647 h 630"/>
              <a:gd name="T4" fmla="*/ 2147483647 w 506"/>
              <a:gd name="T5" fmla="*/ 2147483647 h 630"/>
              <a:gd name="T6" fmla="*/ 2147483647 w 506"/>
              <a:gd name="T7" fmla="*/ 2147483647 h 630"/>
              <a:gd name="T8" fmla="*/ 2147483647 w 506"/>
              <a:gd name="T9" fmla="*/ 2147483647 h 630"/>
              <a:gd name="T10" fmla="*/ 2147483647 w 506"/>
              <a:gd name="T11" fmla="*/ 2147483647 h 630"/>
              <a:gd name="T12" fmla="*/ 2147483647 w 506"/>
              <a:gd name="T13" fmla="*/ 2147483647 h 630"/>
              <a:gd name="T14" fmla="*/ 2147483647 w 506"/>
              <a:gd name="T15" fmla="*/ 2147483647 h 630"/>
              <a:gd name="T16" fmla="*/ 2147483647 w 506"/>
              <a:gd name="T17" fmla="*/ 2147483647 h 630"/>
              <a:gd name="T18" fmla="*/ 2147483647 w 506"/>
              <a:gd name="T19" fmla="*/ 2147483647 h 630"/>
              <a:gd name="T20" fmla="*/ 2147483647 w 506"/>
              <a:gd name="T21" fmla="*/ 2147483647 h 630"/>
              <a:gd name="T22" fmla="*/ 2147483647 w 506"/>
              <a:gd name="T23" fmla="*/ 2147483647 h 630"/>
              <a:gd name="T24" fmla="*/ 2147483647 w 506"/>
              <a:gd name="T25" fmla="*/ 2147483647 h 630"/>
              <a:gd name="T26" fmla="*/ 2147483647 w 506"/>
              <a:gd name="T27" fmla="*/ 2147483647 h 630"/>
              <a:gd name="T28" fmla="*/ 2147483647 w 506"/>
              <a:gd name="T29" fmla="*/ 2147483647 h 630"/>
              <a:gd name="T30" fmla="*/ 2147483647 w 506"/>
              <a:gd name="T31" fmla="*/ 2147483647 h 630"/>
              <a:gd name="T32" fmla="*/ 2147483647 w 506"/>
              <a:gd name="T33" fmla="*/ 2147483647 h 630"/>
              <a:gd name="T34" fmla="*/ 2147483647 w 506"/>
              <a:gd name="T35" fmla="*/ 2147483647 h 630"/>
              <a:gd name="T36" fmla="*/ 2147483647 w 506"/>
              <a:gd name="T37" fmla="*/ 2147483647 h 630"/>
              <a:gd name="T38" fmla="*/ 0 w 506"/>
              <a:gd name="T39" fmla="*/ 2147483647 h 630"/>
              <a:gd name="T40" fmla="*/ 0 w 506"/>
              <a:gd name="T41" fmla="*/ 2147483647 h 630"/>
              <a:gd name="T42" fmla="*/ 0 w 506"/>
              <a:gd name="T43" fmla="*/ 2147483647 h 630"/>
              <a:gd name="T44" fmla="*/ 0 w 506"/>
              <a:gd name="T45" fmla="*/ 2147483647 h 630"/>
              <a:gd name="T46" fmla="*/ 0 w 506"/>
              <a:gd name="T47" fmla="*/ 2147483647 h 630"/>
              <a:gd name="T48" fmla="*/ 0 w 506"/>
              <a:gd name="T49" fmla="*/ 2147483647 h 630"/>
              <a:gd name="T50" fmla="*/ 2147483647 w 506"/>
              <a:gd name="T51" fmla="*/ 2147483647 h 630"/>
              <a:gd name="T52" fmla="*/ 2147483647 w 506"/>
              <a:gd name="T53" fmla="*/ 2147483647 h 630"/>
              <a:gd name="T54" fmla="*/ 2147483647 w 506"/>
              <a:gd name="T55" fmla="*/ 2147483647 h 630"/>
              <a:gd name="T56" fmla="*/ 2147483647 w 506"/>
              <a:gd name="T57" fmla="*/ 2147483647 h 630"/>
              <a:gd name="T58" fmla="*/ 2147483647 w 506"/>
              <a:gd name="T59" fmla="*/ 2147483647 h 630"/>
              <a:gd name="T60" fmla="*/ 2147483647 w 506"/>
              <a:gd name="T61" fmla="*/ 2147483647 h 630"/>
              <a:gd name="T62" fmla="*/ 2147483647 w 506"/>
              <a:gd name="T63" fmla="*/ 0 h 630"/>
              <a:gd name="T64" fmla="*/ 2147483647 w 506"/>
              <a:gd name="T65" fmla="*/ 0 h 630"/>
              <a:gd name="T66" fmla="*/ 2147483647 w 506"/>
              <a:gd name="T67" fmla="*/ 2147483647 h 630"/>
              <a:gd name="T68" fmla="*/ 2147483647 w 506"/>
              <a:gd name="T69" fmla="*/ 2147483647 h 630"/>
              <a:gd name="T70" fmla="*/ 2147483647 w 506"/>
              <a:gd name="T71" fmla="*/ 2147483647 h 630"/>
              <a:gd name="T72" fmla="*/ 2147483647 w 506"/>
              <a:gd name="T73" fmla="*/ 2147483647 h 630"/>
              <a:gd name="T74" fmla="*/ 2147483647 w 506"/>
              <a:gd name="T75" fmla="*/ 2147483647 h 630"/>
              <a:gd name="T76" fmla="*/ 2147483647 w 506"/>
              <a:gd name="T77" fmla="*/ 2147483647 h 630"/>
              <a:gd name="T78" fmla="*/ 2147483647 w 506"/>
              <a:gd name="T79" fmla="*/ 2147483647 h 630"/>
              <a:gd name="T80" fmla="*/ 2147483647 w 506"/>
              <a:gd name="T81" fmla="*/ 2147483647 h 630"/>
              <a:gd name="T82" fmla="*/ 2147483647 w 506"/>
              <a:gd name="T83" fmla="*/ 2147483647 h 630"/>
              <a:gd name="T84" fmla="*/ 2147483647 w 506"/>
              <a:gd name="T85" fmla="*/ 2147483647 h 630"/>
              <a:gd name="T86" fmla="*/ 2147483647 w 506"/>
              <a:gd name="T87" fmla="*/ 2147483647 h 630"/>
              <a:gd name="T88" fmla="*/ 2147483647 w 506"/>
              <a:gd name="T89" fmla="*/ 2147483647 h 630"/>
              <a:gd name="T90" fmla="*/ 2147483647 w 506"/>
              <a:gd name="T91" fmla="*/ 2147483647 h 630"/>
              <a:gd name="T92" fmla="*/ 2147483647 w 506"/>
              <a:gd name="T93" fmla="*/ 2147483647 h 630"/>
              <a:gd name="T94" fmla="*/ 2147483647 w 506"/>
              <a:gd name="T95" fmla="*/ 2147483647 h 630"/>
              <a:gd name="T96" fmla="*/ 2147483647 w 506"/>
              <a:gd name="T97" fmla="*/ 2147483647 h 630"/>
              <a:gd name="T98" fmla="*/ 2147483647 w 506"/>
              <a:gd name="T99" fmla="*/ 2147483647 h 630"/>
              <a:gd name="T100" fmla="*/ 2147483647 w 506"/>
              <a:gd name="T101" fmla="*/ 2147483647 h 630"/>
              <a:gd name="T102" fmla="*/ 2147483647 w 506"/>
              <a:gd name="T103" fmla="*/ 2147483647 h 630"/>
              <a:gd name="T104" fmla="*/ 2147483647 w 506"/>
              <a:gd name="T105" fmla="*/ 2147483647 h 630"/>
              <a:gd name="T106" fmla="*/ 2147483647 w 506"/>
              <a:gd name="T107" fmla="*/ 2147483647 h 6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06"/>
              <a:gd name="T163" fmla="*/ 0 h 630"/>
              <a:gd name="T164" fmla="*/ 506 w 506"/>
              <a:gd name="T165" fmla="*/ 630 h 6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06" h="630">
                <a:moveTo>
                  <a:pt x="505" y="182"/>
                </a:moveTo>
                <a:lnTo>
                  <a:pt x="505" y="215"/>
                </a:lnTo>
                <a:lnTo>
                  <a:pt x="488" y="248"/>
                </a:lnTo>
                <a:lnTo>
                  <a:pt x="473" y="264"/>
                </a:lnTo>
                <a:lnTo>
                  <a:pt x="473" y="446"/>
                </a:lnTo>
                <a:lnTo>
                  <a:pt x="473" y="463"/>
                </a:lnTo>
                <a:lnTo>
                  <a:pt x="473" y="479"/>
                </a:lnTo>
                <a:lnTo>
                  <a:pt x="488" y="496"/>
                </a:lnTo>
                <a:lnTo>
                  <a:pt x="488" y="578"/>
                </a:lnTo>
                <a:lnTo>
                  <a:pt x="228" y="629"/>
                </a:lnTo>
                <a:lnTo>
                  <a:pt x="195" y="595"/>
                </a:lnTo>
                <a:lnTo>
                  <a:pt x="178" y="595"/>
                </a:lnTo>
                <a:lnTo>
                  <a:pt x="162" y="578"/>
                </a:lnTo>
                <a:lnTo>
                  <a:pt x="162" y="496"/>
                </a:lnTo>
                <a:lnTo>
                  <a:pt x="162" y="479"/>
                </a:lnTo>
                <a:lnTo>
                  <a:pt x="146" y="446"/>
                </a:lnTo>
                <a:lnTo>
                  <a:pt x="114" y="396"/>
                </a:lnTo>
                <a:lnTo>
                  <a:pt x="81" y="380"/>
                </a:lnTo>
                <a:lnTo>
                  <a:pt x="31" y="347"/>
                </a:lnTo>
                <a:lnTo>
                  <a:pt x="0" y="330"/>
                </a:lnTo>
                <a:lnTo>
                  <a:pt x="0" y="298"/>
                </a:lnTo>
                <a:lnTo>
                  <a:pt x="0" y="281"/>
                </a:lnTo>
                <a:lnTo>
                  <a:pt x="0" y="232"/>
                </a:lnTo>
                <a:lnTo>
                  <a:pt x="0" y="182"/>
                </a:lnTo>
                <a:lnTo>
                  <a:pt x="0" y="165"/>
                </a:lnTo>
                <a:lnTo>
                  <a:pt x="31" y="116"/>
                </a:lnTo>
                <a:lnTo>
                  <a:pt x="48" y="82"/>
                </a:lnTo>
                <a:lnTo>
                  <a:pt x="48" y="16"/>
                </a:lnTo>
                <a:lnTo>
                  <a:pt x="64" y="16"/>
                </a:lnTo>
                <a:lnTo>
                  <a:pt x="81" y="16"/>
                </a:lnTo>
                <a:lnTo>
                  <a:pt x="97" y="16"/>
                </a:lnTo>
                <a:lnTo>
                  <a:pt x="114" y="0"/>
                </a:lnTo>
                <a:lnTo>
                  <a:pt x="130" y="0"/>
                </a:lnTo>
                <a:lnTo>
                  <a:pt x="146" y="16"/>
                </a:lnTo>
                <a:lnTo>
                  <a:pt x="178" y="33"/>
                </a:lnTo>
                <a:lnTo>
                  <a:pt x="195" y="33"/>
                </a:lnTo>
                <a:lnTo>
                  <a:pt x="228" y="33"/>
                </a:lnTo>
                <a:lnTo>
                  <a:pt x="228" y="66"/>
                </a:lnTo>
                <a:lnTo>
                  <a:pt x="244" y="66"/>
                </a:lnTo>
                <a:lnTo>
                  <a:pt x="326" y="66"/>
                </a:lnTo>
                <a:lnTo>
                  <a:pt x="342" y="99"/>
                </a:lnTo>
                <a:lnTo>
                  <a:pt x="407" y="99"/>
                </a:lnTo>
                <a:lnTo>
                  <a:pt x="407" y="116"/>
                </a:lnTo>
                <a:lnTo>
                  <a:pt x="440" y="132"/>
                </a:lnTo>
                <a:lnTo>
                  <a:pt x="456" y="149"/>
                </a:lnTo>
                <a:lnTo>
                  <a:pt x="456" y="248"/>
                </a:lnTo>
                <a:lnTo>
                  <a:pt x="440" y="248"/>
                </a:lnTo>
                <a:lnTo>
                  <a:pt x="456" y="264"/>
                </a:lnTo>
                <a:lnTo>
                  <a:pt x="456" y="248"/>
                </a:lnTo>
                <a:lnTo>
                  <a:pt x="473" y="248"/>
                </a:lnTo>
                <a:lnTo>
                  <a:pt x="473" y="232"/>
                </a:lnTo>
                <a:lnTo>
                  <a:pt x="488" y="215"/>
                </a:lnTo>
                <a:lnTo>
                  <a:pt x="488" y="198"/>
                </a:lnTo>
                <a:lnTo>
                  <a:pt x="505" y="182"/>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6" name="Freeform 37"/>
          <p:cNvSpPr>
            <a:spLocks/>
          </p:cNvSpPr>
          <p:nvPr/>
        </p:nvSpPr>
        <p:spPr bwMode="auto">
          <a:xfrm>
            <a:off x="4557713" y="560785"/>
            <a:ext cx="1117600" cy="1004888"/>
          </a:xfrm>
          <a:custGeom>
            <a:avLst/>
            <a:gdLst>
              <a:gd name="T0" fmla="*/ 2147483647 w 704"/>
              <a:gd name="T1" fmla="*/ 2147483647 h 844"/>
              <a:gd name="T2" fmla="*/ 2147483647 w 704"/>
              <a:gd name="T3" fmla="*/ 2147483647 h 844"/>
              <a:gd name="T4" fmla="*/ 2147483647 w 704"/>
              <a:gd name="T5" fmla="*/ 2147483647 h 844"/>
              <a:gd name="T6" fmla="*/ 2147483647 w 704"/>
              <a:gd name="T7" fmla="*/ 2147483647 h 844"/>
              <a:gd name="T8" fmla="*/ 2147483647 w 704"/>
              <a:gd name="T9" fmla="*/ 2147483647 h 844"/>
              <a:gd name="T10" fmla="*/ 2147483647 w 704"/>
              <a:gd name="T11" fmla="*/ 2147483647 h 844"/>
              <a:gd name="T12" fmla="*/ 2147483647 w 704"/>
              <a:gd name="T13" fmla="*/ 2147483647 h 844"/>
              <a:gd name="T14" fmla="*/ 2147483647 w 704"/>
              <a:gd name="T15" fmla="*/ 2147483647 h 844"/>
              <a:gd name="T16" fmla="*/ 2147483647 w 704"/>
              <a:gd name="T17" fmla="*/ 2147483647 h 844"/>
              <a:gd name="T18" fmla="*/ 2147483647 w 704"/>
              <a:gd name="T19" fmla="*/ 2147483647 h 844"/>
              <a:gd name="T20" fmla="*/ 2147483647 w 704"/>
              <a:gd name="T21" fmla="*/ 2147483647 h 844"/>
              <a:gd name="T22" fmla="*/ 2147483647 w 704"/>
              <a:gd name="T23" fmla="*/ 2147483647 h 844"/>
              <a:gd name="T24" fmla="*/ 2147483647 w 704"/>
              <a:gd name="T25" fmla="*/ 2147483647 h 844"/>
              <a:gd name="T26" fmla="*/ 2147483647 w 704"/>
              <a:gd name="T27" fmla="*/ 2147483647 h 844"/>
              <a:gd name="T28" fmla="*/ 2147483647 w 704"/>
              <a:gd name="T29" fmla="*/ 2147483647 h 844"/>
              <a:gd name="T30" fmla="*/ 2147483647 w 704"/>
              <a:gd name="T31" fmla="*/ 2147483647 h 844"/>
              <a:gd name="T32" fmla="*/ 2147483647 w 704"/>
              <a:gd name="T33" fmla="*/ 2147483647 h 844"/>
              <a:gd name="T34" fmla="*/ 2147483647 w 704"/>
              <a:gd name="T35" fmla="*/ 2147483647 h 844"/>
              <a:gd name="T36" fmla="*/ 2147483647 w 704"/>
              <a:gd name="T37" fmla="*/ 2147483647 h 844"/>
              <a:gd name="T38" fmla="*/ 0 w 704"/>
              <a:gd name="T39" fmla="*/ 2147483647 h 844"/>
              <a:gd name="T40" fmla="*/ 0 w 704"/>
              <a:gd name="T41" fmla="*/ 2147483647 h 844"/>
              <a:gd name="T42" fmla="*/ 0 w 704"/>
              <a:gd name="T43" fmla="*/ 2147483647 h 844"/>
              <a:gd name="T44" fmla="*/ 2147483647 w 704"/>
              <a:gd name="T45" fmla="*/ 2147483647 h 844"/>
              <a:gd name="T46" fmla="*/ 0 w 704"/>
              <a:gd name="T47" fmla="*/ 2147483647 h 844"/>
              <a:gd name="T48" fmla="*/ 2147483647 w 704"/>
              <a:gd name="T49" fmla="*/ 2147483647 h 844"/>
              <a:gd name="T50" fmla="*/ 2147483647 w 704"/>
              <a:gd name="T51" fmla="*/ 2147483647 h 844"/>
              <a:gd name="T52" fmla="*/ 2147483647 w 704"/>
              <a:gd name="T53" fmla="*/ 0 h 844"/>
              <a:gd name="T54" fmla="*/ 2147483647 w 704"/>
              <a:gd name="T55" fmla="*/ 2147483647 h 844"/>
              <a:gd name="T56" fmla="*/ 2147483647 w 704"/>
              <a:gd name="T57" fmla="*/ 2147483647 h 844"/>
              <a:gd name="T58" fmla="*/ 2147483647 w 704"/>
              <a:gd name="T59" fmla="*/ 2147483647 h 844"/>
              <a:gd name="T60" fmla="*/ 2147483647 w 704"/>
              <a:gd name="T61" fmla="*/ 2147483647 h 844"/>
              <a:gd name="T62" fmla="*/ 2147483647 w 704"/>
              <a:gd name="T63" fmla="*/ 2147483647 h 844"/>
              <a:gd name="T64" fmla="*/ 2147483647 w 704"/>
              <a:gd name="T65" fmla="*/ 2147483647 h 844"/>
              <a:gd name="T66" fmla="*/ 2147483647 w 704"/>
              <a:gd name="T67" fmla="*/ 2147483647 h 844"/>
              <a:gd name="T68" fmla="*/ 2147483647 w 704"/>
              <a:gd name="T69" fmla="*/ 2147483647 h 844"/>
              <a:gd name="T70" fmla="*/ 2147483647 w 704"/>
              <a:gd name="T71" fmla="*/ 2147483647 h 844"/>
              <a:gd name="T72" fmla="*/ 2147483647 w 704"/>
              <a:gd name="T73" fmla="*/ 2147483647 h 844"/>
              <a:gd name="T74" fmla="*/ 2147483647 w 704"/>
              <a:gd name="T75" fmla="*/ 2147483647 h 844"/>
              <a:gd name="T76" fmla="*/ 2147483647 w 704"/>
              <a:gd name="T77" fmla="*/ 2147483647 h 844"/>
              <a:gd name="T78" fmla="*/ 2147483647 w 704"/>
              <a:gd name="T79" fmla="*/ 2147483647 h 844"/>
              <a:gd name="T80" fmla="*/ 2147483647 w 704"/>
              <a:gd name="T81" fmla="*/ 2147483647 h 844"/>
              <a:gd name="T82" fmla="*/ 2147483647 w 704"/>
              <a:gd name="T83" fmla="*/ 2147483647 h 844"/>
              <a:gd name="T84" fmla="*/ 2147483647 w 704"/>
              <a:gd name="T85" fmla="*/ 2147483647 h 844"/>
              <a:gd name="T86" fmla="*/ 2147483647 w 704"/>
              <a:gd name="T87" fmla="*/ 2147483647 h 844"/>
              <a:gd name="T88" fmla="*/ 2147483647 w 704"/>
              <a:gd name="T89" fmla="*/ 2147483647 h 844"/>
              <a:gd name="T90" fmla="*/ 2147483647 w 704"/>
              <a:gd name="T91" fmla="*/ 2147483647 h 844"/>
              <a:gd name="T92" fmla="*/ 2147483647 w 704"/>
              <a:gd name="T93" fmla="*/ 2147483647 h 844"/>
              <a:gd name="T94" fmla="*/ 2147483647 w 704"/>
              <a:gd name="T95" fmla="*/ 2147483647 h 844"/>
              <a:gd name="T96" fmla="*/ 2147483647 w 704"/>
              <a:gd name="T97" fmla="*/ 2147483647 h 844"/>
              <a:gd name="T98" fmla="*/ 2147483647 w 704"/>
              <a:gd name="T99" fmla="*/ 2147483647 h 844"/>
              <a:gd name="T100" fmla="*/ 2147483647 w 704"/>
              <a:gd name="T101" fmla="*/ 2147483647 h 844"/>
              <a:gd name="T102" fmla="*/ 2147483647 w 704"/>
              <a:gd name="T103" fmla="*/ 2147483647 h 844"/>
              <a:gd name="T104" fmla="*/ 2147483647 w 704"/>
              <a:gd name="T105" fmla="*/ 2147483647 h 844"/>
              <a:gd name="T106" fmla="*/ 2147483647 w 704"/>
              <a:gd name="T107" fmla="*/ 2147483647 h 844"/>
              <a:gd name="T108" fmla="*/ 2147483647 w 704"/>
              <a:gd name="T109" fmla="*/ 2147483647 h 844"/>
              <a:gd name="T110" fmla="*/ 2147483647 w 704"/>
              <a:gd name="T111" fmla="*/ 2147483647 h 844"/>
              <a:gd name="T112" fmla="*/ 2147483647 w 704"/>
              <a:gd name="T113" fmla="*/ 2147483647 h 844"/>
              <a:gd name="T114" fmla="*/ 2147483647 w 704"/>
              <a:gd name="T115" fmla="*/ 2147483647 h 844"/>
              <a:gd name="T116" fmla="*/ 2147483647 w 704"/>
              <a:gd name="T117" fmla="*/ 2147483647 h 844"/>
              <a:gd name="T118" fmla="*/ 2147483647 w 704"/>
              <a:gd name="T119" fmla="*/ 2147483647 h 8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04"/>
              <a:gd name="T181" fmla="*/ 0 h 844"/>
              <a:gd name="T182" fmla="*/ 704 w 704"/>
              <a:gd name="T183" fmla="*/ 844 h 8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04" h="844">
                <a:moveTo>
                  <a:pt x="97" y="843"/>
                </a:moveTo>
                <a:lnTo>
                  <a:pt x="97" y="776"/>
                </a:lnTo>
                <a:lnTo>
                  <a:pt x="97" y="595"/>
                </a:lnTo>
                <a:lnTo>
                  <a:pt x="97" y="562"/>
                </a:lnTo>
                <a:lnTo>
                  <a:pt x="81" y="562"/>
                </a:lnTo>
                <a:lnTo>
                  <a:pt x="64" y="562"/>
                </a:lnTo>
                <a:lnTo>
                  <a:pt x="64" y="529"/>
                </a:lnTo>
                <a:lnTo>
                  <a:pt x="81" y="529"/>
                </a:lnTo>
                <a:lnTo>
                  <a:pt x="81" y="479"/>
                </a:lnTo>
                <a:lnTo>
                  <a:pt x="81" y="462"/>
                </a:lnTo>
                <a:lnTo>
                  <a:pt x="64" y="430"/>
                </a:lnTo>
                <a:lnTo>
                  <a:pt x="48" y="413"/>
                </a:lnTo>
                <a:lnTo>
                  <a:pt x="64" y="380"/>
                </a:lnTo>
                <a:lnTo>
                  <a:pt x="48" y="364"/>
                </a:lnTo>
                <a:lnTo>
                  <a:pt x="48" y="330"/>
                </a:lnTo>
                <a:lnTo>
                  <a:pt x="48" y="281"/>
                </a:lnTo>
                <a:lnTo>
                  <a:pt x="48" y="264"/>
                </a:lnTo>
                <a:lnTo>
                  <a:pt x="31" y="232"/>
                </a:lnTo>
                <a:lnTo>
                  <a:pt x="31" y="198"/>
                </a:lnTo>
                <a:lnTo>
                  <a:pt x="0" y="182"/>
                </a:lnTo>
                <a:lnTo>
                  <a:pt x="0" y="149"/>
                </a:lnTo>
                <a:lnTo>
                  <a:pt x="0" y="132"/>
                </a:lnTo>
                <a:lnTo>
                  <a:pt x="15" y="99"/>
                </a:lnTo>
                <a:lnTo>
                  <a:pt x="0" y="82"/>
                </a:lnTo>
                <a:lnTo>
                  <a:pt x="162" y="50"/>
                </a:lnTo>
                <a:lnTo>
                  <a:pt x="162" y="16"/>
                </a:lnTo>
                <a:lnTo>
                  <a:pt x="179" y="0"/>
                </a:lnTo>
                <a:lnTo>
                  <a:pt x="212" y="16"/>
                </a:lnTo>
                <a:lnTo>
                  <a:pt x="212" y="50"/>
                </a:lnTo>
                <a:lnTo>
                  <a:pt x="228" y="66"/>
                </a:lnTo>
                <a:lnTo>
                  <a:pt x="260" y="82"/>
                </a:lnTo>
                <a:lnTo>
                  <a:pt x="277" y="82"/>
                </a:lnTo>
                <a:lnTo>
                  <a:pt x="326" y="99"/>
                </a:lnTo>
                <a:lnTo>
                  <a:pt x="358" y="99"/>
                </a:lnTo>
                <a:lnTo>
                  <a:pt x="408" y="99"/>
                </a:lnTo>
                <a:lnTo>
                  <a:pt x="457" y="132"/>
                </a:lnTo>
                <a:lnTo>
                  <a:pt x="457" y="116"/>
                </a:lnTo>
                <a:lnTo>
                  <a:pt x="539" y="149"/>
                </a:lnTo>
                <a:lnTo>
                  <a:pt x="555" y="132"/>
                </a:lnTo>
                <a:lnTo>
                  <a:pt x="572" y="116"/>
                </a:lnTo>
                <a:lnTo>
                  <a:pt x="588" y="132"/>
                </a:lnTo>
                <a:lnTo>
                  <a:pt x="620" y="132"/>
                </a:lnTo>
                <a:lnTo>
                  <a:pt x="703" y="149"/>
                </a:lnTo>
                <a:lnTo>
                  <a:pt x="637" y="182"/>
                </a:lnTo>
                <a:lnTo>
                  <a:pt x="555" y="264"/>
                </a:lnTo>
                <a:lnTo>
                  <a:pt x="506" y="330"/>
                </a:lnTo>
                <a:lnTo>
                  <a:pt x="506" y="396"/>
                </a:lnTo>
                <a:lnTo>
                  <a:pt x="489" y="430"/>
                </a:lnTo>
                <a:lnTo>
                  <a:pt x="457" y="479"/>
                </a:lnTo>
                <a:lnTo>
                  <a:pt x="457" y="496"/>
                </a:lnTo>
                <a:lnTo>
                  <a:pt x="457" y="545"/>
                </a:lnTo>
                <a:lnTo>
                  <a:pt x="457" y="595"/>
                </a:lnTo>
                <a:lnTo>
                  <a:pt x="457" y="612"/>
                </a:lnTo>
                <a:lnTo>
                  <a:pt x="457" y="644"/>
                </a:lnTo>
                <a:lnTo>
                  <a:pt x="489" y="661"/>
                </a:lnTo>
                <a:lnTo>
                  <a:pt x="539" y="693"/>
                </a:lnTo>
                <a:lnTo>
                  <a:pt x="572" y="710"/>
                </a:lnTo>
                <a:lnTo>
                  <a:pt x="604" y="760"/>
                </a:lnTo>
                <a:lnTo>
                  <a:pt x="620" y="793"/>
                </a:lnTo>
                <a:lnTo>
                  <a:pt x="97" y="843"/>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7" name="Freeform 38"/>
          <p:cNvSpPr>
            <a:spLocks/>
          </p:cNvSpPr>
          <p:nvPr/>
        </p:nvSpPr>
        <p:spPr bwMode="auto">
          <a:xfrm>
            <a:off x="8447088" y="285750"/>
            <a:ext cx="622300" cy="767954"/>
          </a:xfrm>
          <a:custGeom>
            <a:avLst/>
            <a:gdLst>
              <a:gd name="T0" fmla="*/ 0 w 392"/>
              <a:gd name="T1" fmla="*/ 2147483647 h 645"/>
              <a:gd name="T2" fmla="*/ 2147483647 w 392"/>
              <a:gd name="T3" fmla="*/ 2147483647 h 645"/>
              <a:gd name="T4" fmla="*/ 2147483647 w 392"/>
              <a:gd name="T5" fmla="*/ 2147483647 h 645"/>
              <a:gd name="T6" fmla="*/ 2147483647 w 392"/>
              <a:gd name="T7" fmla="*/ 2147483647 h 645"/>
              <a:gd name="T8" fmla="*/ 2147483647 w 392"/>
              <a:gd name="T9" fmla="*/ 2147483647 h 645"/>
              <a:gd name="T10" fmla="*/ 2147483647 w 392"/>
              <a:gd name="T11" fmla="*/ 2147483647 h 645"/>
              <a:gd name="T12" fmla="*/ 2147483647 w 392"/>
              <a:gd name="T13" fmla="*/ 2147483647 h 645"/>
              <a:gd name="T14" fmla="*/ 2147483647 w 392"/>
              <a:gd name="T15" fmla="*/ 2147483647 h 645"/>
              <a:gd name="T16" fmla="*/ 2147483647 w 392"/>
              <a:gd name="T17" fmla="*/ 0 h 645"/>
              <a:gd name="T18" fmla="*/ 2147483647 w 392"/>
              <a:gd name="T19" fmla="*/ 2147483647 h 645"/>
              <a:gd name="T20" fmla="*/ 2147483647 w 392"/>
              <a:gd name="T21" fmla="*/ 2147483647 h 645"/>
              <a:gd name="T22" fmla="*/ 2147483647 w 392"/>
              <a:gd name="T23" fmla="*/ 0 h 645"/>
              <a:gd name="T24" fmla="*/ 2147483647 w 392"/>
              <a:gd name="T25" fmla="*/ 0 h 645"/>
              <a:gd name="T26" fmla="*/ 2147483647 w 392"/>
              <a:gd name="T27" fmla="*/ 2147483647 h 645"/>
              <a:gd name="T28" fmla="*/ 2147483647 w 392"/>
              <a:gd name="T29" fmla="*/ 2147483647 h 645"/>
              <a:gd name="T30" fmla="*/ 2147483647 w 392"/>
              <a:gd name="T31" fmla="*/ 2147483647 h 645"/>
              <a:gd name="T32" fmla="*/ 2147483647 w 392"/>
              <a:gd name="T33" fmla="*/ 2147483647 h 645"/>
              <a:gd name="T34" fmla="*/ 2147483647 w 392"/>
              <a:gd name="T35" fmla="*/ 2147483647 h 645"/>
              <a:gd name="T36" fmla="*/ 2147483647 w 392"/>
              <a:gd name="T37" fmla="*/ 2147483647 h 645"/>
              <a:gd name="T38" fmla="*/ 2147483647 w 392"/>
              <a:gd name="T39" fmla="*/ 2147483647 h 645"/>
              <a:gd name="T40" fmla="*/ 2147483647 w 392"/>
              <a:gd name="T41" fmla="*/ 2147483647 h 645"/>
              <a:gd name="T42" fmla="*/ 2147483647 w 392"/>
              <a:gd name="T43" fmla="*/ 2147483647 h 645"/>
              <a:gd name="T44" fmla="*/ 2147483647 w 392"/>
              <a:gd name="T45" fmla="*/ 2147483647 h 645"/>
              <a:gd name="T46" fmla="*/ 2147483647 w 392"/>
              <a:gd name="T47" fmla="*/ 2147483647 h 645"/>
              <a:gd name="T48" fmla="*/ 2147483647 w 392"/>
              <a:gd name="T49" fmla="*/ 2147483647 h 645"/>
              <a:gd name="T50" fmla="*/ 2147483647 w 392"/>
              <a:gd name="T51" fmla="*/ 2147483647 h 645"/>
              <a:gd name="T52" fmla="*/ 2147483647 w 392"/>
              <a:gd name="T53" fmla="*/ 2147483647 h 645"/>
              <a:gd name="T54" fmla="*/ 2147483647 w 392"/>
              <a:gd name="T55" fmla="*/ 2147483647 h 645"/>
              <a:gd name="T56" fmla="*/ 2147483647 w 392"/>
              <a:gd name="T57" fmla="*/ 2147483647 h 645"/>
              <a:gd name="T58" fmla="*/ 2147483647 w 392"/>
              <a:gd name="T59" fmla="*/ 2147483647 h 645"/>
              <a:gd name="T60" fmla="*/ 2147483647 w 392"/>
              <a:gd name="T61" fmla="*/ 2147483647 h 645"/>
              <a:gd name="T62" fmla="*/ 2147483647 w 392"/>
              <a:gd name="T63" fmla="*/ 2147483647 h 645"/>
              <a:gd name="T64" fmla="*/ 2147483647 w 392"/>
              <a:gd name="T65" fmla="*/ 2147483647 h 645"/>
              <a:gd name="T66" fmla="*/ 2147483647 w 392"/>
              <a:gd name="T67" fmla="*/ 2147483647 h 645"/>
              <a:gd name="T68" fmla="*/ 2147483647 w 392"/>
              <a:gd name="T69" fmla="*/ 2147483647 h 645"/>
              <a:gd name="T70" fmla="*/ 2147483647 w 392"/>
              <a:gd name="T71" fmla="*/ 2147483647 h 645"/>
              <a:gd name="T72" fmla="*/ 2147483647 w 392"/>
              <a:gd name="T73" fmla="*/ 2147483647 h 645"/>
              <a:gd name="T74" fmla="*/ 2147483647 w 392"/>
              <a:gd name="T75" fmla="*/ 2147483647 h 645"/>
              <a:gd name="T76" fmla="*/ 2147483647 w 392"/>
              <a:gd name="T77" fmla="*/ 2147483647 h 645"/>
              <a:gd name="T78" fmla="*/ 0 w 392"/>
              <a:gd name="T79" fmla="*/ 2147483647 h 64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92"/>
              <a:gd name="T121" fmla="*/ 0 h 645"/>
              <a:gd name="T122" fmla="*/ 392 w 392"/>
              <a:gd name="T123" fmla="*/ 645 h 64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92" h="645">
                <a:moveTo>
                  <a:pt x="0" y="347"/>
                </a:moveTo>
                <a:lnTo>
                  <a:pt x="15" y="330"/>
                </a:lnTo>
                <a:lnTo>
                  <a:pt x="15" y="313"/>
                </a:lnTo>
                <a:lnTo>
                  <a:pt x="31" y="281"/>
                </a:lnTo>
                <a:lnTo>
                  <a:pt x="48" y="247"/>
                </a:lnTo>
                <a:lnTo>
                  <a:pt x="48" y="148"/>
                </a:lnTo>
                <a:lnTo>
                  <a:pt x="31" y="132"/>
                </a:lnTo>
                <a:lnTo>
                  <a:pt x="48" y="82"/>
                </a:lnTo>
                <a:lnTo>
                  <a:pt x="81" y="0"/>
                </a:lnTo>
                <a:lnTo>
                  <a:pt x="97" y="32"/>
                </a:lnTo>
                <a:lnTo>
                  <a:pt x="114" y="32"/>
                </a:lnTo>
                <a:lnTo>
                  <a:pt x="129" y="0"/>
                </a:lnTo>
                <a:lnTo>
                  <a:pt x="179" y="0"/>
                </a:lnTo>
                <a:lnTo>
                  <a:pt x="195" y="16"/>
                </a:lnTo>
                <a:lnTo>
                  <a:pt x="211" y="49"/>
                </a:lnTo>
                <a:lnTo>
                  <a:pt x="260" y="181"/>
                </a:lnTo>
                <a:lnTo>
                  <a:pt x="293" y="181"/>
                </a:lnTo>
                <a:lnTo>
                  <a:pt x="309" y="198"/>
                </a:lnTo>
                <a:lnTo>
                  <a:pt x="326" y="247"/>
                </a:lnTo>
                <a:lnTo>
                  <a:pt x="374" y="247"/>
                </a:lnTo>
                <a:lnTo>
                  <a:pt x="391" y="281"/>
                </a:lnTo>
                <a:lnTo>
                  <a:pt x="326" y="330"/>
                </a:lnTo>
                <a:lnTo>
                  <a:pt x="326" y="362"/>
                </a:lnTo>
                <a:lnTo>
                  <a:pt x="293" y="379"/>
                </a:lnTo>
                <a:lnTo>
                  <a:pt x="276" y="379"/>
                </a:lnTo>
                <a:lnTo>
                  <a:pt x="260" y="413"/>
                </a:lnTo>
                <a:lnTo>
                  <a:pt x="243" y="462"/>
                </a:lnTo>
                <a:lnTo>
                  <a:pt x="228" y="478"/>
                </a:lnTo>
                <a:lnTo>
                  <a:pt x="211" y="478"/>
                </a:lnTo>
                <a:lnTo>
                  <a:pt x="211" y="511"/>
                </a:lnTo>
                <a:lnTo>
                  <a:pt x="162" y="528"/>
                </a:lnTo>
                <a:lnTo>
                  <a:pt x="162" y="544"/>
                </a:lnTo>
                <a:lnTo>
                  <a:pt x="162" y="577"/>
                </a:lnTo>
                <a:lnTo>
                  <a:pt x="162" y="627"/>
                </a:lnTo>
                <a:lnTo>
                  <a:pt x="146" y="644"/>
                </a:lnTo>
                <a:lnTo>
                  <a:pt x="129" y="644"/>
                </a:lnTo>
                <a:lnTo>
                  <a:pt x="114" y="627"/>
                </a:lnTo>
                <a:lnTo>
                  <a:pt x="114" y="610"/>
                </a:lnTo>
                <a:lnTo>
                  <a:pt x="97" y="610"/>
                </a:lnTo>
                <a:lnTo>
                  <a:pt x="0" y="347"/>
                </a:lnTo>
              </a:path>
            </a:pathLst>
          </a:custGeom>
          <a:solidFill>
            <a:srgbClr val="3333CC"/>
          </a:solidFill>
          <a:ln w="12700" cap="rnd" cmpd="sng">
            <a:solidFill>
              <a:schemeClr val="tx1"/>
            </a:solidFill>
            <a:prstDash val="solid"/>
            <a:round/>
            <a:headEnd type="none" w="sm" len="sm"/>
            <a:tailEnd type="none" w="sm" len="sm"/>
          </a:ln>
        </p:spPr>
        <p:txBody>
          <a:bodyPr/>
          <a:lstStyle/>
          <a:p>
            <a:endParaRPr lang="en-US" dirty="0"/>
          </a:p>
        </p:txBody>
      </p:sp>
      <p:sp>
        <p:nvSpPr>
          <p:cNvPr id="2088" name="Freeform 39"/>
          <p:cNvSpPr>
            <a:spLocks/>
          </p:cNvSpPr>
          <p:nvPr/>
        </p:nvSpPr>
        <p:spPr bwMode="auto">
          <a:xfrm>
            <a:off x="6216651" y="1013223"/>
            <a:ext cx="676275" cy="729853"/>
          </a:xfrm>
          <a:custGeom>
            <a:avLst/>
            <a:gdLst>
              <a:gd name="T0" fmla="*/ 2147483647 w 426"/>
              <a:gd name="T1" fmla="*/ 2147483647 h 613"/>
              <a:gd name="T2" fmla="*/ 2147483647 w 426"/>
              <a:gd name="T3" fmla="*/ 2147483647 h 613"/>
              <a:gd name="T4" fmla="*/ 2147483647 w 426"/>
              <a:gd name="T5" fmla="*/ 2147483647 h 613"/>
              <a:gd name="T6" fmla="*/ 2147483647 w 426"/>
              <a:gd name="T7" fmla="*/ 2147483647 h 613"/>
              <a:gd name="T8" fmla="*/ 2147483647 w 426"/>
              <a:gd name="T9" fmla="*/ 2147483647 h 613"/>
              <a:gd name="T10" fmla="*/ 2147483647 w 426"/>
              <a:gd name="T11" fmla="*/ 2147483647 h 613"/>
              <a:gd name="T12" fmla="*/ 2147483647 w 426"/>
              <a:gd name="T13" fmla="*/ 2147483647 h 613"/>
              <a:gd name="T14" fmla="*/ 2147483647 w 426"/>
              <a:gd name="T15" fmla="*/ 2147483647 h 613"/>
              <a:gd name="T16" fmla="*/ 0 w 426"/>
              <a:gd name="T17" fmla="*/ 2147483647 h 613"/>
              <a:gd name="T18" fmla="*/ 0 w 426"/>
              <a:gd name="T19" fmla="*/ 2147483647 h 613"/>
              <a:gd name="T20" fmla="*/ 2147483647 w 426"/>
              <a:gd name="T21" fmla="*/ 2147483647 h 613"/>
              <a:gd name="T22" fmla="*/ 2147483647 w 426"/>
              <a:gd name="T23" fmla="*/ 2147483647 h 613"/>
              <a:gd name="T24" fmla="*/ 2147483647 w 426"/>
              <a:gd name="T25" fmla="*/ 2147483647 h 613"/>
              <a:gd name="T26" fmla="*/ 2147483647 w 426"/>
              <a:gd name="T27" fmla="*/ 2147483647 h 613"/>
              <a:gd name="T28" fmla="*/ 2147483647 w 426"/>
              <a:gd name="T29" fmla="*/ 2147483647 h 613"/>
              <a:gd name="T30" fmla="*/ 2147483647 w 426"/>
              <a:gd name="T31" fmla="*/ 2147483647 h 613"/>
              <a:gd name="T32" fmla="*/ 2147483647 w 426"/>
              <a:gd name="T33" fmla="*/ 2147483647 h 613"/>
              <a:gd name="T34" fmla="*/ 2147483647 w 426"/>
              <a:gd name="T35" fmla="*/ 2147483647 h 613"/>
              <a:gd name="T36" fmla="*/ 2147483647 w 426"/>
              <a:gd name="T37" fmla="*/ 2147483647 h 613"/>
              <a:gd name="T38" fmla="*/ 2147483647 w 426"/>
              <a:gd name="T39" fmla="*/ 2147483647 h 613"/>
              <a:gd name="T40" fmla="*/ 2147483647 w 426"/>
              <a:gd name="T41" fmla="*/ 2147483647 h 613"/>
              <a:gd name="T42" fmla="*/ 2147483647 w 426"/>
              <a:gd name="T43" fmla="*/ 2147483647 h 613"/>
              <a:gd name="T44" fmla="*/ 2147483647 w 426"/>
              <a:gd name="T45" fmla="*/ 2147483647 h 613"/>
              <a:gd name="T46" fmla="*/ 2147483647 w 426"/>
              <a:gd name="T47" fmla="*/ 0 h 613"/>
              <a:gd name="T48" fmla="*/ 2147483647 w 426"/>
              <a:gd name="T49" fmla="*/ 0 h 613"/>
              <a:gd name="T50" fmla="*/ 2147483647 w 426"/>
              <a:gd name="T51" fmla="*/ 0 h 613"/>
              <a:gd name="T52" fmla="*/ 2147483647 w 426"/>
              <a:gd name="T53" fmla="*/ 2147483647 h 613"/>
              <a:gd name="T54" fmla="*/ 2147483647 w 426"/>
              <a:gd name="T55" fmla="*/ 2147483647 h 613"/>
              <a:gd name="T56" fmla="*/ 2147483647 w 426"/>
              <a:gd name="T57" fmla="*/ 2147483647 h 613"/>
              <a:gd name="T58" fmla="*/ 2147483647 w 426"/>
              <a:gd name="T59" fmla="*/ 2147483647 h 613"/>
              <a:gd name="T60" fmla="*/ 2147483647 w 426"/>
              <a:gd name="T61" fmla="*/ 2147483647 h 613"/>
              <a:gd name="T62" fmla="*/ 2147483647 w 426"/>
              <a:gd name="T63" fmla="*/ 2147483647 h 613"/>
              <a:gd name="T64" fmla="*/ 2147483647 w 426"/>
              <a:gd name="T65" fmla="*/ 2147483647 h 613"/>
              <a:gd name="T66" fmla="*/ 2147483647 w 426"/>
              <a:gd name="T67" fmla="*/ 2147483647 h 613"/>
              <a:gd name="T68" fmla="*/ 2147483647 w 426"/>
              <a:gd name="T69" fmla="*/ 2147483647 h 613"/>
              <a:gd name="T70" fmla="*/ 2147483647 w 426"/>
              <a:gd name="T71" fmla="*/ 2147483647 h 613"/>
              <a:gd name="T72" fmla="*/ 2147483647 w 426"/>
              <a:gd name="T73" fmla="*/ 2147483647 h 613"/>
              <a:gd name="T74" fmla="*/ 2147483647 w 426"/>
              <a:gd name="T75" fmla="*/ 2147483647 h 613"/>
              <a:gd name="T76" fmla="*/ 2147483647 w 426"/>
              <a:gd name="T77" fmla="*/ 2147483647 h 613"/>
              <a:gd name="T78" fmla="*/ 2147483647 w 426"/>
              <a:gd name="T79" fmla="*/ 2147483647 h 613"/>
              <a:gd name="T80" fmla="*/ 2147483647 w 426"/>
              <a:gd name="T81" fmla="*/ 2147483647 h 613"/>
              <a:gd name="T82" fmla="*/ 2147483647 w 426"/>
              <a:gd name="T83" fmla="*/ 2147483647 h 613"/>
              <a:gd name="T84" fmla="*/ 2147483647 w 426"/>
              <a:gd name="T85" fmla="*/ 2147483647 h 613"/>
              <a:gd name="T86" fmla="*/ 2147483647 w 426"/>
              <a:gd name="T87" fmla="*/ 2147483647 h 613"/>
              <a:gd name="T88" fmla="*/ 2147483647 w 426"/>
              <a:gd name="T89" fmla="*/ 2147483647 h 613"/>
              <a:gd name="T90" fmla="*/ 2147483647 w 426"/>
              <a:gd name="T91" fmla="*/ 2147483647 h 613"/>
              <a:gd name="T92" fmla="*/ 2147483647 w 426"/>
              <a:gd name="T93" fmla="*/ 2147483647 h 613"/>
              <a:gd name="T94" fmla="*/ 2147483647 w 426"/>
              <a:gd name="T95" fmla="*/ 2147483647 h 613"/>
              <a:gd name="T96" fmla="*/ 2147483647 w 426"/>
              <a:gd name="T97" fmla="*/ 2147483647 h 613"/>
              <a:gd name="T98" fmla="*/ 2147483647 w 426"/>
              <a:gd name="T99" fmla="*/ 2147483647 h 613"/>
              <a:gd name="T100" fmla="*/ 2147483647 w 426"/>
              <a:gd name="T101" fmla="*/ 2147483647 h 613"/>
              <a:gd name="T102" fmla="*/ 2147483647 w 426"/>
              <a:gd name="T103" fmla="*/ 2147483647 h 613"/>
              <a:gd name="T104" fmla="*/ 2147483647 w 426"/>
              <a:gd name="T105" fmla="*/ 2147483647 h 6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6"/>
              <a:gd name="T160" fmla="*/ 0 h 613"/>
              <a:gd name="T161" fmla="*/ 426 w 426"/>
              <a:gd name="T162" fmla="*/ 613 h 6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6" h="613">
                <a:moveTo>
                  <a:pt x="31" y="612"/>
                </a:moveTo>
                <a:lnTo>
                  <a:pt x="31" y="612"/>
                </a:lnTo>
                <a:lnTo>
                  <a:pt x="48" y="578"/>
                </a:lnTo>
                <a:lnTo>
                  <a:pt x="48" y="562"/>
                </a:lnTo>
                <a:lnTo>
                  <a:pt x="48" y="529"/>
                </a:lnTo>
                <a:lnTo>
                  <a:pt x="48" y="430"/>
                </a:lnTo>
                <a:lnTo>
                  <a:pt x="48" y="396"/>
                </a:lnTo>
                <a:lnTo>
                  <a:pt x="48" y="379"/>
                </a:lnTo>
                <a:lnTo>
                  <a:pt x="0" y="330"/>
                </a:lnTo>
                <a:lnTo>
                  <a:pt x="0" y="264"/>
                </a:lnTo>
                <a:lnTo>
                  <a:pt x="15" y="248"/>
                </a:lnTo>
                <a:lnTo>
                  <a:pt x="15" y="182"/>
                </a:lnTo>
                <a:lnTo>
                  <a:pt x="31" y="182"/>
                </a:lnTo>
                <a:lnTo>
                  <a:pt x="31" y="149"/>
                </a:lnTo>
                <a:lnTo>
                  <a:pt x="81" y="99"/>
                </a:lnTo>
                <a:lnTo>
                  <a:pt x="97" y="99"/>
                </a:lnTo>
                <a:lnTo>
                  <a:pt x="81" y="132"/>
                </a:lnTo>
                <a:lnTo>
                  <a:pt x="81" y="149"/>
                </a:lnTo>
                <a:lnTo>
                  <a:pt x="97" y="116"/>
                </a:lnTo>
                <a:lnTo>
                  <a:pt x="97" y="50"/>
                </a:lnTo>
                <a:lnTo>
                  <a:pt x="114" y="50"/>
                </a:lnTo>
                <a:lnTo>
                  <a:pt x="129" y="50"/>
                </a:lnTo>
                <a:lnTo>
                  <a:pt x="114" y="16"/>
                </a:lnTo>
                <a:lnTo>
                  <a:pt x="146" y="0"/>
                </a:lnTo>
                <a:lnTo>
                  <a:pt x="162" y="0"/>
                </a:lnTo>
                <a:lnTo>
                  <a:pt x="195" y="0"/>
                </a:lnTo>
                <a:lnTo>
                  <a:pt x="244" y="50"/>
                </a:lnTo>
                <a:lnTo>
                  <a:pt x="277" y="50"/>
                </a:lnTo>
                <a:lnTo>
                  <a:pt x="277" y="99"/>
                </a:lnTo>
                <a:lnTo>
                  <a:pt x="293" y="149"/>
                </a:lnTo>
                <a:lnTo>
                  <a:pt x="293" y="182"/>
                </a:lnTo>
                <a:lnTo>
                  <a:pt x="277" y="182"/>
                </a:lnTo>
                <a:lnTo>
                  <a:pt x="277" y="198"/>
                </a:lnTo>
                <a:lnTo>
                  <a:pt x="277" y="215"/>
                </a:lnTo>
                <a:lnTo>
                  <a:pt x="260" y="232"/>
                </a:lnTo>
                <a:lnTo>
                  <a:pt x="277" y="281"/>
                </a:lnTo>
                <a:lnTo>
                  <a:pt x="310" y="248"/>
                </a:lnTo>
                <a:lnTo>
                  <a:pt x="327" y="232"/>
                </a:lnTo>
                <a:lnTo>
                  <a:pt x="375" y="232"/>
                </a:lnTo>
                <a:lnTo>
                  <a:pt x="391" y="248"/>
                </a:lnTo>
                <a:lnTo>
                  <a:pt x="408" y="281"/>
                </a:lnTo>
                <a:lnTo>
                  <a:pt x="408" y="313"/>
                </a:lnTo>
                <a:lnTo>
                  <a:pt x="425" y="330"/>
                </a:lnTo>
                <a:lnTo>
                  <a:pt x="425" y="379"/>
                </a:lnTo>
                <a:lnTo>
                  <a:pt x="391" y="396"/>
                </a:lnTo>
                <a:lnTo>
                  <a:pt x="391" y="430"/>
                </a:lnTo>
                <a:lnTo>
                  <a:pt x="391" y="462"/>
                </a:lnTo>
                <a:lnTo>
                  <a:pt x="391" y="529"/>
                </a:lnTo>
                <a:lnTo>
                  <a:pt x="408" y="545"/>
                </a:lnTo>
                <a:lnTo>
                  <a:pt x="229" y="578"/>
                </a:lnTo>
                <a:lnTo>
                  <a:pt x="212" y="562"/>
                </a:lnTo>
                <a:lnTo>
                  <a:pt x="64" y="595"/>
                </a:lnTo>
                <a:lnTo>
                  <a:pt x="31" y="612"/>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089" name="Freeform 40"/>
          <p:cNvSpPr>
            <a:spLocks/>
          </p:cNvSpPr>
          <p:nvPr/>
        </p:nvSpPr>
        <p:spPr bwMode="auto">
          <a:xfrm>
            <a:off x="3675064" y="2626519"/>
            <a:ext cx="1506537" cy="572691"/>
          </a:xfrm>
          <a:custGeom>
            <a:avLst/>
            <a:gdLst>
              <a:gd name="T0" fmla="*/ 2147483647 w 949"/>
              <a:gd name="T1" fmla="*/ 2147483647 h 481"/>
              <a:gd name="T2" fmla="*/ 2147483647 w 949"/>
              <a:gd name="T3" fmla="*/ 2147483647 h 481"/>
              <a:gd name="T4" fmla="*/ 2147483647 w 949"/>
              <a:gd name="T5" fmla="*/ 2147483647 h 481"/>
              <a:gd name="T6" fmla="*/ 2147483647 w 949"/>
              <a:gd name="T7" fmla="*/ 2147483647 h 481"/>
              <a:gd name="T8" fmla="*/ 2147483647 w 949"/>
              <a:gd name="T9" fmla="*/ 2147483647 h 481"/>
              <a:gd name="T10" fmla="*/ 2147483647 w 949"/>
              <a:gd name="T11" fmla="*/ 2147483647 h 481"/>
              <a:gd name="T12" fmla="*/ 2147483647 w 949"/>
              <a:gd name="T13" fmla="*/ 2147483647 h 481"/>
              <a:gd name="T14" fmla="*/ 2147483647 w 949"/>
              <a:gd name="T15" fmla="*/ 2147483647 h 481"/>
              <a:gd name="T16" fmla="*/ 2147483647 w 949"/>
              <a:gd name="T17" fmla="*/ 2147483647 h 481"/>
              <a:gd name="T18" fmla="*/ 2147483647 w 949"/>
              <a:gd name="T19" fmla="*/ 2147483647 h 481"/>
              <a:gd name="T20" fmla="*/ 2147483647 w 949"/>
              <a:gd name="T21" fmla="*/ 2147483647 h 481"/>
              <a:gd name="T22" fmla="*/ 2147483647 w 949"/>
              <a:gd name="T23" fmla="*/ 2147483647 h 481"/>
              <a:gd name="T24" fmla="*/ 2147483647 w 949"/>
              <a:gd name="T25" fmla="*/ 2147483647 h 481"/>
              <a:gd name="T26" fmla="*/ 2147483647 w 949"/>
              <a:gd name="T27" fmla="*/ 2147483647 h 481"/>
              <a:gd name="T28" fmla="*/ 2147483647 w 949"/>
              <a:gd name="T29" fmla="*/ 2147483647 h 481"/>
              <a:gd name="T30" fmla="*/ 2147483647 w 949"/>
              <a:gd name="T31" fmla="*/ 2147483647 h 481"/>
              <a:gd name="T32" fmla="*/ 2147483647 w 949"/>
              <a:gd name="T33" fmla="*/ 2147483647 h 481"/>
              <a:gd name="T34" fmla="*/ 2147483647 w 949"/>
              <a:gd name="T35" fmla="*/ 2147483647 h 481"/>
              <a:gd name="T36" fmla="*/ 2147483647 w 949"/>
              <a:gd name="T37" fmla="*/ 2147483647 h 481"/>
              <a:gd name="T38" fmla="*/ 2147483647 w 949"/>
              <a:gd name="T39" fmla="*/ 2147483647 h 481"/>
              <a:gd name="T40" fmla="*/ 2147483647 w 949"/>
              <a:gd name="T41" fmla="*/ 2147483647 h 481"/>
              <a:gd name="T42" fmla="*/ 2147483647 w 949"/>
              <a:gd name="T43" fmla="*/ 2147483647 h 481"/>
              <a:gd name="T44" fmla="*/ 2147483647 w 949"/>
              <a:gd name="T45" fmla="*/ 2147483647 h 481"/>
              <a:gd name="T46" fmla="*/ 2147483647 w 949"/>
              <a:gd name="T47" fmla="*/ 2147483647 h 481"/>
              <a:gd name="T48" fmla="*/ 2147483647 w 949"/>
              <a:gd name="T49" fmla="*/ 2147483647 h 481"/>
              <a:gd name="T50" fmla="*/ 2147483647 w 949"/>
              <a:gd name="T51" fmla="*/ 2147483647 h 481"/>
              <a:gd name="T52" fmla="*/ 2147483647 w 949"/>
              <a:gd name="T53" fmla="*/ 2147483647 h 481"/>
              <a:gd name="T54" fmla="*/ 2147483647 w 949"/>
              <a:gd name="T55" fmla="*/ 2147483647 h 481"/>
              <a:gd name="T56" fmla="*/ 2147483647 w 949"/>
              <a:gd name="T57" fmla="*/ 2147483647 h 481"/>
              <a:gd name="T58" fmla="*/ 2147483647 w 949"/>
              <a:gd name="T59" fmla="*/ 2147483647 h 481"/>
              <a:gd name="T60" fmla="*/ 2147483647 w 949"/>
              <a:gd name="T61" fmla="*/ 0 h 481"/>
              <a:gd name="T62" fmla="*/ 2147483647 w 949"/>
              <a:gd name="T63" fmla="*/ 0 h 481"/>
              <a:gd name="T64" fmla="*/ 2147483647 w 949"/>
              <a:gd name="T65" fmla="*/ 2147483647 h 481"/>
              <a:gd name="T66" fmla="*/ 2147483647 w 949"/>
              <a:gd name="T67" fmla="*/ 2147483647 h 481"/>
              <a:gd name="T68" fmla="*/ 2147483647 w 949"/>
              <a:gd name="T69" fmla="*/ 2147483647 h 481"/>
              <a:gd name="T70" fmla="*/ 2147483647 w 949"/>
              <a:gd name="T71" fmla="*/ 2147483647 h 481"/>
              <a:gd name="T72" fmla="*/ 0 w 949"/>
              <a:gd name="T73" fmla="*/ 2147483647 h 481"/>
              <a:gd name="T74" fmla="*/ 0 w 949"/>
              <a:gd name="T75" fmla="*/ 2147483647 h 481"/>
              <a:gd name="T76" fmla="*/ 2147483647 w 949"/>
              <a:gd name="T77" fmla="*/ 2147483647 h 481"/>
              <a:gd name="T78" fmla="*/ 2147483647 w 949"/>
              <a:gd name="T79" fmla="*/ 2147483647 h 481"/>
              <a:gd name="T80" fmla="*/ 2147483647 w 949"/>
              <a:gd name="T81" fmla="*/ 2147483647 h 481"/>
              <a:gd name="T82" fmla="*/ 2147483647 w 949"/>
              <a:gd name="T83" fmla="*/ 2147483647 h 4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49"/>
              <a:gd name="T127" fmla="*/ 0 h 481"/>
              <a:gd name="T128" fmla="*/ 949 w 949"/>
              <a:gd name="T129" fmla="*/ 481 h 4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49" h="481">
                <a:moveTo>
                  <a:pt x="311" y="115"/>
                </a:moveTo>
                <a:lnTo>
                  <a:pt x="327" y="380"/>
                </a:lnTo>
                <a:lnTo>
                  <a:pt x="343" y="380"/>
                </a:lnTo>
                <a:lnTo>
                  <a:pt x="359" y="396"/>
                </a:lnTo>
                <a:lnTo>
                  <a:pt x="376" y="413"/>
                </a:lnTo>
                <a:lnTo>
                  <a:pt x="425" y="413"/>
                </a:lnTo>
                <a:lnTo>
                  <a:pt x="474" y="446"/>
                </a:lnTo>
                <a:lnTo>
                  <a:pt x="490" y="463"/>
                </a:lnTo>
                <a:lnTo>
                  <a:pt x="523" y="446"/>
                </a:lnTo>
                <a:lnTo>
                  <a:pt x="539" y="429"/>
                </a:lnTo>
                <a:lnTo>
                  <a:pt x="539" y="463"/>
                </a:lnTo>
                <a:lnTo>
                  <a:pt x="556" y="463"/>
                </a:lnTo>
                <a:lnTo>
                  <a:pt x="588" y="463"/>
                </a:lnTo>
                <a:lnTo>
                  <a:pt x="621" y="463"/>
                </a:lnTo>
                <a:lnTo>
                  <a:pt x="637" y="480"/>
                </a:lnTo>
                <a:lnTo>
                  <a:pt x="654" y="480"/>
                </a:lnTo>
                <a:lnTo>
                  <a:pt x="654" y="463"/>
                </a:lnTo>
                <a:lnTo>
                  <a:pt x="702" y="463"/>
                </a:lnTo>
                <a:lnTo>
                  <a:pt x="735" y="463"/>
                </a:lnTo>
                <a:lnTo>
                  <a:pt x="833" y="463"/>
                </a:lnTo>
                <a:lnTo>
                  <a:pt x="866" y="446"/>
                </a:lnTo>
                <a:lnTo>
                  <a:pt x="948" y="446"/>
                </a:lnTo>
                <a:lnTo>
                  <a:pt x="948" y="429"/>
                </a:lnTo>
                <a:lnTo>
                  <a:pt x="948" y="396"/>
                </a:lnTo>
                <a:lnTo>
                  <a:pt x="948" y="330"/>
                </a:lnTo>
                <a:lnTo>
                  <a:pt x="948" y="264"/>
                </a:lnTo>
                <a:lnTo>
                  <a:pt x="948" y="215"/>
                </a:lnTo>
                <a:lnTo>
                  <a:pt x="931" y="149"/>
                </a:lnTo>
                <a:lnTo>
                  <a:pt x="931" y="132"/>
                </a:lnTo>
                <a:lnTo>
                  <a:pt x="931" y="66"/>
                </a:lnTo>
                <a:lnTo>
                  <a:pt x="899" y="0"/>
                </a:lnTo>
                <a:lnTo>
                  <a:pt x="800" y="0"/>
                </a:lnTo>
                <a:lnTo>
                  <a:pt x="719" y="16"/>
                </a:lnTo>
                <a:lnTo>
                  <a:pt x="523" y="33"/>
                </a:lnTo>
                <a:lnTo>
                  <a:pt x="311" y="33"/>
                </a:lnTo>
                <a:lnTo>
                  <a:pt x="49" y="49"/>
                </a:lnTo>
                <a:lnTo>
                  <a:pt x="0" y="49"/>
                </a:lnTo>
                <a:lnTo>
                  <a:pt x="0" y="115"/>
                </a:lnTo>
                <a:lnTo>
                  <a:pt x="32" y="115"/>
                </a:lnTo>
                <a:lnTo>
                  <a:pt x="130" y="115"/>
                </a:lnTo>
                <a:lnTo>
                  <a:pt x="228" y="115"/>
                </a:lnTo>
                <a:lnTo>
                  <a:pt x="311" y="115"/>
                </a:lnTo>
              </a:path>
            </a:pathLst>
          </a:custGeom>
          <a:solidFill>
            <a:srgbClr val="00B050"/>
          </a:solidFill>
          <a:ln w="12700" cap="rnd" cmpd="sng">
            <a:solidFill>
              <a:schemeClr val="tx1"/>
            </a:solidFill>
            <a:prstDash val="solid"/>
            <a:round/>
            <a:headEnd type="none" w="sm" len="sm"/>
            <a:tailEnd type="none" w="sm" len="sm"/>
          </a:ln>
        </p:spPr>
        <p:txBody>
          <a:bodyPr/>
          <a:lstStyle/>
          <a:p>
            <a:endParaRPr lang="en-US" dirty="0"/>
          </a:p>
        </p:txBody>
      </p:sp>
      <p:sp>
        <p:nvSpPr>
          <p:cNvPr id="2090" name="Freeform 41"/>
          <p:cNvSpPr>
            <a:spLocks/>
          </p:cNvSpPr>
          <p:nvPr/>
        </p:nvSpPr>
        <p:spPr bwMode="auto">
          <a:xfrm>
            <a:off x="2976563" y="2763441"/>
            <a:ext cx="2386012" cy="1752600"/>
          </a:xfrm>
          <a:custGeom>
            <a:avLst/>
            <a:gdLst>
              <a:gd name="T0" fmla="*/ 2147483647 w 1503"/>
              <a:gd name="T1" fmla="*/ 2147483647 h 1472"/>
              <a:gd name="T2" fmla="*/ 2147483647 w 1503"/>
              <a:gd name="T3" fmla="*/ 2147483647 h 1472"/>
              <a:gd name="T4" fmla="*/ 2147483647 w 1503"/>
              <a:gd name="T5" fmla="*/ 2147483647 h 1472"/>
              <a:gd name="T6" fmla="*/ 2147483647 w 1503"/>
              <a:gd name="T7" fmla="*/ 2147483647 h 1472"/>
              <a:gd name="T8" fmla="*/ 2147483647 w 1503"/>
              <a:gd name="T9" fmla="*/ 2147483647 h 1472"/>
              <a:gd name="T10" fmla="*/ 2147483647 w 1503"/>
              <a:gd name="T11" fmla="*/ 2147483647 h 1472"/>
              <a:gd name="T12" fmla="*/ 2147483647 w 1503"/>
              <a:gd name="T13" fmla="*/ 2147483647 h 1472"/>
              <a:gd name="T14" fmla="*/ 2147483647 w 1503"/>
              <a:gd name="T15" fmla="*/ 2147483647 h 1472"/>
              <a:gd name="T16" fmla="*/ 2147483647 w 1503"/>
              <a:gd name="T17" fmla="*/ 2147483647 h 1472"/>
              <a:gd name="T18" fmla="*/ 2147483647 w 1503"/>
              <a:gd name="T19" fmla="*/ 2147483647 h 1472"/>
              <a:gd name="T20" fmla="*/ 2147483647 w 1503"/>
              <a:gd name="T21" fmla="*/ 2147483647 h 1472"/>
              <a:gd name="T22" fmla="*/ 2147483647 w 1503"/>
              <a:gd name="T23" fmla="*/ 2147483647 h 1472"/>
              <a:gd name="T24" fmla="*/ 2147483647 w 1503"/>
              <a:gd name="T25" fmla="*/ 2147483647 h 1472"/>
              <a:gd name="T26" fmla="*/ 2147483647 w 1503"/>
              <a:gd name="T27" fmla="*/ 2147483647 h 1472"/>
              <a:gd name="T28" fmla="*/ 2147483647 w 1503"/>
              <a:gd name="T29" fmla="*/ 2147483647 h 1472"/>
              <a:gd name="T30" fmla="*/ 2147483647 w 1503"/>
              <a:gd name="T31" fmla="*/ 2147483647 h 1472"/>
              <a:gd name="T32" fmla="*/ 2147483647 w 1503"/>
              <a:gd name="T33" fmla="*/ 2147483647 h 1472"/>
              <a:gd name="T34" fmla="*/ 2147483647 w 1503"/>
              <a:gd name="T35" fmla="*/ 2147483647 h 1472"/>
              <a:gd name="T36" fmla="*/ 2147483647 w 1503"/>
              <a:gd name="T37" fmla="*/ 2147483647 h 1472"/>
              <a:gd name="T38" fmla="*/ 2147483647 w 1503"/>
              <a:gd name="T39" fmla="*/ 2147483647 h 1472"/>
              <a:gd name="T40" fmla="*/ 2147483647 w 1503"/>
              <a:gd name="T41" fmla="*/ 2147483647 h 1472"/>
              <a:gd name="T42" fmla="*/ 2147483647 w 1503"/>
              <a:gd name="T43" fmla="*/ 2147483647 h 1472"/>
              <a:gd name="T44" fmla="*/ 2147483647 w 1503"/>
              <a:gd name="T45" fmla="*/ 2147483647 h 1472"/>
              <a:gd name="T46" fmla="*/ 2147483647 w 1503"/>
              <a:gd name="T47" fmla="*/ 2147483647 h 1472"/>
              <a:gd name="T48" fmla="*/ 2147483647 w 1503"/>
              <a:gd name="T49" fmla="*/ 2147483647 h 1472"/>
              <a:gd name="T50" fmla="*/ 2147483647 w 1503"/>
              <a:gd name="T51" fmla="*/ 2147483647 h 1472"/>
              <a:gd name="T52" fmla="*/ 2147483647 w 1503"/>
              <a:gd name="T53" fmla="*/ 2147483647 h 1472"/>
              <a:gd name="T54" fmla="*/ 2147483647 w 1503"/>
              <a:gd name="T55" fmla="*/ 2147483647 h 1472"/>
              <a:gd name="T56" fmla="*/ 2147483647 w 1503"/>
              <a:gd name="T57" fmla="*/ 2147483647 h 1472"/>
              <a:gd name="T58" fmla="*/ 2147483647 w 1503"/>
              <a:gd name="T59" fmla="*/ 2147483647 h 1472"/>
              <a:gd name="T60" fmla="*/ 2147483647 w 1503"/>
              <a:gd name="T61" fmla="*/ 2147483647 h 1472"/>
              <a:gd name="T62" fmla="*/ 2147483647 w 1503"/>
              <a:gd name="T63" fmla="*/ 2147483647 h 1472"/>
              <a:gd name="T64" fmla="*/ 2147483647 w 1503"/>
              <a:gd name="T65" fmla="*/ 2147483647 h 1472"/>
              <a:gd name="T66" fmla="*/ 2147483647 w 1503"/>
              <a:gd name="T67" fmla="*/ 2147483647 h 1472"/>
              <a:gd name="T68" fmla="*/ 2147483647 w 1503"/>
              <a:gd name="T69" fmla="*/ 2147483647 h 1472"/>
              <a:gd name="T70" fmla="*/ 2147483647 w 1503"/>
              <a:gd name="T71" fmla="*/ 2147483647 h 1472"/>
              <a:gd name="T72" fmla="*/ 2147483647 w 1503"/>
              <a:gd name="T73" fmla="*/ 2147483647 h 1472"/>
              <a:gd name="T74" fmla="*/ 2147483647 w 1503"/>
              <a:gd name="T75" fmla="*/ 2147483647 h 1472"/>
              <a:gd name="T76" fmla="*/ 2147483647 w 1503"/>
              <a:gd name="T77" fmla="*/ 2147483647 h 1472"/>
              <a:gd name="T78" fmla="*/ 2147483647 w 1503"/>
              <a:gd name="T79" fmla="*/ 2147483647 h 1472"/>
              <a:gd name="T80" fmla="*/ 2147483647 w 1503"/>
              <a:gd name="T81" fmla="*/ 2147483647 h 1472"/>
              <a:gd name="T82" fmla="*/ 2147483647 w 1503"/>
              <a:gd name="T83" fmla="*/ 2147483647 h 1472"/>
              <a:gd name="T84" fmla="*/ 2147483647 w 1503"/>
              <a:gd name="T85" fmla="*/ 2147483647 h 1472"/>
              <a:gd name="T86" fmla="*/ 2147483647 w 1503"/>
              <a:gd name="T87" fmla="*/ 2147483647 h 1472"/>
              <a:gd name="T88" fmla="*/ 2147483647 w 1503"/>
              <a:gd name="T89" fmla="*/ 2147483647 h 1472"/>
              <a:gd name="T90" fmla="*/ 2147483647 w 1503"/>
              <a:gd name="T91" fmla="*/ 2147483647 h 1472"/>
              <a:gd name="T92" fmla="*/ 2147483647 w 1503"/>
              <a:gd name="T93" fmla="*/ 2147483647 h 1472"/>
              <a:gd name="T94" fmla="*/ 2147483647 w 1503"/>
              <a:gd name="T95" fmla="*/ 2147483647 h 1472"/>
              <a:gd name="T96" fmla="*/ 2147483647 w 1503"/>
              <a:gd name="T97" fmla="*/ 2147483647 h 1472"/>
              <a:gd name="T98" fmla="*/ 2147483647 w 1503"/>
              <a:gd name="T99" fmla="*/ 2147483647 h 1472"/>
              <a:gd name="T100" fmla="*/ 2147483647 w 1503"/>
              <a:gd name="T101" fmla="*/ 2147483647 h 1472"/>
              <a:gd name="T102" fmla="*/ 2147483647 w 1503"/>
              <a:gd name="T103" fmla="*/ 2147483647 h 1472"/>
              <a:gd name="T104" fmla="*/ 2147483647 w 1503"/>
              <a:gd name="T105" fmla="*/ 2147483647 h 1472"/>
              <a:gd name="T106" fmla="*/ 2147483647 w 1503"/>
              <a:gd name="T107" fmla="*/ 2147483647 h 1472"/>
              <a:gd name="T108" fmla="*/ 2147483647 w 1503"/>
              <a:gd name="T109" fmla="*/ 2147483647 h 1472"/>
              <a:gd name="T110" fmla="*/ 2147483647 w 1503"/>
              <a:gd name="T111" fmla="*/ 2147483647 h 1472"/>
              <a:gd name="T112" fmla="*/ 2147483647 w 1503"/>
              <a:gd name="T113" fmla="*/ 0 h 1472"/>
              <a:gd name="T114" fmla="*/ 2147483647 w 1503"/>
              <a:gd name="T115" fmla="*/ 0 h 147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03"/>
              <a:gd name="T175" fmla="*/ 0 h 1472"/>
              <a:gd name="T176" fmla="*/ 1503 w 1503"/>
              <a:gd name="T177" fmla="*/ 1472 h 147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03" h="1472">
                <a:moveTo>
                  <a:pt x="751" y="0"/>
                </a:moveTo>
                <a:lnTo>
                  <a:pt x="767" y="264"/>
                </a:lnTo>
                <a:lnTo>
                  <a:pt x="783" y="264"/>
                </a:lnTo>
                <a:lnTo>
                  <a:pt x="799" y="281"/>
                </a:lnTo>
                <a:lnTo>
                  <a:pt x="816" y="298"/>
                </a:lnTo>
                <a:lnTo>
                  <a:pt x="865" y="298"/>
                </a:lnTo>
                <a:lnTo>
                  <a:pt x="914" y="330"/>
                </a:lnTo>
                <a:lnTo>
                  <a:pt x="930" y="347"/>
                </a:lnTo>
                <a:lnTo>
                  <a:pt x="963" y="330"/>
                </a:lnTo>
                <a:lnTo>
                  <a:pt x="980" y="313"/>
                </a:lnTo>
                <a:lnTo>
                  <a:pt x="980" y="347"/>
                </a:lnTo>
                <a:lnTo>
                  <a:pt x="996" y="347"/>
                </a:lnTo>
                <a:lnTo>
                  <a:pt x="1028" y="347"/>
                </a:lnTo>
                <a:lnTo>
                  <a:pt x="1061" y="347"/>
                </a:lnTo>
                <a:lnTo>
                  <a:pt x="1077" y="364"/>
                </a:lnTo>
                <a:lnTo>
                  <a:pt x="1094" y="364"/>
                </a:lnTo>
                <a:lnTo>
                  <a:pt x="1094" y="347"/>
                </a:lnTo>
                <a:lnTo>
                  <a:pt x="1142" y="347"/>
                </a:lnTo>
                <a:lnTo>
                  <a:pt x="1175" y="347"/>
                </a:lnTo>
                <a:lnTo>
                  <a:pt x="1273" y="347"/>
                </a:lnTo>
                <a:lnTo>
                  <a:pt x="1306" y="330"/>
                </a:lnTo>
                <a:lnTo>
                  <a:pt x="1387" y="330"/>
                </a:lnTo>
                <a:lnTo>
                  <a:pt x="1437" y="347"/>
                </a:lnTo>
                <a:lnTo>
                  <a:pt x="1453" y="396"/>
                </a:lnTo>
                <a:lnTo>
                  <a:pt x="1453" y="430"/>
                </a:lnTo>
                <a:lnTo>
                  <a:pt x="1453" y="529"/>
                </a:lnTo>
                <a:lnTo>
                  <a:pt x="1453" y="562"/>
                </a:lnTo>
                <a:lnTo>
                  <a:pt x="1453" y="578"/>
                </a:lnTo>
                <a:lnTo>
                  <a:pt x="1469" y="595"/>
                </a:lnTo>
                <a:lnTo>
                  <a:pt x="1485" y="612"/>
                </a:lnTo>
                <a:lnTo>
                  <a:pt x="1485" y="627"/>
                </a:lnTo>
                <a:lnTo>
                  <a:pt x="1502" y="644"/>
                </a:lnTo>
                <a:lnTo>
                  <a:pt x="1502" y="678"/>
                </a:lnTo>
                <a:lnTo>
                  <a:pt x="1502" y="694"/>
                </a:lnTo>
                <a:lnTo>
                  <a:pt x="1502" y="710"/>
                </a:lnTo>
                <a:lnTo>
                  <a:pt x="1502" y="727"/>
                </a:lnTo>
                <a:lnTo>
                  <a:pt x="1502" y="744"/>
                </a:lnTo>
                <a:lnTo>
                  <a:pt x="1502" y="760"/>
                </a:lnTo>
                <a:lnTo>
                  <a:pt x="1502" y="793"/>
                </a:lnTo>
                <a:lnTo>
                  <a:pt x="1502" y="810"/>
                </a:lnTo>
                <a:lnTo>
                  <a:pt x="1485" y="843"/>
                </a:lnTo>
                <a:lnTo>
                  <a:pt x="1485" y="859"/>
                </a:lnTo>
                <a:lnTo>
                  <a:pt x="1502" y="892"/>
                </a:lnTo>
                <a:lnTo>
                  <a:pt x="1485" y="926"/>
                </a:lnTo>
                <a:lnTo>
                  <a:pt x="1469" y="958"/>
                </a:lnTo>
                <a:lnTo>
                  <a:pt x="1453" y="958"/>
                </a:lnTo>
                <a:lnTo>
                  <a:pt x="1420" y="942"/>
                </a:lnTo>
                <a:lnTo>
                  <a:pt x="1437" y="909"/>
                </a:lnTo>
                <a:lnTo>
                  <a:pt x="1420" y="909"/>
                </a:lnTo>
                <a:lnTo>
                  <a:pt x="1404" y="958"/>
                </a:lnTo>
                <a:lnTo>
                  <a:pt x="1420" y="958"/>
                </a:lnTo>
                <a:lnTo>
                  <a:pt x="1404" y="1009"/>
                </a:lnTo>
                <a:lnTo>
                  <a:pt x="1371" y="1041"/>
                </a:lnTo>
                <a:lnTo>
                  <a:pt x="1208" y="1140"/>
                </a:lnTo>
                <a:lnTo>
                  <a:pt x="1208" y="1107"/>
                </a:lnTo>
                <a:lnTo>
                  <a:pt x="1225" y="1107"/>
                </a:lnTo>
                <a:lnTo>
                  <a:pt x="1256" y="1090"/>
                </a:lnTo>
                <a:lnTo>
                  <a:pt x="1208" y="1090"/>
                </a:lnTo>
                <a:lnTo>
                  <a:pt x="1192" y="1090"/>
                </a:lnTo>
                <a:lnTo>
                  <a:pt x="1175" y="1140"/>
                </a:lnTo>
                <a:lnTo>
                  <a:pt x="1159" y="1140"/>
                </a:lnTo>
                <a:lnTo>
                  <a:pt x="1142" y="1140"/>
                </a:lnTo>
                <a:lnTo>
                  <a:pt x="1142" y="1190"/>
                </a:lnTo>
                <a:lnTo>
                  <a:pt x="1094" y="1190"/>
                </a:lnTo>
                <a:lnTo>
                  <a:pt x="1094" y="1256"/>
                </a:lnTo>
                <a:lnTo>
                  <a:pt x="1094" y="1289"/>
                </a:lnTo>
                <a:lnTo>
                  <a:pt x="1094" y="1323"/>
                </a:lnTo>
                <a:lnTo>
                  <a:pt x="1094" y="1338"/>
                </a:lnTo>
                <a:lnTo>
                  <a:pt x="1126" y="1372"/>
                </a:lnTo>
                <a:lnTo>
                  <a:pt x="1126" y="1404"/>
                </a:lnTo>
                <a:lnTo>
                  <a:pt x="1142" y="1404"/>
                </a:lnTo>
                <a:lnTo>
                  <a:pt x="1159" y="1455"/>
                </a:lnTo>
                <a:lnTo>
                  <a:pt x="1126" y="1455"/>
                </a:lnTo>
                <a:lnTo>
                  <a:pt x="1110" y="1471"/>
                </a:lnTo>
                <a:lnTo>
                  <a:pt x="1061" y="1455"/>
                </a:lnTo>
                <a:lnTo>
                  <a:pt x="1028" y="1455"/>
                </a:lnTo>
                <a:lnTo>
                  <a:pt x="963" y="1421"/>
                </a:lnTo>
                <a:lnTo>
                  <a:pt x="914" y="1404"/>
                </a:lnTo>
                <a:lnTo>
                  <a:pt x="897" y="1372"/>
                </a:lnTo>
                <a:lnTo>
                  <a:pt x="865" y="1323"/>
                </a:lnTo>
                <a:lnTo>
                  <a:pt x="865" y="1289"/>
                </a:lnTo>
                <a:lnTo>
                  <a:pt x="849" y="1240"/>
                </a:lnTo>
                <a:lnTo>
                  <a:pt x="832" y="1223"/>
                </a:lnTo>
                <a:lnTo>
                  <a:pt x="799" y="1190"/>
                </a:lnTo>
                <a:lnTo>
                  <a:pt x="767" y="1140"/>
                </a:lnTo>
                <a:lnTo>
                  <a:pt x="735" y="1107"/>
                </a:lnTo>
                <a:lnTo>
                  <a:pt x="702" y="1041"/>
                </a:lnTo>
                <a:lnTo>
                  <a:pt x="685" y="1009"/>
                </a:lnTo>
                <a:lnTo>
                  <a:pt x="653" y="1009"/>
                </a:lnTo>
                <a:lnTo>
                  <a:pt x="637" y="975"/>
                </a:lnTo>
                <a:lnTo>
                  <a:pt x="604" y="958"/>
                </a:lnTo>
                <a:lnTo>
                  <a:pt x="571" y="958"/>
                </a:lnTo>
                <a:lnTo>
                  <a:pt x="506" y="942"/>
                </a:lnTo>
                <a:lnTo>
                  <a:pt x="506" y="958"/>
                </a:lnTo>
                <a:lnTo>
                  <a:pt x="457" y="975"/>
                </a:lnTo>
                <a:lnTo>
                  <a:pt x="424" y="1041"/>
                </a:lnTo>
                <a:lnTo>
                  <a:pt x="392" y="1041"/>
                </a:lnTo>
                <a:lnTo>
                  <a:pt x="342" y="1009"/>
                </a:lnTo>
                <a:lnTo>
                  <a:pt x="277" y="975"/>
                </a:lnTo>
                <a:lnTo>
                  <a:pt x="261" y="958"/>
                </a:lnTo>
                <a:lnTo>
                  <a:pt x="228" y="892"/>
                </a:lnTo>
                <a:lnTo>
                  <a:pt x="228" y="859"/>
                </a:lnTo>
                <a:lnTo>
                  <a:pt x="228" y="826"/>
                </a:lnTo>
                <a:lnTo>
                  <a:pt x="180" y="810"/>
                </a:lnTo>
                <a:lnTo>
                  <a:pt x="147" y="760"/>
                </a:lnTo>
                <a:lnTo>
                  <a:pt x="114" y="744"/>
                </a:lnTo>
                <a:lnTo>
                  <a:pt x="97" y="727"/>
                </a:lnTo>
                <a:lnTo>
                  <a:pt x="65" y="694"/>
                </a:lnTo>
                <a:lnTo>
                  <a:pt x="49" y="694"/>
                </a:lnTo>
                <a:lnTo>
                  <a:pt x="16" y="661"/>
                </a:lnTo>
                <a:lnTo>
                  <a:pt x="0" y="627"/>
                </a:lnTo>
                <a:lnTo>
                  <a:pt x="424" y="627"/>
                </a:lnTo>
                <a:lnTo>
                  <a:pt x="424" y="0"/>
                </a:lnTo>
                <a:lnTo>
                  <a:pt x="473" y="0"/>
                </a:lnTo>
                <a:lnTo>
                  <a:pt x="571" y="0"/>
                </a:lnTo>
                <a:lnTo>
                  <a:pt x="669" y="0"/>
                </a:lnTo>
                <a:lnTo>
                  <a:pt x="751" y="0"/>
                </a:lnTo>
              </a:path>
            </a:pathLst>
          </a:custGeom>
          <a:solidFill>
            <a:srgbClr val="00B050"/>
          </a:solidFill>
          <a:ln w="12700" cap="rnd" cmpd="sng">
            <a:solidFill>
              <a:schemeClr val="tx1"/>
            </a:solidFill>
            <a:prstDash val="solid"/>
            <a:round/>
            <a:headEnd type="none" w="sm" len="sm"/>
            <a:tailEnd type="none" w="sm" len="sm"/>
          </a:ln>
        </p:spPr>
        <p:txBody>
          <a:bodyPr/>
          <a:lstStyle/>
          <a:p>
            <a:endParaRPr lang="en-US" dirty="0"/>
          </a:p>
        </p:txBody>
      </p:sp>
      <p:sp>
        <p:nvSpPr>
          <p:cNvPr id="2091" name="Freeform 42"/>
          <p:cNvSpPr>
            <a:spLocks/>
          </p:cNvSpPr>
          <p:nvPr/>
        </p:nvSpPr>
        <p:spPr bwMode="auto">
          <a:xfrm>
            <a:off x="1550988" y="2568178"/>
            <a:ext cx="1063625" cy="1004888"/>
          </a:xfrm>
          <a:custGeom>
            <a:avLst/>
            <a:gdLst>
              <a:gd name="T0" fmla="*/ 2147483647 w 670"/>
              <a:gd name="T1" fmla="*/ 2147483647 h 844"/>
              <a:gd name="T2" fmla="*/ 2147483647 w 670"/>
              <a:gd name="T3" fmla="*/ 2147483647 h 844"/>
              <a:gd name="T4" fmla="*/ 2147483647 w 670"/>
              <a:gd name="T5" fmla="*/ 2147483647 h 844"/>
              <a:gd name="T6" fmla="*/ 2147483647 w 670"/>
              <a:gd name="T7" fmla="*/ 2147483647 h 844"/>
              <a:gd name="T8" fmla="*/ 2147483647 w 670"/>
              <a:gd name="T9" fmla="*/ 2147483647 h 844"/>
              <a:gd name="T10" fmla="*/ 2147483647 w 670"/>
              <a:gd name="T11" fmla="*/ 0 h 844"/>
              <a:gd name="T12" fmla="*/ 2147483647 w 670"/>
              <a:gd name="T13" fmla="*/ 2147483647 h 844"/>
              <a:gd name="T14" fmla="*/ 2147483647 w 670"/>
              <a:gd name="T15" fmla="*/ 2147483647 h 844"/>
              <a:gd name="T16" fmla="*/ 2147483647 w 670"/>
              <a:gd name="T17" fmla="*/ 2147483647 h 844"/>
              <a:gd name="T18" fmla="*/ 2147483647 w 670"/>
              <a:gd name="T19" fmla="*/ 2147483647 h 844"/>
              <a:gd name="T20" fmla="*/ 2147483647 w 670"/>
              <a:gd name="T21" fmla="*/ 2147483647 h 844"/>
              <a:gd name="T22" fmla="*/ 2147483647 w 670"/>
              <a:gd name="T23" fmla="*/ 2147483647 h 844"/>
              <a:gd name="T24" fmla="*/ 2147483647 w 670"/>
              <a:gd name="T25" fmla="*/ 2147483647 h 844"/>
              <a:gd name="T26" fmla="*/ 2147483647 w 670"/>
              <a:gd name="T27" fmla="*/ 2147483647 h 844"/>
              <a:gd name="T28" fmla="*/ 2147483647 w 670"/>
              <a:gd name="T29" fmla="*/ 2147483647 h 844"/>
              <a:gd name="T30" fmla="*/ 2147483647 w 670"/>
              <a:gd name="T31" fmla="*/ 2147483647 h 844"/>
              <a:gd name="T32" fmla="*/ 2147483647 w 670"/>
              <a:gd name="T33" fmla="*/ 2147483647 h 844"/>
              <a:gd name="T34" fmla="*/ 2147483647 w 670"/>
              <a:gd name="T35" fmla="*/ 2147483647 h 844"/>
              <a:gd name="T36" fmla="*/ 2147483647 w 670"/>
              <a:gd name="T37" fmla="*/ 2147483647 h 844"/>
              <a:gd name="T38" fmla="*/ 2147483647 w 670"/>
              <a:gd name="T39" fmla="*/ 2147483647 h 844"/>
              <a:gd name="T40" fmla="*/ 2147483647 w 670"/>
              <a:gd name="T41" fmla="*/ 2147483647 h 844"/>
              <a:gd name="T42" fmla="*/ 2147483647 w 670"/>
              <a:gd name="T43" fmla="*/ 2147483647 h 844"/>
              <a:gd name="T44" fmla="*/ 0 w 670"/>
              <a:gd name="T45" fmla="*/ 2147483647 h 844"/>
              <a:gd name="T46" fmla="*/ 2147483647 w 670"/>
              <a:gd name="T47" fmla="*/ 2147483647 h 844"/>
              <a:gd name="T48" fmla="*/ 2147483647 w 670"/>
              <a:gd name="T49" fmla="*/ 2147483647 h 844"/>
              <a:gd name="T50" fmla="*/ 2147483647 w 670"/>
              <a:gd name="T51" fmla="*/ 2147483647 h 844"/>
              <a:gd name="T52" fmla="*/ 0 w 670"/>
              <a:gd name="T53" fmla="*/ 2147483647 h 844"/>
              <a:gd name="T54" fmla="*/ 2147483647 w 670"/>
              <a:gd name="T55" fmla="*/ 2147483647 h 844"/>
              <a:gd name="T56" fmla="*/ 2147483647 w 670"/>
              <a:gd name="T57" fmla="*/ 2147483647 h 844"/>
              <a:gd name="T58" fmla="*/ 2147483647 w 670"/>
              <a:gd name="T59" fmla="*/ 2147483647 h 844"/>
              <a:gd name="T60" fmla="*/ 2147483647 w 670"/>
              <a:gd name="T61" fmla="*/ 2147483647 h 8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70"/>
              <a:gd name="T94" fmla="*/ 0 h 844"/>
              <a:gd name="T95" fmla="*/ 670 w 670"/>
              <a:gd name="T96" fmla="*/ 844 h 8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70" h="844">
                <a:moveTo>
                  <a:pt x="669" y="66"/>
                </a:moveTo>
                <a:lnTo>
                  <a:pt x="554" y="66"/>
                </a:lnTo>
                <a:lnTo>
                  <a:pt x="456" y="49"/>
                </a:lnTo>
                <a:lnTo>
                  <a:pt x="359" y="32"/>
                </a:lnTo>
                <a:lnTo>
                  <a:pt x="244" y="16"/>
                </a:lnTo>
                <a:lnTo>
                  <a:pt x="130" y="0"/>
                </a:lnTo>
                <a:lnTo>
                  <a:pt x="130" y="98"/>
                </a:lnTo>
                <a:lnTo>
                  <a:pt x="130" y="115"/>
                </a:lnTo>
                <a:lnTo>
                  <a:pt x="97" y="132"/>
                </a:lnTo>
                <a:lnTo>
                  <a:pt x="64" y="98"/>
                </a:lnTo>
                <a:lnTo>
                  <a:pt x="64" y="132"/>
                </a:lnTo>
                <a:lnTo>
                  <a:pt x="64" y="181"/>
                </a:lnTo>
                <a:lnTo>
                  <a:pt x="64" y="198"/>
                </a:lnTo>
                <a:lnTo>
                  <a:pt x="64" y="247"/>
                </a:lnTo>
                <a:lnTo>
                  <a:pt x="48" y="264"/>
                </a:lnTo>
                <a:lnTo>
                  <a:pt x="64" y="281"/>
                </a:lnTo>
                <a:lnTo>
                  <a:pt x="64" y="330"/>
                </a:lnTo>
                <a:lnTo>
                  <a:pt x="64" y="363"/>
                </a:lnTo>
                <a:lnTo>
                  <a:pt x="48" y="380"/>
                </a:lnTo>
                <a:lnTo>
                  <a:pt x="48" y="429"/>
                </a:lnTo>
                <a:lnTo>
                  <a:pt x="32" y="462"/>
                </a:lnTo>
                <a:lnTo>
                  <a:pt x="16" y="462"/>
                </a:lnTo>
                <a:lnTo>
                  <a:pt x="0" y="512"/>
                </a:lnTo>
                <a:lnTo>
                  <a:pt x="16" y="512"/>
                </a:lnTo>
                <a:lnTo>
                  <a:pt x="16" y="544"/>
                </a:lnTo>
                <a:lnTo>
                  <a:pt x="16" y="561"/>
                </a:lnTo>
                <a:lnTo>
                  <a:pt x="0" y="578"/>
                </a:lnTo>
                <a:lnTo>
                  <a:pt x="16" y="627"/>
                </a:lnTo>
                <a:lnTo>
                  <a:pt x="391" y="843"/>
                </a:lnTo>
                <a:lnTo>
                  <a:pt x="604" y="843"/>
                </a:lnTo>
                <a:lnTo>
                  <a:pt x="669" y="66"/>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2" name="Freeform 43"/>
          <p:cNvSpPr>
            <a:spLocks/>
          </p:cNvSpPr>
          <p:nvPr/>
        </p:nvSpPr>
        <p:spPr bwMode="auto">
          <a:xfrm>
            <a:off x="228601" y="1465660"/>
            <a:ext cx="1427163" cy="1791890"/>
          </a:xfrm>
          <a:custGeom>
            <a:avLst/>
            <a:gdLst>
              <a:gd name="T0" fmla="*/ 2147483647 w 899"/>
              <a:gd name="T1" fmla="*/ 2147483647 h 1505"/>
              <a:gd name="T2" fmla="*/ 2147483647 w 899"/>
              <a:gd name="T3" fmla="*/ 2147483647 h 1505"/>
              <a:gd name="T4" fmla="*/ 2147483647 w 899"/>
              <a:gd name="T5" fmla="*/ 2147483647 h 1505"/>
              <a:gd name="T6" fmla="*/ 0 w 899"/>
              <a:gd name="T7" fmla="*/ 2147483647 h 1505"/>
              <a:gd name="T8" fmla="*/ 2147483647 w 899"/>
              <a:gd name="T9" fmla="*/ 2147483647 h 1505"/>
              <a:gd name="T10" fmla="*/ 2147483647 w 899"/>
              <a:gd name="T11" fmla="*/ 2147483647 h 1505"/>
              <a:gd name="T12" fmla="*/ 2147483647 w 899"/>
              <a:gd name="T13" fmla="*/ 2147483647 h 1505"/>
              <a:gd name="T14" fmla="*/ 2147483647 w 899"/>
              <a:gd name="T15" fmla="*/ 2147483647 h 1505"/>
              <a:gd name="T16" fmla="*/ 2147483647 w 899"/>
              <a:gd name="T17" fmla="*/ 2147483647 h 1505"/>
              <a:gd name="T18" fmla="*/ 2147483647 w 899"/>
              <a:gd name="T19" fmla="*/ 2147483647 h 1505"/>
              <a:gd name="T20" fmla="*/ 2147483647 w 899"/>
              <a:gd name="T21" fmla="*/ 2147483647 h 1505"/>
              <a:gd name="T22" fmla="*/ 2147483647 w 899"/>
              <a:gd name="T23" fmla="*/ 2147483647 h 1505"/>
              <a:gd name="T24" fmla="*/ 2147483647 w 899"/>
              <a:gd name="T25" fmla="*/ 2147483647 h 1505"/>
              <a:gd name="T26" fmla="*/ 2147483647 w 899"/>
              <a:gd name="T27" fmla="*/ 2147483647 h 1505"/>
              <a:gd name="T28" fmla="*/ 2147483647 w 899"/>
              <a:gd name="T29" fmla="*/ 2147483647 h 1505"/>
              <a:gd name="T30" fmla="*/ 2147483647 w 899"/>
              <a:gd name="T31" fmla="*/ 2147483647 h 1505"/>
              <a:gd name="T32" fmla="*/ 2147483647 w 899"/>
              <a:gd name="T33" fmla="*/ 2147483647 h 1505"/>
              <a:gd name="T34" fmla="*/ 2147483647 w 899"/>
              <a:gd name="T35" fmla="*/ 2147483647 h 1505"/>
              <a:gd name="T36" fmla="*/ 2147483647 w 899"/>
              <a:gd name="T37" fmla="*/ 2147483647 h 1505"/>
              <a:gd name="T38" fmla="*/ 2147483647 w 899"/>
              <a:gd name="T39" fmla="*/ 2147483647 h 1505"/>
              <a:gd name="T40" fmla="*/ 2147483647 w 899"/>
              <a:gd name="T41" fmla="*/ 2147483647 h 1505"/>
              <a:gd name="T42" fmla="*/ 2147483647 w 899"/>
              <a:gd name="T43" fmla="*/ 2147483647 h 1505"/>
              <a:gd name="T44" fmla="*/ 2147483647 w 899"/>
              <a:gd name="T45" fmla="*/ 2147483647 h 1505"/>
              <a:gd name="T46" fmla="*/ 2147483647 w 899"/>
              <a:gd name="T47" fmla="*/ 2147483647 h 1505"/>
              <a:gd name="T48" fmla="*/ 2147483647 w 899"/>
              <a:gd name="T49" fmla="*/ 2147483647 h 1505"/>
              <a:gd name="T50" fmla="*/ 2147483647 w 899"/>
              <a:gd name="T51" fmla="*/ 2147483647 h 1505"/>
              <a:gd name="T52" fmla="*/ 2147483647 w 899"/>
              <a:gd name="T53" fmla="*/ 2147483647 h 1505"/>
              <a:gd name="T54" fmla="*/ 2147483647 w 899"/>
              <a:gd name="T55" fmla="*/ 2147483647 h 1505"/>
              <a:gd name="T56" fmla="*/ 2147483647 w 899"/>
              <a:gd name="T57" fmla="*/ 2147483647 h 1505"/>
              <a:gd name="T58" fmla="*/ 2147483647 w 899"/>
              <a:gd name="T59" fmla="*/ 2147483647 h 1505"/>
              <a:gd name="T60" fmla="*/ 2147483647 w 899"/>
              <a:gd name="T61" fmla="*/ 2147483647 h 1505"/>
              <a:gd name="T62" fmla="*/ 2147483647 w 899"/>
              <a:gd name="T63" fmla="*/ 2147483647 h 1505"/>
              <a:gd name="T64" fmla="*/ 2147483647 w 899"/>
              <a:gd name="T65" fmla="*/ 0 h 15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99"/>
              <a:gd name="T100" fmla="*/ 0 h 1505"/>
              <a:gd name="T101" fmla="*/ 899 w 899"/>
              <a:gd name="T102" fmla="*/ 1505 h 15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99" h="1505">
                <a:moveTo>
                  <a:pt x="49" y="0"/>
                </a:moveTo>
                <a:lnTo>
                  <a:pt x="64" y="50"/>
                </a:lnTo>
                <a:lnTo>
                  <a:pt x="81" y="82"/>
                </a:lnTo>
                <a:lnTo>
                  <a:pt x="64" y="116"/>
                </a:lnTo>
                <a:lnTo>
                  <a:pt x="81" y="132"/>
                </a:lnTo>
                <a:lnTo>
                  <a:pt x="49" y="165"/>
                </a:lnTo>
                <a:lnTo>
                  <a:pt x="49" y="198"/>
                </a:lnTo>
                <a:lnTo>
                  <a:pt x="0" y="264"/>
                </a:lnTo>
                <a:lnTo>
                  <a:pt x="16" y="281"/>
                </a:lnTo>
                <a:lnTo>
                  <a:pt x="32" y="347"/>
                </a:lnTo>
                <a:lnTo>
                  <a:pt x="32" y="528"/>
                </a:lnTo>
                <a:lnTo>
                  <a:pt x="81" y="595"/>
                </a:lnTo>
                <a:lnTo>
                  <a:pt x="81" y="644"/>
                </a:lnTo>
                <a:lnTo>
                  <a:pt x="130" y="628"/>
                </a:lnTo>
                <a:lnTo>
                  <a:pt x="147" y="611"/>
                </a:lnTo>
                <a:lnTo>
                  <a:pt x="147" y="644"/>
                </a:lnTo>
                <a:lnTo>
                  <a:pt x="147" y="661"/>
                </a:lnTo>
                <a:lnTo>
                  <a:pt x="147" y="678"/>
                </a:lnTo>
                <a:lnTo>
                  <a:pt x="147" y="694"/>
                </a:lnTo>
                <a:lnTo>
                  <a:pt x="130" y="727"/>
                </a:lnTo>
                <a:lnTo>
                  <a:pt x="130" y="776"/>
                </a:lnTo>
                <a:lnTo>
                  <a:pt x="163" y="810"/>
                </a:lnTo>
                <a:lnTo>
                  <a:pt x="163" y="825"/>
                </a:lnTo>
                <a:lnTo>
                  <a:pt x="147" y="859"/>
                </a:lnTo>
                <a:lnTo>
                  <a:pt x="147" y="876"/>
                </a:lnTo>
                <a:lnTo>
                  <a:pt x="147" y="908"/>
                </a:lnTo>
                <a:lnTo>
                  <a:pt x="179" y="942"/>
                </a:lnTo>
                <a:lnTo>
                  <a:pt x="179" y="991"/>
                </a:lnTo>
                <a:lnTo>
                  <a:pt x="195" y="1024"/>
                </a:lnTo>
                <a:lnTo>
                  <a:pt x="228" y="1024"/>
                </a:lnTo>
                <a:lnTo>
                  <a:pt x="228" y="1090"/>
                </a:lnTo>
                <a:lnTo>
                  <a:pt x="228" y="1124"/>
                </a:lnTo>
                <a:lnTo>
                  <a:pt x="245" y="1156"/>
                </a:lnTo>
                <a:lnTo>
                  <a:pt x="309" y="1173"/>
                </a:lnTo>
                <a:lnTo>
                  <a:pt x="342" y="1173"/>
                </a:lnTo>
                <a:lnTo>
                  <a:pt x="375" y="1207"/>
                </a:lnTo>
                <a:lnTo>
                  <a:pt x="392" y="1256"/>
                </a:lnTo>
                <a:lnTo>
                  <a:pt x="440" y="1256"/>
                </a:lnTo>
                <a:lnTo>
                  <a:pt x="457" y="1288"/>
                </a:lnTo>
                <a:lnTo>
                  <a:pt x="457" y="1305"/>
                </a:lnTo>
                <a:lnTo>
                  <a:pt x="490" y="1338"/>
                </a:lnTo>
                <a:lnTo>
                  <a:pt x="506" y="1338"/>
                </a:lnTo>
                <a:lnTo>
                  <a:pt x="555" y="1404"/>
                </a:lnTo>
                <a:lnTo>
                  <a:pt x="555" y="1454"/>
                </a:lnTo>
                <a:lnTo>
                  <a:pt x="555" y="1487"/>
                </a:lnTo>
                <a:lnTo>
                  <a:pt x="833" y="1504"/>
                </a:lnTo>
                <a:lnTo>
                  <a:pt x="849" y="1487"/>
                </a:lnTo>
                <a:lnTo>
                  <a:pt x="849" y="1470"/>
                </a:lnTo>
                <a:lnTo>
                  <a:pt x="849" y="1437"/>
                </a:lnTo>
                <a:lnTo>
                  <a:pt x="833" y="1437"/>
                </a:lnTo>
                <a:lnTo>
                  <a:pt x="849" y="1388"/>
                </a:lnTo>
                <a:lnTo>
                  <a:pt x="866" y="1388"/>
                </a:lnTo>
                <a:lnTo>
                  <a:pt x="881" y="1354"/>
                </a:lnTo>
                <a:lnTo>
                  <a:pt x="881" y="1305"/>
                </a:lnTo>
                <a:lnTo>
                  <a:pt x="898" y="1288"/>
                </a:lnTo>
                <a:lnTo>
                  <a:pt x="898" y="1256"/>
                </a:lnTo>
                <a:lnTo>
                  <a:pt x="898" y="1207"/>
                </a:lnTo>
                <a:lnTo>
                  <a:pt x="881" y="1190"/>
                </a:lnTo>
                <a:lnTo>
                  <a:pt x="881" y="1173"/>
                </a:lnTo>
                <a:lnTo>
                  <a:pt x="407" y="528"/>
                </a:lnTo>
                <a:lnTo>
                  <a:pt x="490" y="182"/>
                </a:lnTo>
                <a:lnTo>
                  <a:pt x="506" y="132"/>
                </a:lnTo>
                <a:lnTo>
                  <a:pt x="342" y="99"/>
                </a:lnTo>
                <a:lnTo>
                  <a:pt x="179" y="50"/>
                </a:lnTo>
                <a:lnTo>
                  <a:pt x="64" y="16"/>
                </a:lnTo>
                <a:lnTo>
                  <a:pt x="49" y="0"/>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3" name="Freeform 44"/>
          <p:cNvSpPr>
            <a:spLocks/>
          </p:cNvSpPr>
          <p:nvPr/>
        </p:nvSpPr>
        <p:spPr bwMode="auto">
          <a:xfrm>
            <a:off x="3546475" y="659607"/>
            <a:ext cx="1143000" cy="532210"/>
          </a:xfrm>
          <a:custGeom>
            <a:avLst/>
            <a:gdLst>
              <a:gd name="T0" fmla="*/ 0 w 720"/>
              <a:gd name="T1" fmla="*/ 2147483647 h 447"/>
              <a:gd name="T2" fmla="*/ 2147483647 w 720"/>
              <a:gd name="T3" fmla="*/ 2147483647 h 447"/>
              <a:gd name="T4" fmla="*/ 2147483647 w 720"/>
              <a:gd name="T5" fmla="*/ 2147483647 h 447"/>
              <a:gd name="T6" fmla="*/ 2147483647 w 720"/>
              <a:gd name="T7" fmla="*/ 2147483647 h 447"/>
              <a:gd name="T8" fmla="*/ 2147483647 w 720"/>
              <a:gd name="T9" fmla="*/ 2147483647 h 447"/>
              <a:gd name="T10" fmla="*/ 2147483647 w 720"/>
              <a:gd name="T11" fmla="*/ 0 h 447"/>
              <a:gd name="T12" fmla="*/ 2147483647 w 720"/>
              <a:gd name="T13" fmla="*/ 2147483647 h 447"/>
              <a:gd name="T14" fmla="*/ 2147483647 w 720"/>
              <a:gd name="T15" fmla="*/ 2147483647 h 447"/>
              <a:gd name="T16" fmla="*/ 2147483647 w 720"/>
              <a:gd name="T17" fmla="*/ 2147483647 h 447"/>
              <a:gd name="T18" fmla="*/ 2147483647 w 720"/>
              <a:gd name="T19" fmla="*/ 2147483647 h 447"/>
              <a:gd name="T20" fmla="*/ 2147483647 w 720"/>
              <a:gd name="T21" fmla="*/ 2147483647 h 447"/>
              <a:gd name="T22" fmla="*/ 2147483647 w 720"/>
              <a:gd name="T23" fmla="*/ 2147483647 h 447"/>
              <a:gd name="T24" fmla="*/ 2147483647 w 720"/>
              <a:gd name="T25" fmla="*/ 2147483647 h 447"/>
              <a:gd name="T26" fmla="*/ 2147483647 w 720"/>
              <a:gd name="T27" fmla="*/ 2147483647 h 447"/>
              <a:gd name="T28" fmla="*/ 2147483647 w 720"/>
              <a:gd name="T29" fmla="*/ 2147483647 h 447"/>
              <a:gd name="T30" fmla="*/ 2147483647 w 720"/>
              <a:gd name="T31" fmla="*/ 2147483647 h 447"/>
              <a:gd name="T32" fmla="*/ 2147483647 w 720"/>
              <a:gd name="T33" fmla="*/ 2147483647 h 447"/>
              <a:gd name="T34" fmla="*/ 2147483647 w 720"/>
              <a:gd name="T35" fmla="*/ 2147483647 h 447"/>
              <a:gd name="T36" fmla="*/ 2147483647 w 720"/>
              <a:gd name="T37" fmla="*/ 2147483647 h 447"/>
              <a:gd name="T38" fmla="*/ 0 w 720"/>
              <a:gd name="T39" fmla="*/ 2147483647 h 447"/>
              <a:gd name="T40" fmla="*/ 0 w 720"/>
              <a:gd name="T41" fmla="*/ 2147483647 h 4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20"/>
              <a:gd name="T64" fmla="*/ 0 h 447"/>
              <a:gd name="T65" fmla="*/ 720 w 720"/>
              <a:gd name="T66" fmla="*/ 447 h 4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20" h="447">
                <a:moveTo>
                  <a:pt x="0" y="33"/>
                </a:moveTo>
                <a:lnTo>
                  <a:pt x="212" y="33"/>
                </a:lnTo>
                <a:lnTo>
                  <a:pt x="359" y="33"/>
                </a:lnTo>
                <a:lnTo>
                  <a:pt x="490" y="33"/>
                </a:lnTo>
                <a:lnTo>
                  <a:pt x="604" y="16"/>
                </a:lnTo>
                <a:lnTo>
                  <a:pt x="637" y="0"/>
                </a:lnTo>
                <a:lnTo>
                  <a:pt x="653" y="16"/>
                </a:lnTo>
                <a:lnTo>
                  <a:pt x="637" y="66"/>
                </a:lnTo>
                <a:lnTo>
                  <a:pt x="637" y="99"/>
                </a:lnTo>
                <a:lnTo>
                  <a:pt x="669" y="115"/>
                </a:lnTo>
                <a:lnTo>
                  <a:pt x="686" y="181"/>
                </a:lnTo>
                <a:lnTo>
                  <a:pt x="686" y="247"/>
                </a:lnTo>
                <a:lnTo>
                  <a:pt x="702" y="296"/>
                </a:lnTo>
                <a:lnTo>
                  <a:pt x="702" y="330"/>
                </a:lnTo>
                <a:lnTo>
                  <a:pt x="719" y="379"/>
                </a:lnTo>
                <a:lnTo>
                  <a:pt x="719" y="446"/>
                </a:lnTo>
                <a:lnTo>
                  <a:pt x="457" y="446"/>
                </a:lnTo>
                <a:lnTo>
                  <a:pt x="278" y="446"/>
                </a:lnTo>
                <a:lnTo>
                  <a:pt x="81" y="446"/>
                </a:lnTo>
                <a:lnTo>
                  <a:pt x="0" y="446"/>
                </a:lnTo>
                <a:lnTo>
                  <a:pt x="0" y="33"/>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4" name="Freeform 45"/>
          <p:cNvSpPr>
            <a:spLocks/>
          </p:cNvSpPr>
          <p:nvPr/>
        </p:nvSpPr>
        <p:spPr bwMode="auto">
          <a:xfrm>
            <a:off x="1784351" y="579835"/>
            <a:ext cx="1763713" cy="769144"/>
          </a:xfrm>
          <a:custGeom>
            <a:avLst/>
            <a:gdLst>
              <a:gd name="T0" fmla="*/ 2147483647 w 1111"/>
              <a:gd name="T1" fmla="*/ 0 h 646"/>
              <a:gd name="T2" fmla="*/ 0 w 1111"/>
              <a:gd name="T3" fmla="*/ 2147483647 h 646"/>
              <a:gd name="T4" fmla="*/ 2147483647 w 1111"/>
              <a:gd name="T5" fmla="*/ 2147483647 h 646"/>
              <a:gd name="T6" fmla="*/ 2147483647 w 1111"/>
              <a:gd name="T7" fmla="*/ 2147483647 h 646"/>
              <a:gd name="T8" fmla="*/ 2147483647 w 1111"/>
              <a:gd name="T9" fmla="*/ 2147483647 h 646"/>
              <a:gd name="T10" fmla="*/ 2147483647 w 1111"/>
              <a:gd name="T11" fmla="*/ 2147483647 h 646"/>
              <a:gd name="T12" fmla="*/ 2147483647 w 1111"/>
              <a:gd name="T13" fmla="*/ 2147483647 h 646"/>
              <a:gd name="T14" fmla="*/ 2147483647 w 1111"/>
              <a:gd name="T15" fmla="*/ 2147483647 h 646"/>
              <a:gd name="T16" fmla="*/ 2147483647 w 1111"/>
              <a:gd name="T17" fmla="*/ 2147483647 h 646"/>
              <a:gd name="T18" fmla="*/ 2147483647 w 1111"/>
              <a:gd name="T19" fmla="*/ 2147483647 h 646"/>
              <a:gd name="T20" fmla="*/ 2147483647 w 1111"/>
              <a:gd name="T21" fmla="*/ 2147483647 h 646"/>
              <a:gd name="T22" fmla="*/ 2147483647 w 1111"/>
              <a:gd name="T23" fmla="*/ 2147483647 h 646"/>
              <a:gd name="T24" fmla="*/ 2147483647 w 1111"/>
              <a:gd name="T25" fmla="*/ 2147483647 h 646"/>
              <a:gd name="T26" fmla="*/ 2147483647 w 1111"/>
              <a:gd name="T27" fmla="*/ 2147483647 h 646"/>
              <a:gd name="T28" fmla="*/ 2147483647 w 1111"/>
              <a:gd name="T29" fmla="*/ 2147483647 h 646"/>
              <a:gd name="T30" fmla="*/ 2147483647 w 1111"/>
              <a:gd name="T31" fmla="*/ 2147483647 h 646"/>
              <a:gd name="T32" fmla="*/ 2147483647 w 1111"/>
              <a:gd name="T33" fmla="*/ 2147483647 h 646"/>
              <a:gd name="T34" fmla="*/ 2147483647 w 1111"/>
              <a:gd name="T35" fmla="*/ 2147483647 h 646"/>
              <a:gd name="T36" fmla="*/ 2147483647 w 1111"/>
              <a:gd name="T37" fmla="*/ 2147483647 h 646"/>
              <a:gd name="T38" fmla="*/ 2147483647 w 1111"/>
              <a:gd name="T39" fmla="*/ 2147483647 h 646"/>
              <a:gd name="T40" fmla="*/ 2147483647 w 1111"/>
              <a:gd name="T41" fmla="*/ 2147483647 h 646"/>
              <a:gd name="T42" fmla="*/ 2147483647 w 1111"/>
              <a:gd name="T43" fmla="*/ 2147483647 h 646"/>
              <a:gd name="T44" fmla="*/ 2147483647 w 1111"/>
              <a:gd name="T45" fmla="*/ 2147483647 h 646"/>
              <a:gd name="T46" fmla="*/ 2147483647 w 1111"/>
              <a:gd name="T47" fmla="*/ 2147483647 h 646"/>
              <a:gd name="T48" fmla="*/ 2147483647 w 1111"/>
              <a:gd name="T49" fmla="*/ 2147483647 h 646"/>
              <a:gd name="T50" fmla="*/ 2147483647 w 1111"/>
              <a:gd name="T51" fmla="*/ 2147483647 h 646"/>
              <a:gd name="T52" fmla="*/ 2147483647 w 1111"/>
              <a:gd name="T53" fmla="*/ 2147483647 h 646"/>
              <a:gd name="T54" fmla="*/ 2147483647 w 1111"/>
              <a:gd name="T55" fmla="*/ 2147483647 h 646"/>
              <a:gd name="T56" fmla="*/ 2147483647 w 1111"/>
              <a:gd name="T57" fmla="*/ 2147483647 h 646"/>
              <a:gd name="T58" fmla="*/ 2147483647 w 1111"/>
              <a:gd name="T59" fmla="*/ 2147483647 h 646"/>
              <a:gd name="T60" fmla="*/ 2147483647 w 1111"/>
              <a:gd name="T61" fmla="*/ 2147483647 h 646"/>
              <a:gd name="T62" fmla="*/ 2147483647 w 1111"/>
              <a:gd name="T63" fmla="*/ 2147483647 h 646"/>
              <a:gd name="T64" fmla="*/ 2147483647 w 1111"/>
              <a:gd name="T65" fmla="*/ 2147483647 h 646"/>
              <a:gd name="T66" fmla="*/ 2147483647 w 1111"/>
              <a:gd name="T67" fmla="*/ 2147483647 h 646"/>
              <a:gd name="T68" fmla="*/ 2147483647 w 1111"/>
              <a:gd name="T69" fmla="*/ 2147483647 h 646"/>
              <a:gd name="T70" fmla="*/ 2147483647 w 1111"/>
              <a:gd name="T71" fmla="*/ 2147483647 h 646"/>
              <a:gd name="T72" fmla="*/ 2147483647 w 1111"/>
              <a:gd name="T73" fmla="*/ 2147483647 h 646"/>
              <a:gd name="T74" fmla="*/ 2147483647 w 1111"/>
              <a:gd name="T75" fmla="*/ 2147483647 h 646"/>
              <a:gd name="T76" fmla="*/ 2147483647 w 1111"/>
              <a:gd name="T77" fmla="*/ 2147483647 h 646"/>
              <a:gd name="T78" fmla="*/ 2147483647 w 1111"/>
              <a:gd name="T79" fmla="*/ 2147483647 h 646"/>
              <a:gd name="T80" fmla="*/ 2147483647 w 1111"/>
              <a:gd name="T81" fmla="*/ 2147483647 h 646"/>
              <a:gd name="T82" fmla="*/ 2147483647 w 1111"/>
              <a:gd name="T83" fmla="*/ 2147483647 h 646"/>
              <a:gd name="T84" fmla="*/ 2147483647 w 1111"/>
              <a:gd name="T85" fmla="*/ 0 h 646"/>
              <a:gd name="T86" fmla="*/ 2147483647 w 1111"/>
              <a:gd name="T87" fmla="*/ 0 h 6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11"/>
              <a:gd name="T133" fmla="*/ 0 h 646"/>
              <a:gd name="T134" fmla="*/ 1111 w 1111"/>
              <a:gd name="T135" fmla="*/ 646 h 6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11" h="646">
                <a:moveTo>
                  <a:pt x="15" y="0"/>
                </a:moveTo>
                <a:lnTo>
                  <a:pt x="0" y="132"/>
                </a:lnTo>
                <a:lnTo>
                  <a:pt x="31" y="149"/>
                </a:lnTo>
                <a:lnTo>
                  <a:pt x="31" y="166"/>
                </a:lnTo>
                <a:lnTo>
                  <a:pt x="31" y="215"/>
                </a:lnTo>
                <a:lnTo>
                  <a:pt x="64" y="231"/>
                </a:lnTo>
                <a:lnTo>
                  <a:pt x="81" y="264"/>
                </a:lnTo>
                <a:lnTo>
                  <a:pt x="97" y="297"/>
                </a:lnTo>
                <a:lnTo>
                  <a:pt x="129" y="330"/>
                </a:lnTo>
                <a:lnTo>
                  <a:pt x="129" y="429"/>
                </a:lnTo>
                <a:lnTo>
                  <a:pt x="97" y="463"/>
                </a:lnTo>
                <a:lnTo>
                  <a:pt x="146" y="480"/>
                </a:lnTo>
                <a:lnTo>
                  <a:pt x="162" y="463"/>
                </a:lnTo>
                <a:lnTo>
                  <a:pt x="179" y="480"/>
                </a:lnTo>
                <a:lnTo>
                  <a:pt x="179" y="529"/>
                </a:lnTo>
                <a:lnTo>
                  <a:pt x="212" y="529"/>
                </a:lnTo>
                <a:lnTo>
                  <a:pt x="212" y="546"/>
                </a:lnTo>
                <a:lnTo>
                  <a:pt x="212" y="578"/>
                </a:lnTo>
                <a:lnTo>
                  <a:pt x="244" y="612"/>
                </a:lnTo>
                <a:lnTo>
                  <a:pt x="244" y="645"/>
                </a:lnTo>
                <a:lnTo>
                  <a:pt x="276" y="645"/>
                </a:lnTo>
                <a:lnTo>
                  <a:pt x="309" y="645"/>
                </a:lnTo>
                <a:lnTo>
                  <a:pt x="358" y="645"/>
                </a:lnTo>
                <a:lnTo>
                  <a:pt x="391" y="628"/>
                </a:lnTo>
                <a:lnTo>
                  <a:pt x="424" y="645"/>
                </a:lnTo>
                <a:lnTo>
                  <a:pt x="424" y="595"/>
                </a:lnTo>
                <a:lnTo>
                  <a:pt x="424" y="645"/>
                </a:lnTo>
                <a:lnTo>
                  <a:pt x="424" y="595"/>
                </a:lnTo>
                <a:lnTo>
                  <a:pt x="571" y="595"/>
                </a:lnTo>
                <a:lnTo>
                  <a:pt x="702" y="612"/>
                </a:lnTo>
                <a:lnTo>
                  <a:pt x="848" y="612"/>
                </a:lnTo>
                <a:lnTo>
                  <a:pt x="979" y="628"/>
                </a:lnTo>
                <a:lnTo>
                  <a:pt x="1110" y="645"/>
                </a:lnTo>
                <a:lnTo>
                  <a:pt x="1110" y="512"/>
                </a:lnTo>
                <a:lnTo>
                  <a:pt x="1110" y="99"/>
                </a:lnTo>
                <a:lnTo>
                  <a:pt x="1012" y="99"/>
                </a:lnTo>
                <a:lnTo>
                  <a:pt x="881" y="83"/>
                </a:lnTo>
                <a:lnTo>
                  <a:pt x="750" y="83"/>
                </a:lnTo>
                <a:lnTo>
                  <a:pt x="603" y="66"/>
                </a:lnTo>
                <a:lnTo>
                  <a:pt x="473" y="49"/>
                </a:lnTo>
                <a:lnTo>
                  <a:pt x="326" y="33"/>
                </a:lnTo>
                <a:lnTo>
                  <a:pt x="212" y="16"/>
                </a:lnTo>
                <a:lnTo>
                  <a:pt x="81" y="0"/>
                </a:lnTo>
                <a:lnTo>
                  <a:pt x="15" y="0"/>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5" name="Freeform 46"/>
          <p:cNvSpPr>
            <a:spLocks/>
          </p:cNvSpPr>
          <p:nvPr/>
        </p:nvSpPr>
        <p:spPr bwMode="auto">
          <a:xfrm>
            <a:off x="1446214" y="560785"/>
            <a:ext cx="1012825" cy="1220390"/>
          </a:xfrm>
          <a:custGeom>
            <a:avLst/>
            <a:gdLst>
              <a:gd name="T0" fmla="*/ 2147483647 w 638"/>
              <a:gd name="T1" fmla="*/ 0 h 1025"/>
              <a:gd name="T2" fmla="*/ 2147483647 w 638"/>
              <a:gd name="T3" fmla="*/ 0 h 1025"/>
              <a:gd name="T4" fmla="*/ 2147483647 w 638"/>
              <a:gd name="T5" fmla="*/ 2147483647 h 1025"/>
              <a:gd name="T6" fmla="*/ 2147483647 w 638"/>
              <a:gd name="T7" fmla="*/ 2147483647 h 1025"/>
              <a:gd name="T8" fmla="*/ 2147483647 w 638"/>
              <a:gd name="T9" fmla="*/ 2147483647 h 1025"/>
              <a:gd name="T10" fmla="*/ 2147483647 w 638"/>
              <a:gd name="T11" fmla="*/ 2147483647 h 1025"/>
              <a:gd name="T12" fmla="*/ 2147483647 w 638"/>
              <a:gd name="T13" fmla="*/ 2147483647 h 1025"/>
              <a:gd name="T14" fmla="*/ 2147483647 w 638"/>
              <a:gd name="T15" fmla="*/ 2147483647 h 1025"/>
              <a:gd name="T16" fmla="*/ 2147483647 w 638"/>
              <a:gd name="T17" fmla="*/ 2147483647 h 1025"/>
              <a:gd name="T18" fmla="*/ 2147483647 w 638"/>
              <a:gd name="T19" fmla="*/ 2147483647 h 1025"/>
              <a:gd name="T20" fmla="*/ 2147483647 w 638"/>
              <a:gd name="T21" fmla="*/ 2147483647 h 1025"/>
              <a:gd name="T22" fmla="*/ 2147483647 w 638"/>
              <a:gd name="T23" fmla="*/ 2147483647 h 1025"/>
              <a:gd name="T24" fmla="*/ 2147483647 w 638"/>
              <a:gd name="T25" fmla="*/ 2147483647 h 1025"/>
              <a:gd name="T26" fmla="*/ 2147483647 w 638"/>
              <a:gd name="T27" fmla="*/ 2147483647 h 1025"/>
              <a:gd name="T28" fmla="*/ 2147483647 w 638"/>
              <a:gd name="T29" fmla="*/ 2147483647 h 1025"/>
              <a:gd name="T30" fmla="*/ 2147483647 w 638"/>
              <a:gd name="T31" fmla="*/ 2147483647 h 1025"/>
              <a:gd name="T32" fmla="*/ 2147483647 w 638"/>
              <a:gd name="T33" fmla="*/ 2147483647 h 1025"/>
              <a:gd name="T34" fmla="*/ 2147483647 w 638"/>
              <a:gd name="T35" fmla="*/ 2147483647 h 1025"/>
              <a:gd name="T36" fmla="*/ 2147483647 w 638"/>
              <a:gd name="T37" fmla="*/ 2147483647 h 1025"/>
              <a:gd name="T38" fmla="*/ 2147483647 w 638"/>
              <a:gd name="T39" fmla="*/ 2147483647 h 1025"/>
              <a:gd name="T40" fmla="*/ 2147483647 w 638"/>
              <a:gd name="T41" fmla="*/ 2147483647 h 1025"/>
              <a:gd name="T42" fmla="*/ 2147483647 w 638"/>
              <a:gd name="T43" fmla="*/ 2147483647 h 1025"/>
              <a:gd name="T44" fmla="*/ 2147483647 w 638"/>
              <a:gd name="T45" fmla="*/ 2147483647 h 1025"/>
              <a:gd name="T46" fmla="*/ 2147483647 w 638"/>
              <a:gd name="T47" fmla="*/ 2147483647 h 1025"/>
              <a:gd name="T48" fmla="*/ 2147483647 w 638"/>
              <a:gd name="T49" fmla="*/ 2147483647 h 1025"/>
              <a:gd name="T50" fmla="*/ 2147483647 w 638"/>
              <a:gd name="T51" fmla="*/ 2147483647 h 1025"/>
              <a:gd name="T52" fmla="*/ 2147483647 w 638"/>
              <a:gd name="T53" fmla="*/ 2147483647 h 1025"/>
              <a:gd name="T54" fmla="*/ 2147483647 w 638"/>
              <a:gd name="T55" fmla="*/ 2147483647 h 1025"/>
              <a:gd name="T56" fmla="*/ 2147483647 w 638"/>
              <a:gd name="T57" fmla="*/ 2147483647 h 1025"/>
              <a:gd name="T58" fmla="*/ 2147483647 w 638"/>
              <a:gd name="T59" fmla="*/ 2147483647 h 1025"/>
              <a:gd name="T60" fmla="*/ 2147483647 w 638"/>
              <a:gd name="T61" fmla="*/ 2147483647 h 1025"/>
              <a:gd name="T62" fmla="*/ 2147483647 w 638"/>
              <a:gd name="T63" fmla="*/ 2147483647 h 1025"/>
              <a:gd name="T64" fmla="*/ 2147483647 w 638"/>
              <a:gd name="T65" fmla="*/ 2147483647 h 1025"/>
              <a:gd name="T66" fmla="*/ 2147483647 w 638"/>
              <a:gd name="T67" fmla="*/ 2147483647 h 1025"/>
              <a:gd name="T68" fmla="*/ 0 w 638"/>
              <a:gd name="T69" fmla="*/ 2147483647 h 1025"/>
              <a:gd name="T70" fmla="*/ 2147483647 w 638"/>
              <a:gd name="T71" fmla="*/ 2147483647 h 1025"/>
              <a:gd name="T72" fmla="*/ 2147483647 w 638"/>
              <a:gd name="T73" fmla="*/ 2147483647 h 1025"/>
              <a:gd name="T74" fmla="*/ 2147483647 w 638"/>
              <a:gd name="T75" fmla="*/ 2147483647 h 1025"/>
              <a:gd name="T76" fmla="*/ 2147483647 w 638"/>
              <a:gd name="T77" fmla="*/ 2147483647 h 1025"/>
              <a:gd name="T78" fmla="*/ 2147483647 w 638"/>
              <a:gd name="T79" fmla="*/ 2147483647 h 1025"/>
              <a:gd name="T80" fmla="*/ 2147483647 w 638"/>
              <a:gd name="T81" fmla="*/ 2147483647 h 1025"/>
              <a:gd name="T82" fmla="*/ 2147483647 w 638"/>
              <a:gd name="T83" fmla="*/ 2147483647 h 1025"/>
              <a:gd name="T84" fmla="*/ 2147483647 w 638"/>
              <a:gd name="T85" fmla="*/ 2147483647 h 1025"/>
              <a:gd name="T86" fmla="*/ 2147483647 w 638"/>
              <a:gd name="T87" fmla="*/ 2147483647 h 1025"/>
              <a:gd name="T88" fmla="*/ 2147483647 w 638"/>
              <a:gd name="T89" fmla="*/ 2147483647 h 1025"/>
              <a:gd name="T90" fmla="*/ 2147483647 w 638"/>
              <a:gd name="T91" fmla="*/ 2147483647 h 1025"/>
              <a:gd name="T92" fmla="*/ 2147483647 w 638"/>
              <a:gd name="T93" fmla="*/ 2147483647 h 1025"/>
              <a:gd name="T94" fmla="*/ 2147483647 w 638"/>
              <a:gd name="T95" fmla="*/ 0 h 10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38"/>
              <a:gd name="T145" fmla="*/ 0 h 1025"/>
              <a:gd name="T146" fmla="*/ 638 w 638"/>
              <a:gd name="T147" fmla="*/ 1025 h 10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38" h="1025">
                <a:moveTo>
                  <a:pt x="147" y="0"/>
                </a:moveTo>
                <a:lnTo>
                  <a:pt x="180" y="0"/>
                </a:lnTo>
                <a:lnTo>
                  <a:pt x="196" y="16"/>
                </a:lnTo>
                <a:lnTo>
                  <a:pt x="228" y="16"/>
                </a:lnTo>
                <a:lnTo>
                  <a:pt x="213" y="149"/>
                </a:lnTo>
                <a:lnTo>
                  <a:pt x="244" y="165"/>
                </a:lnTo>
                <a:lnTo>
                  <a:pt x="244" y="182"/>
                </a:lnTo>
                <a:lnTo>
                  <a:pt x="244" y="231"/>
                </a:lnTo>
                <a:lnTo>
                  <a:pt x="277" y="247"/>
                </a:lnTo>
                <a:lnTo>
                  <a:pt x="294" y="281"/>
                </a:lnTo>
                <a:lnTo>
                  <a:pt x="310" y="313"/>
                </a:lnTo>
                <a:lnTo>
                  <a:pt x="342" y="347"/>
                </a:lnTo>
                <a:lnTo>
                  <a:pt x="342" y="445"/>
                </a:lnTo>
                <a:lnTo>
                  <a:pt x="310" y="479"/>
                </a:lnTo>
                <a:lnTo>
                  <a:pt x="359" y="496"/>
                </a:lnTo>
                <a:lnTo>
                  <a:pt x="375" y="479"/>
                </a:lnTo>
                <a:lnTo>
                  <a:pt x="392" y="496"/>
                </a:lnTo>
                <a:lnTo>
                  <a:pt x="392" y="545"/>
                </a:lnTo>
                <a:lnTo>
                  <a:pt x="425" y="545"/>
                </a:lnTo>
                <a:lnTo>
                  <a:pt x="425" y="562"/>
                </a:lnTo>
                <a:lnTo>
                  <a:pt x="425" y="594"/>
                </a:lnTo>
                <a:lnTo>
                  <a:pt x="456" y="628"/>
                </a:lnTo>
                <a:lnTo>
                  <a:pt x="456" y="661"/>
                </a:lnTo>
                <a:lnTo>
                  <a:pt x="489" y="661"/>
                </a:lnTo>
                <a:lnTo>
                  <a:pt x="522" y="661"/>
                </a:lnTo>
                <a:lnTo>
                  <a:pt x="571" y="661"/>
                </a:lnTo>
                <a:lnTo>
                  <a:pt x="604" y="644"/>
                </a:lnTo>
                <a:lnTo>
                  <a:pt x="637" y="661"/>
                </a:lnTo>
                <a:lnTo>
                  <a:pt x="604" y="1024"/>
                </a:lnTo>
                <a:lnTo>
                  <a:pt x="506" y="1008"/>
                </a:lnTo>
                <a:lnTo>
                  <a:pt x="392" y="991"/>
                </a:lnTo>
                <a:lnTo>
                  <a:pt x="277" y="991"/>
                </a:lnTo>
                <a:lnTo>
                  <a:pt x="196" y="974"/>
                </a:lnTo>
                <a:lnTo>
                  <a:pt x="65" y="957"/>
                </a:lnTo>
                <a:lnTo>
                  <a:pt x="0" y="942"/>
                </a:lnTo>
                <a:lnTo>
                  <a:pt x="49" y="710"/>
                </a:lnTo>
                <a:lnTo>
                  <a:pt x="82" y="661"/>
                </a:lnTo>
                <a:lnTo>
                  <a:pt x="65" y="644"/>
                </a:lnTo>
                <a:lnTo>
                  <a:pt x="65" y="562"/>
                </a:lnTo>
                <a:lnTo>
                  <a:pt x="82" y="562"/>
                </a:lnTo>
                <a:lnTo>
                  <a:pt x="82" y="528"/>
                </a:lnTo>
                <a:lnTo>
                  <a:pt x="130" y="512"/>
                </a:lnTo>
                <a:lnTo>
                  <a:pt x="130" y="462"/>
                </a:lnTo>
                <a:lnTo>
                  <a:pt x="130" y="430"/>
                </a:lnTo>
                <a:lnTo>
                  <a:pt x="98" y="396"/>
                </a:lnTo>
                <a:lnTo>
                  <a:pt x="114" y="347"/>
                </a:lnTo>
                <a:lnTo>
                  <a:pt x="98" y="330"/>
                </a:lnTo>
                <a:lnTo>
                  <a:pt x="147" y="0"/>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6" name="Freeform 47"/>
          <p:cNvSpPr>
            <a:spLocks/>
          </p:cNvSpPr>
          <p:nvPr/>
        </p:nvSpPr>
        <p:spPr bwMode="auto">
          <a:xfrm>
            <a:off x="306389" y="856060"/>
            <a:ext cx="1349375" cy="828675"/>
          </a:xfrm>
          <a:custGeom>
            <a:avLst/>
            <a:gdLst>
              <a:gd name="T0" fmla="*/ 0 w 850"/>
              <a:gd name="T1" fmla="*/ 2147483647 h 696"/>
              <a:gd name="T2" fmla="*/ 2147483647 w 850"/>
              <a:gd name="T3" fmla="*/ 2147483647 h 696"/>
              <a:gd name="T4" fmla="*/ 2147483647 w 850"/>
              <a:gd name="T5" fmla="*/ 2147483647 h 696"/>
              <a:gd name="T6" fmla="*/ 2147483647 w 850"/>
              <a:gd name="T7" fmla="*/ 2147483647 h 696"/>
              <a:gd name="T8" fmla="*/ 2147483647 w 850"/>
              <a:gd name="T9" fmla="*/ 2147483647 h 696"/>
              <a:gd name="T10" fmla="*/ 2147483647 w 850"/>
              <a:gd name="T11" fmla="*/ 2147483647 h 696"/>
              <a:gd name="T12" fmla="*/ 2147483647 w 850"/>
              <a:gd name="T13" fmla="*/ 2147483647 h 696"/>
              <a:gd name="T14" fmla="*/ 2147483647 w 850"/>
              <a:gd name="T15" fmla="*/ 2147483647 h 696"/>
              <a:gd name="T16" fmla="*/ 2147483647 w 850"/>
              <a:gd name="T17" fmla="*/ 2147483647 h 696"/>
              <a:gd name="T18" fmla="*/ 2147483647 w 850"/>
              <a:gd name="T19" fmla="*/ 2147483647 h 696"/>
              <a:gd name="T20" fmla="*/ 2147483647 w 850"/>
              <a:gd name="T21" fmla="*/ 2147483647 h 696"/>
              <a:gd name="T22" fmla="*/ 2147483647 w 850"/>
              <a:gd name="T23" fmla="*/ 2147483647 h 696"/>
              <a:gd name="T24" fmla="*/ 2147483647 w 850"/>
              <a:gd name="T25" fmla="*/ 2147483647 h 696"/>
              <a:gd name="T26" fmla="*/ 2147483647 w 850"/>
              <a:gd name="T27" fmla="*/ 2147483647 h 696"/>
              <a:gd name="T28" fmla="*/ 2147483647 w 850"/>
              <a:gd name="T29" fmla="*/ 2147483647 h 696"/>
              <a:gd name="T30" fmla="*/ 2147483647 w 850"/>
              <a:gd name="T31" fmla="*/ 2147483647 h 696"/>
              <a:gd name="T32" fmla="*/ 2147483647 w 850"/>
              <a:gd name="T33" fmla="*/ 2147483647 h 696"/>
              <a:gd name="T34" fmla="*/ 2147483647 w 850"/>
              <a:gd name="T35" fmla="*/ 0 h 696"/>
              <a:gd name="T36" fmla="*/ 2147483647 w 850"/>
              <a:gd name="T37" fmla="*/ 0 h 696"/>
              <a:gd name="T38" fmla="*/ 2147483647 w 850"/>
              <a:gd name="T39" fmla="*/ 2147483647 h 696"/>
              <a:gd name="T40" fmla="*/ 2147483647 w 850"/>
              <a:gd name="T41" fmla="*/ 2147483647 h 696"/>
              <a:gd name="T42" fmla="*/ 2147483647 w 850"/>
              <a:gd name="T43" fmla="*/ 2147483647 h 696"/>
              <a:gd name="T44" fmla="*/ 2147483647 w 850"/>
              <a:gd name="T45" fmla="*/ 2147483647 h 696"/>
              <a:gd name="T46" fmla="*/ 2147483647 w 850"/>
              <a:gd name="T47" fmla="*/ 2147483647 h 696"/>
              <a:gd name="T48" fmla="*/ 2147483647 w 850"/>
              <a:gd name="T49" fmla="*/ 2147483647 h 696"/>
              <a:gd name="T50" fmla="*/ 2147483647 w 850"/>
              <a:gd name="T51" fmla="*/ 2147483647 h 696"/>
              <a:gd name="T52" fmla="*/ 2147483647 w 850"/>
              <a:gd name="T53" fmla="*/ 2147483647 h 696"/>
              <a:gd name="T54" fmla="*/ 2147483647 w 850"/>
              <a:gd name="T55" fmla="*/ 2147483647 h 696"/>
              <a:gd name="T56" fmla="*/ 2147483647 w 850"/>
              <a:gd name="T57" fmla="*/ 2147483647 h 696"/>
              <a:gd name="T58" fmla="*/ 2147483647 w 850"/>
              <a:gd name="T59" fmla="*/ 2147483647 h 696"/>
              <a:gd name="T60" fmla="*/ 2147483647 w 850"/>
              <a:gd name="T61" fmla="*/ 2147483647 h 696"/>
              <a:gd name="T62" fmla="*/ 2147483647 w 850"/>
              <a:gd name="T63" fmla="*/ 2147483647 h 696"/>
              <a:gd name="T64" fmla="*/ 2147483647 w 850"/>
              <a:gd name="T65" fmla="*/ 2147483647 h 696"/>
              <a:gd name="T66" fmla="*/ 2147483647 w 850"/>
              <a:gd name="T67" fmla="*/ 2147483647 h 696"/>
              <a:gd name="T68" fmla="*/ 2147483647 w 850"/>
              <a:gd name="T69" fmla="*/ 2147483647 h 696"/>
              <a:gd name="T70" fmla="*/ 2147483647 w 850"/>
              <a:gd name="T71" fmla="*/ 2147483647 h 696"/>
              <a:gd name="T72" fmla="*/ 2147483647 w 850"/>
              <a:gd name="T73" fmla="*/ 2147483647 h 696"/>
              <a:gd name="T74" fmla="*/ 2147483647 w 850"/>
              <a:gd name="T75" fmla="*/ 2147483647 h 696"/>
              <a:gd name="T76" fmla="*/ 2147483647 w 850"/>
              <a:gd name="T77" fmla="*/ 2147483647 h 696"/>
              <a:gd name="T78" fmla="*/ 2147483647 w 850"/>
              <a:gd name="T79" fmla="*/ 2147483647 h 696"/>
              <a:gd name="T80" fmla="*/ 2147483647 w 850"/>
              <a:gd name="T81" fmla="*/ 2147483647 h 696"/>
              <a:gd name="T82" fmla="*/ 2147483647 w 850"/>
              <a:gd name="T83" fmla="*/ 2147483647 h 696"/>
              <a:gd name="T84" fmla="*/ 2147483647 w 850"/>
              <a:gd name="T85" fmla="*/ 2147483647 h 696"/>
              <a:gd name="T86" fmla="*/ 2147483647 w 850"/>
              <a:gd name="T87" fmla="*/ 2147483647 h 696"/>
              <a:gd name="T88" fmla="*/ 2147483647 w 850"/>
              <a:gd name="T89" fmla="*/ 2147483647 h 696"/>
              <a:gd name="T90" fmla="*/ 2147483647 w 850"/>
              <a:gd name="T91" fmla="*/ 2147483647 h 696"/>
              <a:gd name="T92" fmla="*/ 2147483647 w 850"/>
              <a:gd name="T93" fmla="*/ 2147483647 h 696"/>
              <a:gd name="T94" fmla="*/ 2147483647 w 850"/>
              <a:gd name="T95" fmla="*/ 2147483647 h 696"/>
              <a:gd name="T96" fmla="*/ 2147483647 w 850"/>
              <a:gd name="T97" fmla="*/ 2147483647 h 696"/>
              <a:gd name="T98" fmla="*/ 0 w 850"/>
              <a:gd name="T99" fmla="*/ 2147483647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0"/>
              <a:gd name="T151" fmla="*/ 0 h 696"/>
              <a:gd name="T152" fmla="*/ 850 w 85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0" h="696">
                <a:moveTo>
                  <a:pt x="0" y="512"/>
                </a:moveTo>
                <a:lnTo>
                  <a:pt x="15" y="496"/>
                </a:lnTo>
                <a:lnTo>
                  <a:pt x="15" y="479"/>
                </a:lnTo>
                <a:lnTo>
                  <a:pt x="31" y="462"/>
                </a:lnTo>
                <a:lnTo>
                  <a:pt x="31" y="446"/>
                </a:lnTo>
                <a:lnTo>
                  <a:pt x="15" y="430"/>
                </a:lnTo>
                <a:lnTo>
                  <a:pt x="31" y="413"/>
                </a:lnTo>
                <a:lnTo>
                  <a:pt x="31" y="381"/>
                </a:lnTo>
                <a:lnTo>
                  <a:pt x="81" y="330"/>
                </a:lnTo>
                <a:lnTo>
                  <a:pt x="97" y="298"/>
                </a:lnTo>
                <a:lnTo>
                  <a:pt x="114" y="264"/>
                </a:lnTo>
                <a:lnTo>
                  <a:pt x="114" y="215"/>
                </a:lnTo>
                <a:lnTo>
                  <a:pt x="146" y="149"/>
                </a:lnTo>
                <a:lnTo>
                  <a:pt x="146" y="99"/>
                </a:lnTo>
                <a:lnTo>
                  <a:pt x="146" y="50"/>
                </a:lnTo>
                <a:lnTo>
                  <a:pt x="162" y="33"/>
                </a:lnTo>
                <a:lnTo>
                  <a:pt x="162" y="16"/>
                </a:lnTo>
                <a:lnTo>
                  <a:pt x="195" y="0"/>
                </a:lnTo>
                <a:lnTo>
                  <a:pt x="212" y="0"/>
                </a:lnTo>
                <a:lnTo>
                  <a:pt x="277" y="33"/>
                </a:lnTo>
                <a:lnTo>
                  <a:pt x="277" y="66"/>
                </a:lnTo>
                <a:lnTo>
                  <a:pt x="277" y="82"/>
                </a:lnTo>
                <a:lnTo>
                  <a:pt x="326" y="82"/>
                </a:lnTo>
                <a:lnTo>
                  <a:pt x="375" y="99"/>
                </a:lnTo>
                <a:lnTo>
                  <a:pt x="391" y="82"/>
                </a:lnTo>
                <a:lnTo>
                  <a:pt x="391" y="99"/>
                </a:lnTo>
                <a:lnTo>
                  <a:pt x="440" y="116"/>
                </a:lnTo>
                <a:lnTo>
                  <a:pt x="457" y="99"/>
                </a:lnTo>
                <a:lnTo>
                  <a:pt x="505" y="99"/>
                </a:lnTo>
                <a:lnTo>
                  <a:pt x="505" y="116"/>
                </a:lnTo>
                <a:lnTo>
                  <a:pt x="538" y="132"/>
                </a:lnTo>
                <a:lnTo>
                  <a:pt x="538" y="116"/>
                </a:lnTo>
                <a:lnTo>
                  <a:pt x="555" y="116"/>
                </a:lnTo>
                <a:lnTo>
                  <a:pt x="817" y="149"/>
                </a:lnTo>
                <a:lnTo>
                  <a:pt x="849" y="182"/>
                </a:lnTo>
                <a:lnTo>
                  <a:pt x="849" y="215"/>
                </a:lnTo>
                <a:lnTo>
                  <a:pt x="849" y="264"/>
                </a:lnTo>
                <a:lnTo>
                  <a:pt x="800" y="281"/>
                </a:lnTo>
                <a:lnTo>
                  <a:pt x="800" y="315"/>
                </a:lnTo>
                <a:lnTo>
                  <a:pt x="784" y="315"/>
                </a:lnTo>
                <a:lnTo>
                  <a:pt x="784" y="396"/>
                </a:lnTo>
                <a:lnTo>
                  <a:pt x="800" y="413"/>
                </a:lnTo>
                <a:lnTo>
                  <a:pt x="767" y="462"/>
                </a:lnTo>
                <a:lnTo>
                  <a:pt x="718" y="695"/>
                </a:lnTo>
                <a:lnTo>
                  <a:pt x="620" y="678"/>
                </a:lnTo>
                <a:lnTo>
                  <a:pt x="457" y="644"/>
                </a:lnTo>
                <a:lnTo>
                  <a:pt x="293" y="612"/>
                </a:lnTo>
                <a:lnTo>
                  <a:pt x="129" y="562"/>
                </a:lnTo>
                <a:lnTo>
                  <a:pt x="15" y="529"/>
                </a:lnTo>
                <a:lnTo>
                  <a:pt x="0" y="512"/>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7" name="Freeform 48"/>
          <p:cNvSpPr>
            <a:spLocks/>
          </p:cNvSpPr>
          <p:nvPr/>
        </p:nvSpPr>
        <p:spPr bwMode="auto">
          <a:xfrm>
            <a:off x="565151" y="444104"/>
            <a:ext cx="1116013" cy="590550"/>
          </a:xfrm>
          <a:custGeom>
            <a:avLst/>
            <a:gdLst>
              <a:gd name="T0" fmla="*/ 2147483647 w 703"/>
              <a:gd name="T1" fmla="*/ 2147483647 h 496"/>
              <a:gd name="T2" fmla="*/ 2147483647 w 703"/>
              <a:gd name="T3" fmla="*/ 2147483647 h 496"/>
              <a:gd name="T4" fmla="*/ 2147483647 w 703"/>
              <a:gd name="T5" fmla="*/ 2147483647 h 496"/>
              <a:gd name="T6" fmla="*/ 2147483647 w 703"/>
              <a:gd name="T7" fmla="*/ 2147483647 h 496"/>
              <a:gd name="T8" fmla="*/ 2147483647 w 703"/>
              <a:gd name="T9" fmla="*/ 2147483647 h 496"/>
              <a:gd name="T10" fmla="*/ 2147483647 w 703"/>
              <a:gd name="T11" fmla="*/ 2147483647 h 496"/>
              <a:gd name="T12" fmla="*/ 2147483647 w 703"/>
              <a:gd name="T13" fmla="*/ 2147483647 h 496"/>
              <a:gd name="T14" fmla="*/ 2147483647 w 703"/>
              <a:gd name="T15" fmla="*/ 2147483647 h 496"/>
              <a:gd name="T16" fmla="*/ 2147483647 w 703"/>
              <a:gd name="T17" fmla="*/ 2147483647 h 496"/>
              <a:gd name="T18" fmla="*/ 2147483647 w 703"/>
              <a:gd name="T19" fmla="*/ 2147483647 h 496"/>
              <a:gd name="T20" fmla="*/ 2147483647 w 703"/>
              <a:gd name="T21" fmla="*/ 2147483647 h 496"/>
              <a:gd name="T22" fmla="*/ 2147483647 w 703"/>
              <a:gd name="T23" fmla="*/ 2147483647 h 496"/>
              <a:gd name="T24" fmla="*/ 2147483647 w 703"/>
              <a:gd name="T25" fmla="*/ 2147483647 h 496"/>
              <a:gd name="T26" fmla="*/ 2147483647 w 703"/>
              <a:gd name="T27" fmla="*/ 2147483647 h 496"/>
              <a:gd name="T28" fmla="*/ 0 w 703"/>
              <a:gd name="T29" fmla="*/ 2147483647 h 496"/>
              <a:gd name="T30" fmla="*/ 2147483647 w 703"/>
              <a:gd name="T31" fmla="*/ 2147483647 h 496"/>
              <a:gd name="T32" fmla="*/ 2147483647 w 703"/>
              <a:gd name="T33" fmla="*/ 2147483647 h 496"/>
              <a:gd name="T34" fmla="*/ 2147483647 w 703"/>
              <a:gd name="T35" fmla="*/ 2147483647 h 496"/>
              <a:gd name="T36" fmla="*/ 2147483647 w 703"/>
              <a:gd name="T37" fmla="*/ 2147483647 h 496"/>
              <a:gd name="T38" fmla="*/ 2147483647 w 703"/>
              <a:gd name="T39" fmla="*/ 2147483647 h 496"/>
              <a:gd name="T40" fmla="*/ 2147483647 w 703"/>
              <a:gd name="T41" fmla="*/ 2147483647 h 496"/>
              <a:gd name="T42" fmla="*/ 2147483647 w 703"/>
              <a:gd name="T43" fmla="*/ 2147483647 h 496"/>
              <a:gd name="T44" fmla="*/ 2147483647 w 703"/>
              <a:gd name="T45" fmla="*/ 2147483647 h 496"/>
              <a:gd name="T46" fmla="*/ 2147483647 w 703"/>
              <a:gd name="T47" fmla="*/ 2147483647 h 496"/>
              <a:gd name="T48" fmla="*/ 2147483647 w 703"/>
              <a:gd name="T49" fmla="*/ 2147483647 h 496"/>
              <a:gd name="T50" fmla="*/ 2147483647 w 703"/>
              <a:gd name="T51" fmla="*/ 2147483647 h 496"/>
              <a:gd name="T52" fmla="*/ 2147483647 w 703"/>
              <a:gd name="T53" fmla="*/ 2147483647 h 496"/>
              <a:gd name="T54" fmla="*/ 2147483647 w 703"/>
              <a:gd name="T55" fmla="*/ 2147483647 h 496"/>
              <a:gd name="T56" fmla="*/ 2147483647 w 703"/>
              <a:gd name="T57" fmla="*/ 2147483647 h 496"/>
              <a:gd name="T58" fmla="*/ 2147483647 w 703"/>
              <a:gd name="T59" fmla="*/ 2147483647 h 496"/>
              <a:gd name="T60" fmla="*/ 2147483647 w 703"/>
              <a:gd name="T61" fmla="*/ 2147483647 h 496"/>
              <a:gd name="T62" fmla="*/ 2147483647 w 703"/>
              <a:gd name="T63" fmla="*/ 2147483647 h 496"/>
              <a:gd name="T64" fmla="*/ 2147483647 w 703"/>
              <a:gd name="T65" fmla="*/ 2147483647 h 496"/>
              <a:gd name="T66" fmla="*/ 2147483647 w 703"/>
              <a:gd name="T67" fmla="*/ 2147483647 h 496"/>
              <a:gd name="T68" fmla="*/ 2147483647 w 703"/>
              <a:gd name="T69" fmla="*/ 2147483647 h 496"/>
              <a:gd name="T70" fmla="*/ 2147483647 w 703"/>
              <a:gd name="T71" fmla="*/ 2147483647 h 496"/>
              <a:gd name="T72" fmla="*/ 2147483647 w 703"/>
              <a:gd name="T73" fmla="*/ 2147483647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3"/>
              <a:gd name="T112" fmla="*/ 0 h 496"/>
              <a:gd name="T113" fmla="*/ 703 w 703"/>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3" h="496">
                <a:moveTo>
                  <a:pt x="702" y="98"/>
                </a:moveTo>
                <a:lnTo>
                  <a:pt x="653" y="428"/>
                </a:lnTo>
                <a:lnTo>
                  <a:pt x="669" y="445"/>
                </a:lnTo>
                <a:lnTo>
                  <a:pt x="653" y="495"/>
                </a:lnTo>
                <a:lnTo>
                  <a:pt x="392" y="462"/>
                </a:lnTo>
                <a:lnTo>
                  <a:pt x="375" y="462"/>
                </a:lnTo>
                <a:lnTo>
                  <a:pt x="375" y="478"/>
                </a:lnTo>
                <a:lnTo>
                  <a:pt x="342" y="462"/>
                </a:lnTo>
                <a:lnTo>
                  <a:pt x="342" y="445"/>
                </a:lnTo>
                <a:lnTo>
                  <a:pt x="294" y="445"/>
                </a:lnTo>
                <a:lnTo>
                  <a:pt x="277" y="462"/>
                </a:lnTo>
                <a:lnTo>
                  <a:pt x="228" y="445"/>
                </a:lnTo>
                <a:lnTo>
                  <a:pt x="228" y="428"/>
                </a:lnTo>
                <a:lnTo>
                  <a:pt x="212" y="445"/>
                </a:lnTo>
                <a:lnTo>
                  <a:pt x="163" y="428"/>
                </a:lnTo>
                <a:lnTo>
                  <a:pt x="114" y="428"/>
                </a:lnTo>
                <a:lnTo>
                  <a:pt x="114" y="412"/>
                </a:lnTo>
                <a:lnTo>
                  <a:pt x="114" y="379"/>
                </a:lnTo>
                <a:lnTo>
                  <a:pt x="49" y="346"/>
                </a:lnTo>
                <a:lnTo>
                  <a:pt x="32" y="346"/>
                </a:lnTo>
                <a:lnTo>
                  <a:pt x="16" y="346"/>
                </a:lnTo>
                <a:lnTo>
                  <a:pt x="49" y="281"/>
                </a:lnTo>
                <a:lnTo>
                  <a:pt x="49" y="247"/>
                </a:lnTo>
                <a:lnTo>
                  <a:pt x="32" y="247"/>
                </a:lnTo>
                <a:lnTo>
                  <a:pt x="16" y="247"/>
                </a:lnTo>
                <a:lnTo>
                  <a:pt x="16" y="230"/>
                </a:lnTo>
                <a:lnTo>
                  <a:pt x="0" y="198"/>
                </a:lnTo>
                <a:lnTo>
                  <a:pt x="16" y="148"/>
                </a:lnTo>
                <a:lnTo>
                  <a:pt x="16" y="98"/>
                </a:lnTo>
                <a:lnTo>
                  <a:pt x="0" y="49"/>
                </a:lnTo>
                <a:lnTo>
                  <a:pt x="0" y="32"/>
                </a:lnTo>
                <a:lnTo>
                  <a:pt x="16" y="16"/>
                </a:lnTo>
                <a:lnTo>
                  <a:pt x="32" y="16"/>
                </a:lnTo>
                <a:lnTo>
                  <a:pt x="32" y="32"/>
                </a:lnTo>
                <a:lnTo>
                  <a:pt x="49" y="49"/>
                </a:lnTo>
                <a:lnTo>
                  <a:pt x="49" y="66"/>
                </a:lnTo>
                <a:lnTo>
                  <a:pt x="81" y="82"/>
                </a:lnTo>
                <a:lnTo>
                  <a:pt x="114" y="98"/>
                </a:lnTo>
                <a:lnTo>
                  <a:pt x="130" y="98"/>
                </a:lnTo>
                <a:lnTo>
                  <a:pt x="163" y="98"/>
                </a:lnTo>
                <a:lnTo>
                  <a:pt x="163" y="115"/>
                </a:lnTo>
                <a:lnTo>
                  <a:pt x="180" y="115"/>
                </a:lnTo>
                <a:lnTo>
                  <a:pt x="163" y="132"/>
                </a:lnTo>
                <a:lnTo>
                  <a:pt x="163" y="148"/>
                </a:lnTo>
                <a:lnTo>
                  <a:pt x="147" y="164"/>
                </a:lnTo>
                <a:lnTo>
                  <a:pt x="163" y="181"/>
                </a:lnTo>
                <a:lnTo>
                  <a:pt x="163" y="164"/>
                </a:lnTo>
                <a:lnTo>
                  <a:pt x="180" y="181"/>
                </a:lnTo>
                <a:lnTo>
                  <a:pt x="180" y="198"/>
                </a:lnTo>
                <a:lnTo>
                  <a:pt x="163" y="198"/>
                </a:lnTo>
                <a:lnTo>
                  <a:pt x="163" y="215"/>
                </a:lnTo>
                <a:lnTo>
                  <a:pt x="147" y="215"/>
                </a:lnTo>
                <a:lnTo>
                  <a:pt x="147" y="247"/>
                </a:lnTo>
                <a:lnTo>
                  <a:pt x="180" y="247"/>
                </a:lnTo>
                <a:lnTo>
                  <a:pt x="180" y="230"/>
                </a:lnTo>
                <a:lnTo>
                  <a:pt x="195" y="198"/>
                </a:lnTo>
                <a:lnTo>
                  <a:pt x="212" y="181"/>
                </a:lnTo>
                <a:lnTo>
                  <a:pt x="228" y="164"/>
                </a:lnTo>
                <a:lnTo>
                  <a:pt x="228" y="148"/>
                </a:lnTo>
                <a:lnTo>
                  <a:pt x="228" y="132"/>
                </a:lnTo>
                <a:lnTo>
                  <a:pt x="228" y="115"/>
                </a:lnTo>
                <a:lnTo>
                  <a:pt x="212" y="115"/>
                </a:lnTo>
                <a:lnTo>
                  <a:pt x="212" y="98"/>
                </a:lnTo>
                <a:lnTo>
                  <a:pt x="195" y="82"/>
                </a:lnTo>
                <a:lnTo>
                  <a:pt x="180" y="66"/>
                </a:lnTo>
                <a:lnTo>
                  <a:pt x="195" y="49"/>
                </a:lnTo>
                <a:lnTo>
                  <a:pt x="212" y="49"/>
                </a:lnTo>
                <a:lnTo>
                  <a:pt x="195" y="16"/>
                </a:lnTo>
                <a:lnTo>
                  <a:pt x="195" y="0"/>
                </a:lnTo>
                <a:lnTo>
                  <a:pt x="277" y="16"/>
                </a:lnTo>
                <a:lnTo>
                  <a:pt x="359" y="32"/>
                </a:lnTo>
                <a:lnTo>
                  <a:pt x="440" y="49"/>
                </a:lnTo>
                <a:lnTo>
                  <a:pt x="522" y="66"/>
                </a:lnTo>
                <a:lnTo>
                  <a:pt x="620" y="82"/>
                </a:lnTo>
                <a:lnTo>
                  <a:pt x="702" y="98"/>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8" name="Freeform 49"/>
          <p:cNvSpPr>
            <a:spLocks/>
          </p:cNvSpPr>
          <p:nvPr/>
        </p:nvSpPr>
        <p:spPr bwMode="auto">
          <a:xfrm>
            <a:off x="2509838" y="2646760"/>
            <a:ext cx="1166812" cy="944165"/>
          </a:xfrm>
          <a:custGeom>
            <a:avLst/>
            <a:gdLst>
              <a:gd name="T0" fmla="*/ 2147483647 w 735"/>
              <a:gd name="T1" fmla="*/ 0 h 793"/>
              <a:gd name="T2" fmla="*/ 0 w 735"/>
              <a:gd name="T3" fmla="*/ 2147483647 h 793"/>
              <a:gd name="T4" fmla="*/ 2147483647 w 735"/>
              <a:gd name="T5" fmla="*/ 2147483647 h 793"/>
              <a:gd name="T6" fmla="*/ 2147483647 w 735"/>
              <a:gd name="T7" fmla="*/ 2147483647 h 793"/>
              <a:gd name="T8" fmla="*/ 2147483647 w 735"/>
              <a:gd name="T9" fmla="*/ 2147483647 h 793"/>
              <a:gd name="T10" fmla="*/ 2147483647 w 735"/>
              <a:gd name="T11" fmla="*/ 2147483647 h 793"/>
              <a:gd name="T12" fmla="*/ 2147483647 w 735"/>
              <a:gd name="T13" fmla="*/ 2147483647 h 793"/>
              <a:gd name="T14" fmla="*/ 2147483647 w 735"/>
              <a:gd name="T15" fmla="*/ 2147483647 h 793"/>
              <a:gd name="T16" fmla="*/ 2147483647 w 735"/>
              <a:gd name="T17" fmla="*/ 2147483647 h 793"/>
              <a:gd name="T18" fmla="*/ 2147483647 w 735"/>
              <a:gd name="T19" fmla="*/ 2147483647 h 793"/>
              <a:gd name="T20" fmla="*/ 2147483647 w 735"/>
              <a:gd name="T21" fmla="*/ 2147483647 h 793"/>
              <a:gd name="T22" fmla="*/ 2147483647 w 735"/>
              <a:gd name="T23" fmla="*/ 2147483647 h 793"/>
              <a:gd name="T24" fmla="*/ 2147483647 w 735"/>
              <a:gd name="T25" fmla="*/ 2147483647 h 793"/>
              <a:gd name="T26" fmla="*/ 2147483647 w 735"/>
              <a:gd name="T27" fmla="*/ 2147483647 h 793"/>
              <a:gd name="T28" fmla="*/ 2147483647 w 735"/>
              <a:gd name="T29" fmla="*/ 2147483647 h 793"/>
              <a:gd name="T30" fmla="*/ 2147483647 w 735"/>
              <a:gd name="T31" fmla="*/ 2147483647 h 793"/>
              <a:gd name="T32" fmla="*/ 2147483647 w 735"/>
              <a:gd name="T33" fmla="*/ 2147483647 h 793"/>
              <a:gd name="T34" fmla="*/ 2147483647 w 735"/>
              <a:gd name="T35" fmla="*/ 0 h 7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5"/>
              <a:gd name="T55" fmla="*/ 0 h 793"/>
              <a:gd name="T56" fmla="*/ 735 w 735"/>
              <a:gd name="T57" fmla="*/ 793 h 79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5" h="793">
                <a:moveTo>
                  <a:pt x="64" y="0"/>
                </a:moveTo>
                <a:lnTo>
                  <a:pt x="0" y="776"/>
                </a:lnTo>
                <a:lnTo>
                  <a:pt x="130" y="792"/>
                </a:lnTo>
                <a:lnTo>
                  <a:pt x="130" y="742"/>
                </a:lnTo>
                <a:lnTo>
                  <a:pt x="309" y="759"/>
                </a:lnTo>
                <a:lnTo>
                  <a:pt x="293" y="725"/>
                </a:lnTo>
                <a:lnTo>
                  <a:pt x="717" y="725"/>
                </a:lnTo>
                <a:lnTo>
                  <a:pt x="717" y="98"/>
                </a:lnTo>
                <a:lnTo>
                  <a:pt x="734" y="98"/>
                </a:lnTo>
                <a:lnTo>
                  <a:pt x="734" y="32"/>
                </a:lnTo>
                <a:lnTo>
                  <a:pt x="734" y="82"/>
                </a:lnTo>
                <a:lnTo>
                  <a:pt x="734" y="32"/>
                </a:lnTo>
                <a:lnTo>
                  <a:pt x="652" y="32"/>
                </a:lnTo>
                <a:lnTo>
                  <a:pt x="538" y="32"/>
                </a:lnTo>
                <a:lnTo>
                  <a:pt x="424" y="16"/>
                </a:lnTo>
                <a:lnTo>
                  <a:pt x="309" y="16"/>
                </a:lnTo>
                <a:lnTo>
                  <a:pt x="195" y="16"/>
                </a:lnTo>
                <a:lnTo>
                  <a:pt x="64" y="0"/>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099" name="Freeform 50"/>
          <p:cNvSpPr>
            <a:spLocks/>
          </p:cNvSpPr>
          <p:nvPr/>
        </p:nvSpPr>
        <p:spPr bwMode="auto">
          <a:xfrm>
            <a:off x="3754439" y="2135982"/>
            <a:ext cx="1349375" cy="551260"/>
          </a:xfrm>
          <a:custGeom>
            <a:avLst/>
            <a:gdLst>
              <a:gd name="T0" fmla="*/ 2147483647 w 850"/>
              <a:gd name="T1" fmla="*/ 0 h 463"/>
              <a:gd name="T2" fmla="*/ 2147483647 w 850"/>
              <a:gd name="T3" fmla="*/ 2147483647 h 463"/>
              <a:gd name="T4" fmla="*/ 2147483647 w 850"/>
              <a:gd name="T5" fmla="*/ 2147483647 h 463"/>
              <a:gd name="T6" fmla="*/ 2147483647 w 850"/>
              <a:gd name="T7" fmla="*/ 2147483647 h 463"/>
              <a:gd name="T8" fmla="*/ 2147483647 w 850"/>
              <a:gd name="T9" fmla="*/ 2147483647 h 463"/>
              <a:gd name="T10" fmla="*/ 0 w 850"/>
              <a:gd name="T11" fmla="*/ 2147483647 h 463"/>
              <a:gd name="T12" fmla="*/ 2147483647 w 850"/>
              <a:gd name="T13" fmla="*/ 2147483647 h 463"/>
              <a:gd name="T14" fmla="*/ 2147483647 w 850"/>
              <a:gd name="T15" fmla="*/ 2147483647 h 463"/>
              <a:gd name="T16" fmla="*/ 2147483647 w 850"/>
              <a:gd name="T17" fmla="*/ 2147483647 h 463"/>
              <a:gd name="T18" fmla="*/ 2147483647 w 850"/>
              <a:gd name="T19" fmla="*/ 2147483647 h 463"/>
              <a:gd name="T20" fmla="*/ 2147483647 w 850"/>
              <a:gd name="T21" fmla="*/ 2147483647 h 463"/>
              <a:gd name="T22" fmla="*/ 2147483647 w 850"/>
              <a:gd name="T23" fmla="*/ 2147483647 h 463"/>
              <a:gd name="T24" fmla="*/ 2147483647 w 850"/>
              <a:gd name="T25" fmla="*/ 2147483647 h 463"/>
              <a:gd name="T26" fmla="*/ 2147483647 w 850"/>
              <a:gd name="T27" fmla="*/ 2147483647 h 463"/>
              <a:gd name="T28" fmla="*/ 2147483647 w 850"/>
              <a:gd name="T29" fmla="*/ 2147483647 h 463"/>
              <a:gd name="T30" fmla="*/ 2147483647 w 850"/>
              <a:gd name="T31" fmla="*/ 2147483647 h 463"/>
              <a:gd name="T32" fmla="*/ 2147483647 w 850"/>
              <a:gd name="T33" fmla="*/ 2147483647 h 463"/>
              <a:gd name="T34" fmla="*/ 2147483647 w 850"/>
              <a:gd name="T35" fmla="*/ 0 h 463"/>
              <a:gd name="T36" fmla="*/ 2147483647 w 850"/>
              <a:gd name="T37" fmla="*/ 0 h 4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50"/>
              <a:gd name="T58" fmla="*/ 0 h 463"/>
              <a:gd name="T59" fmla="*/ 850 w 850"/>
              <a:gd name="T60" fmla="*/ 463 h 4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50" h="463">
                <a:moveTo>
                  <a:pt x="750" y="0"/>
                </a:moveTo>
                <a:lnTo>
                  <a:pt x="587" y="15"/>
                </a:lnTo>
                <a:lnTo>
                  <a:pt x="375" y="32"/>
                </a:lnTo>
                <a:lnTo>
                  <a:pt x="195" y="32"/>
                </a:lnTo>
                <a:lnTo>
                  <a:pt x="32" y="32"/>
                </a:lnTo>
                <a:lnTo>
                  <a:pt x="0" y="462"/>
                </a:lnTo>
                <a:lnTo>
                  <a:pt x="261" y="446"/>
                </a:lnTo>
                <a:lnTo>
                  <a:pt x="473" y="446"/>
                </a:lnTo>
                <a:lnTo>
                  <a:pt x="668" y="429"/>
                </a:lnTo>
                <a:lnTo>
                  <a:pt x="750" y="412"/>
                </a:lnTo>
                <a:lnTo>
                  <a:pt x="849" y="412"/>
                </a:lnTo>
                <a:lnTo>
                  <a:pt x="832" y="115"/>
                </a:lnTo>
                <a:lnTo>
                  <a:pt x="832" y="98"/>
                </a:lnTo>
                <a:lnTo>
                  <a:pt x="816" y="81"/>
                </a:lnTo>
                <a:lnTo>
                  <a:pt x="799" y="81"/>
                </a:lnTo>
                <a:lnTo>
                  <a:pt x="783" y="49"/>
                </a:lnTo>
                <a:lnTo>
                  <a:pt x="783" y="15"/>
                </a:lnTo>
                <a:lnTo>
                  <a:pt x="783" y="0"/>
                </a:lnTo>
                <a:lnTo>
                  <a:pt x="750" y="0"/>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100" name="Freeform 51"/>
          <p:cNvSpPr>
            <a:spLocks/>
          </p:cNvSpPr>
          <p:nvPr/>
        </p:nvSpPr>
        <p:spPr bwMode="auto">
          <a:xfrm>
            <a:off x="2613025" y="1958578"/>
            <a:ext cx="1195388" cy="728663"/>
          </a:xfrm>
          <a:custGeom>
            <a:avLst/>
            <a:gdLst>
              <a:gd name="T0" fmla="*/ 2147483647 w 753"/>
              <a:gd name="T1" fmla="*/ 2147483647 h 612"/>
              <a:gd name="T2" fmla="*/ 2147483647 w 753"/>
              <a:gd name="T3" fmla="*/ 2147483647 h 612"/>
              <a:gd name="T4" fmla="*/ 2147483647 w 753"/>
              <a:gd name="T5" fmla="*/ 2147483647 h 612"/>
              <a:gd name="T6" fmla="*/ 2147483647 w 753"/>
              <a:gd name="T7" fmla="*/ 2147483647 h 612"/>
              <a:gd name="T8" fmla="*/ 2147483647 w 753"/>
              <a:gd name="T9" fmla="*/ 2147483647 h 612"/>
              <a:gd name="T10" fmla="*/ 2147483647 w 753"/>
              <a:gd name="T11" fmla="*/ 0 h 612"/>
              <a:gd name="T12" fmla="*/ 0 w 753"/>
              <a:gd name="T13" fmla="*/ 2147483647 h 612"/>
              <a:gd name="T14" fmla="*/ 2147483647 w 753"/>
              <a:gd name="T15" fmla="*/ 2147483647 h 612"/>
              <a:gd name="T16" fmla="*/ 2147483647 w 753"/>
              <a:gd name="T17" fmla="*/ 2147483647 h 612"/>
              <a:gd name="T18" fmla="*/ 2147483647 w 753"/>
              <a:gd name="T19" fmla="*/ 2147483647 h 612"/>
              <a:gd name="T20" fmla="*/ 2147483647 w 753"/>
              <a:gd name="T21" fmla="*/ 2147483647 h 612"/>
              <a:gd name="T22" fmla="*/ 2147483647 w 753"/>
              <a:gd name="T23" fmla="*/ 2147483647 h 612"/>
              <a:gd name="T24" fmla="*/ 2147483647 w 753"/>
              <a:gd name="T25" fmla="*/ 2147483647 h 612"/>
              <a:gd name="T26" fmla="*/ 2147483647 w 753"/>
              <a:gd name="T27" fmla="*/ 2147483647 h 612"/>
              <a:gd name="T28" fmla="*/ 2147483647 w 753"/>
              <a:gd name="T29" fmla="*/ 2147483647 h 612"/>
              <a:gd name="T30" fmla="*/ 2147483647 w 753"/>
              <a:gd name="T31" fmla="*/ 2147483647 h 612"/>
              <a:gd name="T32" fmla="*/ 2147483647 w 753"/>
              <a:gd name="T33" fmla="*/ 2147483647 h 6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53"/>
              <a:gd name="T52" fmla="*/ 0 h 612"/>
              <a:gd name="T53" fmla="*/ 753 w 753"/>
              <a:gd name="T54" fmla="*/ 612 h 6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53" h="612">
                <a:moveTo>
                  <a:pt x="571" y="32"/>
                </a:moveTo>
                <a:lnTo>
                  <a:pt x="440" y="32"/>
                </a:lnTo>
                <a:lnTo>
                  <a:pt x="326" y="32"/>
                </a:lnTo>
                <a:lnTo>
                  <a:pt x="195" y="16"/>
                </a:lnTo>
                <a:lnTo>
                  <a:pt x="114" y="16"/>
                </a:lnTo>
                <a:lnTo>
                  <a:pt x="49" y="0"/>
                </a:lnTo>
                <a:lnTo>
                  <a:pt x="0" y="578"/>
                </a:lnTo>
                <a:lnTo>
                  <a:pt x="130" y="595"/>
                </a:lnTo>
                <a:lnTo>
                  <a:pt x="245" y="595"/>
                </a:lnTo>
                <a:lnTo>
                  <a:pt x="359" y="595"/>
                </a:lnTo>
                <a:lnTo>
                  <a:pt x="473" y="611"/>
                </a:lnTo>
                <a:lnTo>
                  <a:pt x="588" y="611"/>
                </a:lnTo>
                <a:lnTo>
                  <a:pt x="669" y="611"/>
                </a:lnTo>
                <a:lnTo>
                  <a:pt x="719" y="611"/>
                </a:lnTo>
                <a:lnTo>
                  <a:pt x="752" y="181"/>
                </a:lnTo>
                <a:lnTo>
                  <a:pt x="752" y="49"/>
                </a:lnTo>
                <a:lnTo>
                  <a:pt x="571" y="32"/>
                </a:lnTo>
              </a:path>
            </a:pathLst>
          </a:custGeom>
          <a:solidFill>
            <a:schemeClr val="accent6"/>
          </a:solidFill>
          <a:ln w="9525" cap="rnd">
            <a:solidFill>
              <a:schemeClr val="tx1"/>
            </a:solidFill>
            <a:round/>
            <a:headEnd type="none" w="sm" len="sm"/>
            <a:tailEnd type="none" w="sm" len="sm"/>
          </a:ln>
        </p:spPr>
        <p:txBody>
          <a:bodyPr/>
          <a:lstStyle/>
          <a:p>
            <a:endParaRPr lang="en-US" dirty="0"/>
          </a:p>
        </p:txBody>
      </p:sp>
      <p:sp>
        <p:nvSpPr>
          <p:cNvPr id="2101" name="Freeform 52"/>
          <p:cNvSpPr>
            <a:spLocks/>
          </p:cNvSpPr>
          <p:nvPr/>
        </p:nvSpPr>
        <p:spPr bwMode="auto">
          <a:xfrm>
            <a:off x="2379663" y="1289447"/>
            <a:ext cx="1168400" cy="708422"/>
          </a:xfrm>
          <a:custGeom>
            <a:avLst/>
            <a:gdLst>
              <a:gd name="T0" fmla="*/ 2147483647 w 736"/>
              <a:gd name="T1" fmla="*/ 2147483647 h 595"/>
              <a:gd name="T2" fmla="*/ 2147483647 w 736"/>
              <a:gd name="T3" fmla="*/ 2147483647 h 595"/>
              <a:gd name="T4" fmla="*/ 2147483647 w 736"/>
              <a:gd name="T5" fmla="*/ 2147483647 h 595"/>
              <a:gd name="T6" fmla="*/ 2147483647 w 736"/>
              <a:gd name="T7" fmla="*/ 2147483647 h 595"/>
              <a:gd name="T8" fmla="*/ 2147483647 w 736"/>
              <a:gd name="T9" fmla="*/ 2147483647 h 595"/>
              <a:gd name="T10" fmla="*/ 2147483647 w 736"/>
              <a:gd name="T11" fmla="*/ 2147483647 h 595"/>
              <a:gd name="T12" fmla="*/ 2147483647 w 736"/>
              <a:gd name="T13" fmla="*/ 2147483647 h 595"/>
              <a:gd name="T14" fmla="*/ 2147483647 w 736"/>
              <a:gd name="T15" fmla="*/ 2147483647 h 595"/>
              <a:gd name="T16" fmla="*/ 2147483647 w 736"/>
              <a:gd name="T17" fmla="*/ 2147483647 h 595"/>
              <a:gd name="T18" fmla="*/ 2147483647 w 736"/>
              <a:gd name="T19" fmla="*/ 2147483647 h 595"/>
              <a:gd name="T20" fmla="*/ 2147483647 w 736"/>
              <a:gd name="T21" fmla="*/ 0 h 595"/>
              <a:gd name="T22" fmla="*/ 2147483647 w 736"/>
              <a:gd name="T23" fmla="*/ 0 h 595"/>
              <a:gd name="T24" fmla="*/ 2147483647 w 736"/>
              <a:gd name="T25" fmla="*/ 2147483647 h 595"/>
              <a:gd name="T26" fmla="*/ 2147483647 w 736"/>
              <a:gd name="T27" fmla="*/ 2147483647 h 595"/>
              <a:gd name="T28" fmla="*/ 0 w 736"/>
              <a:gd name="T29" fmla="*/ 2147483647 h 595"/>
              <a:gd name="T30" fmla="*/ 2147483647 w 736"/>
              <a:gd name="T31" fmla="*/ 2147483647 h 595"/>
              <a:gd name="T32" fmla="*/ 2147483647 w 736"/>
              <a:gd name="T33" fmla="*/ 2147483647 h 5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6"/>
              <a:gd name="T52" fmla="*/ 0 h 595"/>
              <a:gd name="T53" fmla="*/ 736 w 736"/>
              <a:gd name="T54" fmla="*/ 595 h 5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6" h="595">
                <a:moveTo>
                  <a:pt x="261" y="578"/>
                </a:moveTo>
                <a:lnTo>
                  <a:pt x="342" y="578"/>
                </a:lnTo>
                <a:lnTo>
                  <a:pt x="473" y="594"/>
                </a:lnTo>
                <a:lnTo>
                  <a:pt x="587" y="594"/>
                </a:lnTo>
                <a:lnTo>
                  <a:pt x="718" y="594"/>
                </a:lnTo>
                <a:lnTo>
                  <a:pt x="718" y="346"/>
                </a:lnTo>
                <a:lnTo>
                  <a:pt x="735" y="49"/>
                </a:lnTo>
                <a:lnTo>
                  <a:pt x="604" y="32"/>
                </a:lnTo>
                <a:lnTo>
                  <a:pt x="473" y="16"/>
                </a:lnTo>
                <a:lnTo>
                  <a:pt x="327" y="16"/>
                </a:lnTo>
                <a:lnTo>
                  <a:pt x="196" y="0"/>
                </a:lnTo>
                <a:lnTo>
                  <a:pt x="49" y="0"/>
                </a:lnTo>
                <a:lnTo>
                  <a:pt x="49" y="49"/>
                </a:lnTo>
                <a:lnTo>
                  <a:pt x="16" y="412"/>
                </a:lnTo>
                <a:lnTo>
                  <a:pt x="0" y="544"/>
                </a:lnTo>
                <a:lnTo>
                  <a:pt x="196" y="561"/>
                </a:lnTo>
                <a:lnTo>
                  <a:pt x="261" y="578"/>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102" name="Freeform 53"/>
          <p:cNvSpPr>
            <a:spLocks/>
          </p:cNvSpPr>
          <p:nvPr/>
        </p:nvSpPr>
        <p:spPr bwMode="auto">
          <a:xfrm>
            <a:off x="3521076" y="1683544"/>
            <a:ext cx="1425575" cy="491729"/>
          </a:xfrm>
          <a:custGeom>
            <a:avLst/>
            <a:gdLst>
              <a:gd name="T0" fmla="*/ 0 w 898"/>
              <a:gd name="T1" fmla="*/ 2147483647 h 413"/>
              <a:gd name="T2" fmla="*/ 0 w 898"/>
              <a:gd name="T3" fmla="*/ 2147483647 h 413"/>
              <a:gd name="T4" fmla="*/ 2147483647 w 898"/>
              <a:gd name="T5" fmla="*/ 2147483647 h 413"/>
              <a:gd name="T6" fmla="*/ 2147483647 w 898"/>
              <a:gd name="T7" fmla="*/ 2147483647 h 413"/>
              <a:gd name="T8" fmla="*/ 2147483647 w 898"/>
              <a:gd name="T9" fmla="*/ 2147483647 h 413"/>
              <a:gd name="T10" fmla="*/ 2147483647 w 898"/>
              <a:gd name="T11" fmla="*/ 2147483647 h 413"/>
              <a:gd name="T12" fmla="*/ 2147483647 w 898"/>
              <a:gd name="T13" fmla="*/ 2147483647 h 413"/>
              <a:gd name="T14" fmla="*/ 2147483647 w 898"/>
              <a:gd name="T15" fmla="*/ 2147483647 h 413"/>
              <a:gd name="T16" fmla="*/ 2147483647 w 898"/>
              <a:gd name="T17" fmla="*/ 2147483647 h 413"/>
              <a:gd name="T18" fmla="*/ 2147483647 w 898"/>
              <a:gd name="T19" fmla="*/ 2147483647 h 413"/>
              <a:gd name="T20" fmla="*/ 2147483647 w 898"/>
              <a:gd name="T21" fmla="*/ 2147483647 h 413"/>
              <a:gd name="T22" fmla="*/ 2147483647 w 898"/>
              <a:gd name="T23" fmla="*/ 2147483647 h 413"/>
              <a:gd name="T24" fmla="*/ 2147483647 w 898"/>
              <a:gd name="T25" fmla="*/ 2147483647 h 413"/>
              <a:gd name="T26" fmla="*/ 2147483647 w 898"/>
              <a:gd name="T27" fmla="*/ 2147483647 h 413"/>
              <a:gd name="T28" fmla="*/ 2147483647 w 898"/>
              <a:gd name="T29" fmla="*/ 2147483647 h 413"/>
              <a:gd name="T30" fmla="*/ 2147483647 w 898"/>
              <a:gd name="T31" fmla="*/ 2147483647 h 413"/>
              <a:gd name="T32" fmla="*/ 2147483647 w 898"/>
              <a:gd name="T33" fmla="*/ 2147483647 h 413"/>
              <a:gd name="T34" fmla="*/ 2147483647 w 898"/>
              <a:gd name="T35" fmla="*/ 2147483647 h 413"/>
              <a:gd name="T36" fmla="*/ 2147483647 w 898"/>
              <a:gd name="T37" fmla="*/ 2147483647 h 413"/>
              <a:gd name="T38" fmla="*/ 2147483647 w 898"/>
              <a:gd name="T39" fmla="*/ 2147483647 h 413"/>
              <a:gd name="T40" fmla="*/ 2147483647 w 898"/>
              <a:gd name="T41" fmla="*/ 2147483647 h 413"/>
              <a:gd name="T42" fmla="*/ 2147483647 w 898"/>
              <a:gd name="T43" fmla="*/ 2147483647 h 413"/>
              <a:gd name="T44" fmla="*/ 2147483647 w 898"/>
              <a:gd name="T45" fmla="*/ 2147483647 h 413"/>
              <a:gd name="T46" fmla="*/ 2147483647 w 898"/>
              <a:gd name="T47" fmla="*/ 2147483647 h 413"/>
              <a:gd name="T48" fmla="*/ 2147483647 w 898"/>
              <a:gd name="T49" fmla="*/ 2147483647 h 413"/>
              <a:gd name="T50" fmla="*/ 2147483647 w 898"/>
              <a:gd name="T51" fmla="*/ 2147483647 h 413"/>
              <a:gd name="T52" fmla="*/ 2147483647 w 898"/>
              <a:gd name="T53" fmla="*/ 2147483647 h 413"/>
              <a:gd name="T54" fmla="*/ 2147483647 w 898"/>
              <a:gd name="T55" fmla="*/ 2147483647 h 413"/>
              <a:gd name="T56" fmla="*/ 2147483647 w 898"/>
              <a:gd name="T57" fmla="*/ 2147483647 h 413"/>
              <a:gd name="T58" fmla="*/ 2147483647 w 898"/>
              <a:gd name="T59" fmla="*/ 2147483647 h 413"/>
              <a:gd name="T60" fmla="*/ 2147483647 w 898"/>
              <a:gd name="T61" fmla="*/ 2147483647 h 413"/>
              <a:gd name="T62" fmla="*/ 2147483647 w 898"/>
              <a:gd name="T63" fmla="*/ 2147483647 h 413"/>
              <a:gd name="T64" fmla="*/ 2147483647 w 898"/>
              <a:gd name="T65" fmla="*/ 0 h 413"/>
              <a:gd name="T66" fmla="*/ 2147483647 w 898"/>
              <a:gd name="T67" fmla="*/ 0 h 413"/>
              <a:gd name="T68" fmla="*/ 2147483647 w 898"/>
              <a:gd name="T69" fmla="*/ 0 h 413"/>
              <a:gd name="T70" fmla="*/ 2147483647 w 898"/>
              <a:gd name="T71" fmla="*/ 2147483647 h 413"/>
              <a:gd name="T72" fmla="*/ 2147483647 w 898"/>
              <a:gd name="T73" fmla="*/ 2147483647 h 413"/>
              <a:gd name="T74" fmla="*/ 2147483647 w 898"/>
              <a:gd name="T75" fmla="*/ 0 h 413"/>
              <a:gd name="T76" fmla="*/ 2147483647 w 898"/>
              <a:gd name="T77" fmla="*/ 0 h 413"/>
              <a:gd name="T78" fmla="*/ 2147483647 w 898"/>
              <a:gd name="T79" fmla="*/ 0 h 413"/>
              <a:gd name="T80" fmla="*/ 2147483647 w 898"/>
              <a:gd name="T81" fmla="*/ 2147483647 h 413"/>
              <a:gd name="T82" fmla="*/ 2147483647 w 898"/>
              <a:gd name="T83" fmla="*/ 2147483647 h 413"/>
              <a:gd name="T84" fmla="*/ 2147483647 w 898"/>
              <a:gd name="T85" fmla="*/ 2147483647 h 413"/>
              <a:gd name="T86" fmla="*/ 0 w 898"/>
              <a:gd name="T87" fmla="*/ 2147483647 h 4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98"/>
              <a:gd name="T133" fmla="*/ 0 h 413"/>
              <a:gd name="T134" fmla="*/ 898 w 898"/>
              <a:gd name="T135" fmla="*/ 413 h 4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98" h="413">
                <a:moveTo>
                  <a:pt x="0" y="15"/>
                </a:moveTo>
                <a:lnTo>
                  <a:pt x="0" y="263"/>
                </a:lnTo>
                <a:lnTo>
                  <a:pt x="180" y="279"/>
                </a:lnTo>
                <a:lnTo>
                  <a:pt x="180" y="412"/>
                </a:lnTo>
                <a:lnTo>
                  <a:pt x="342" y="412"/>
                </a:lnTo>
                <a:lnTo>
                  <a:pt x="522" y="412"/>
                </a:lnTo>
                <a:lnTo>
                  <a:pt x="734" y="395"/>
                </a:lnTo>
                <a:lnTo>
                  <a:pt x="897" y="379"/>
                </a:lnTo>
                <a:lnTo>
                  <a:pt x="881" y="362"/>
                </a:lnTo>
                <a:lnTo>
                  <a:pt x="881" y="345"/>
                </a:lnTo>
                <a:lnTo>
                  <a:pt x="865" y="329"/>
                </a:lnTo>
                <a:lnTo>
                  <a:pt x="848" y="313"/>
                </a:lnTo>
                <a:lnTo>
                  <a:pt x="848" y="279"/>
                </a:lnTo>
                <a:lnTo>
                  <a:pt x="832" y="263"/>
                </a:lnTo>
                <a:lnTo>
                  <a:pt x="832" y="230"/>
                </a:lnTo>
                <a:lnTo>
                  <a:pt x="815" y="230"/>
                </a:lnTo>
                <a:lnTo>
                  <a:pt x="815" y="196"/>
                </a:lnTo>
                <a:lnTo>
                  <a:pt x="815" y="181"/>
                </a:lnTo>
                <a:lnTo>
                  <a:pt x="815" y="164"/>
                </a:lnTo>
                <a:lnTo>
                  <a:pt x="815" y="147"/>
                </a:lnTo>
                <a:lnTo>
                  <a:pt x="799" y="132"/>
                </a:lnTo>
                <a:lnTo>
                  <a:pt x="799" y="98"/>
                </a:lnTo>
                <a:lnTo>
                  <a:pt x="782" y="98"/>
                </a:lnTo>
                <a:lnTo>
                  <a:pt x="767" y="81"/>
                </a:lnTo>
                <a:lnTo>
                  <a:pt x="767" y="49"/>
                </a:lnTo>
                <a:lnTo>
                  <a:pt x="750" y="49"/>
                </a:lnTo>
                <a:lnTo>
                  <a:pt x="718" y="49"/>
                </a:lnTo>
                <a:lnTo>
                  <a:pt x="734" y="49"/>
                </a:lnTo>
                <a:lnTo>
                  <a:pt x="718" y="49"/>
                </a:lnTo>
                <a:lnTo>
                  <a:pt x="718" y="32"/>
                </a:lnTo>
                <a:lnTo>
                  <a:pt x="701" y="32"/>
                </a:lnTo>
                <a:lnTo>
                  <a:pt x="668" y="15"/>
                </a:lnTo>
                <a:lnTo>
                  <a:pt x="653" y="0"/>
                </a:lnTo>
                <a:lnTo>
                  <a:pt x="636" y="0"/>
                </a:lnTo>
                <a:lnTo>
                  <a:pt x="620" y="0"/>
                </a:lnTo>
                <a:lnTo>
                  <a:pt x="587" y="15"/>
                </a:lnTo>
                <a:lnTo>
                  <a:pt x="570" y="15"/>
                </a:lnTo>
                <a:lnTo>
                  <a:pt x="570" y="0"/>
                </a:lnTo>
                <a:lnTo>
                  <a:pt x="539" y="0"/>
                </a:lnTo>
                <a:lnTo>
                  <a:pt x="424" y="0"/>
                </a:lnTo>
                <a:lnTo>
                  <a:pt x="326" y="15"/>
                </a:lnTo>
                <a:lnTo>
                  <a:pt x="211" y="15"/>
                </a:lnTo>
                <a:lnTo>
                  <a:pt x="97" y="15"/>
                </a:lnTo>
                <a:lnTo>
                  <a:pt x="0" y="15"/>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103" name="Freeform 54"/>
          <p:cNvSpPr>
            <a:spLocks/>
          </p:cNvSpPr>
          <p:nvPr/>
        </p:nvSpPr>
        <p:spPr bwMode="auto">
          <a:xfrm>
            <a:off x="1758950" y="1741885"/>
            <a:ext cx="935038" cy="906065"/>
          </a:xfrm>
          <a:custGeom>
            <a:avLst/>
            <a:gdLst>
              <a:gd name="T0" fmla="*/ 2147483647 w 589"/>
              <a:gd name="T1" fmla="*/ 2147483647 h 761"/>
              <a:gd name="T2" fmla="*/ 2147483647 w 589"/>
              <a:gd name="T3" fmla="*/ 2147483647 h 761"/>
              <a:gd name="T4" fmla="*/ 2147483647 w 589"/>
              <a:gd name="T5" fmla="*/ 2147483647 h 761"/>
              <a:gd name="T6" fmla="*/ 2147483647 w 589"/>
              <a:gd name="T7" fmla="*/ 2147483647 h 761"/>
              <a:gd name="T8" fmla="*/ 2147483647 w 589"/>
              <a:gd name="T9" fmla="*/ 0 h 761"/>
              <a:gd name="T10" fmla="*/ 2147483647 w 589"/>
              <a:gd name="T11" fmla="*/ 0 h 761"/>
              <a:gd name="T12" fmla="*/ 0 w 589"/>
              <a:gd name="T13" fmla="*/ 2147483647 h 761"/>
              <a:gd name="T14" fmla="*/ 2147483647 w 589"/>
              <a:gd name="T15" fmla="*/ 2147483647 h 761"/>
              <a:gd name="T16" fmla="*/ 2147483647 w 589"/>
              <a:gd name="T17" fmla="*/ 2147483647 h 761"/>
              <a:gd name="T18" fmla="*/ 2147483647 w 589"/>
              <a:gd name="T19" fmla="*/ 2147483647 h 761"/>
              <a:gd name="T20" fmla="*/ 2147483647 w 589"/>
              <a:gd name="T21" fmla="*/ 2147483647 h 761"/>
              <a:gd name="T22" fmla="*/ 2147483647 w 589"/>
              <a:gd name="T23" fmla="*/ 2147483647 h 761"/>
              <a:gd name="T24" fmla="*/ 2147483647 w 589"/>
              <a:gd name="T25" fmla="*/ 2147483647 h 7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9"/>
              <a:gd name="T40" fmla="*/ 0 h 761"/>
              <a:gd name="T41" fmla="*/ 589 w 589"/>
              <a:gd name="T42" fmla="*/ 761 h 7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9" h="761">
                <a:moveTo>
                  <a:pt x="588" y="181"/>
                </a:moveTo>
                <a:lnTo>
                  <a:pt x="391" y="164"/>
                </a:lnTo>
                <a:lnTo>
                  <a:pt x="407" y="32"/>
                </a:lnTo>
                <a:lnTo>
                  <a:pt x="309" y="16"/>
                </a:lnTo>
                <a:lnTo>
                  <a:pt x="195" y="0"/>
                </a:lnTo>
                <a:lnTo>
                  <a:pt x="81" y="0"/>
                </a:lnTo>
                <a:lnTo>
                  <a:pt x="0" y="693"/>
                </a:lnTo>
                <a:lnTo>
                  <a:pt x="114" y="710"/>
                </a:lnTo>
                <a:lnTo>
                  <a:pt x="228" y="726"/>
                </a:lnTo>
                <a:lnTo>
                  <a:pt x="326" y="743"/>
                </a:lnTo>
                <a:lnTo>
                  <a:pt x="424" y="760"/>
                </a:lnTo>
                <a:lnTo>
                  <a:pt x="538" y="760"/>
                </a:lnTo>
                <a:lnTo>
                  <a:pt x="588" y="181"/>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104" name="Freeform 55"/>
          <p:cNvSpPr>
            <a:spLocks/>
          </p:cNvSpPr>
          <p:nvPr/>
        </p:nvSpPr>
        <p:spPr bwMode="auto">
          <a:xfrm>
            <a:off x="3521075" y="1190625"/>
            <a:ext cx="1220788" cy="552450"/>
          </a:xfrm>
          <a:custGeom>
            <a:avLst/>
            <a:gdLst>
              <a:gd name="T0" fmla="*/ 2147483647 w 769"/>
              <a:gd name="T1" fmla="*/ 0 h 464"/>
              <a:gd name="T2" fmla="*/ 2147483647 w 769"/>
              <a:gd name="T3" fmla="*/ 0 h 464"/>
              <a:gd name="T4" fmla="*/ 2147483647 w 769"/>
              <a:gd name="T5" fmla="*/ 0 h 464"/>
              <a:gd name="T6" fmla="*/ 2147483647 w 769"/>
              <a:gd name="T7" fmla="*/ 0 h 464"/>
              <a:gd name="T8" fmla="*/ 2147483647 w 769"/>
              <a:gd name="T9" fmla="*/ 0 h 464"/>
              <a:gd name="T10" fmla="*/ 2147483647 w 769"/>
              <a:gd name="T11" fmla="*/ 2147483647 h 464"/>
              <a:gd name="T12" fmla="*/ 0 w 769"/>
              <a:gd name="T13" fmla="*/ 2147483647 h 464"/>
              <a:gd name="T14" fmla="*/ 2147483647 w 769"/>
              <a:gd name="T15" fmla="*/ 2147483647 h 464"/>
              <a:gd name="T16" fmla="*/ 2147483647 w 769"/>
              <a:gd name="T17" fmla="*/ 2147483647 h 464"/>
              <a:gd name="T18" fmla="*/ 2147483647 w 769"/>
              <a:gd name="T19" fmla="*/ 2147483647 h 464"/>
              <a:gd name="T20" fmla="*/ 2147483647 w 769"/>
              <a:gd name="T21" fmla="*/ 2147483647 h 464"/>
              <a:gd name="T22" fmla="*/ 2147483647 w 769"/>
              <a:gd name="T23" fmla="*/ 2147483647 h 464"/>
              <a:gd name="T24" fmla="*/ 2147483647 w 769"/>
              <a:gd name="T25" fmla="*/ 2147483647 h 464"/>
              <a:gd name="T26" fmla="*/ 2147483647 w 769"/>
              <a:gd name="T27" fmla="*/ 2147483647 h 464"/>
              <a:gd name="T28" fmla="*/ 2147483647 w 769"/>
              <a:gd name="T29" fmla="*/ 2147483647 h 464"/>
              <a:gd name="T30" fmla="*/ 2147483647 w 769"/>
              <a:gd name="T31" fmla="*/ 2147483647 h 464"/>
              <a:gd name="T32" fmla="*/ 2147483647 w 769"/>
              <a:gd name="T33" fmla="*/ 2147483647 h 464"/>
              <a:gd name="T34" fmla="*/ 2147483647 w 769"/>
              <a:gd name="T35" fmla="*/ 2147483647 h 464"/>
              <a:gd name="T36" fmla="*/ 2147483647 w 769"/>
              <a:gd name="T37" fmla="*/ 2147483647 h 464"/>
              <a:gd name="T38" fmla="*/ 2147483647 w 769"/>
              <a:gd name="T39" fmla="*/ 2147483647 h 464"/>
              <a:gd name="T40" fmla="*/ 2147483647 w 769"/>
              <a:gd name="T41" fmla="*/ 2147483647 h 464"/>
              <a:gd name="T42" fmla="*/ 2147483647 w 769"/>
              <a:gd name="T43" fmla="*/ 2147483647 h 464"/>
              <a:gd name="T44" fmla="*/ 2147483647 w 769"/>
              <a:gd name="T45" fmla="*/ 2147483647 h 464"/>
              <a:gd name="T46" fmla="*/ 2147483647 w 769"/>
              <a:gd name="T47" fmla="*/ 2147483647 h 464"/>
              <a:gd name="T48" fmla="*/ 2147483647 w 769"/>
              <a:gd name="T49" fmla="*/ 2147483647 h 464"/>
              <a:gd name="T50" fmla="*/ 2147483647 w 769"/>
              <a:gd name="T51" fmla="*/ 2147483647 h 464"/>
              <a:gd name="T52" fmla="*/ 2147483647 w 769"/>
              <a:gd name="T53" fmla="*/ 2147483647 h 464"/>
              <a:gd name="T54" fmla="*/ 2147483647 w 769"/>
              <a:gd name="T55" fmla="*/ 2147483647 h 464"/>
              <a:gd name="T56" fmla="*/ 2147483647 w 769"/>
              <a:gd name="T57" fmla="*/ 2147483647 h 464"/>
              <a:gd name="T58" fmla="*/ 2147483647 w 769"/>
              <a:gd name="T59" fmla="*/ 2147483647 h 464"/>
              <a:gd name="T60" fmla="*/ 2147483647 w 769"/>
              <a:gd name="T61" fmla="*/ 2147483647 h 464"/>
              <a:gd name="T62" fmla="*/ 2147483647 w 769"/>
              <a:gd name="T63" fmla="*/ 2147483647 h 464"/>
              <a:gd name="T64" fmla="*/ 2147483647 w 769"/>
              <a:gd name="T65" fmla="*/ 2147483647 h 464"/>
              <a:gd name="T66" fmla="*/ 2147483647 w 769"/>
              <a:gd name="T67" fmla="*/ 2147483647 h 464"/>
              <a:gd name="T68" fmla="*/ 2147483647 w 769"/>
              <a:gd name="T69" fmla="*/ 2147483647 h 464"/>
              <a:gd name="T70" fmla="*/ 2147483647 w 769"/>
              <a:gd name="T71" fmla="*/ 2147483647 h 464"/>
              <a:gd name="T72" fmla="*/ 2147483647 w 769"/>
              <a:gd name="T73" fmla="*/ 2147483647 h 464"/>
              <a:gd name="T74" fmla="*/ 2147483647 w 769"/>
              <a:gd name="T75" fmla="*/ 0 h 464"/>
              <a:gd name="T76" fmla="*/ 2147483647 w 769"/>
              <a:gd name="T77" fmla="*/ 0 h 4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69"/>
              <a:gd name="T118" fmla="*/ 0 h 464"/>
              <a:gd name="T119" fmla="*/ 769 w 769"/>
              <a:gd name="T120" fmla="*/ 464 h 46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69" h="464">
                <a:moveTo>
                  <a:pt x="735" y="0"/>
                </a:moveTo>
                <a:lnTo>
                  <a:pt x="473" y="0"/>
                </a:lnTo>
                <a:lnTo>
                  <a:pt x="294" y="0"/>
                </a:lnTo>
                <a:lnTo>
                  <a:pt x="97" y="0"/>
                </a:lnTo>
                <a:lnTo>
                  <a:pt x="16" y="0"/>
                </a:lnTo>
                <a:lnTo>
                  <a:pt x="16" y="132"/>
                </a:lnTo>
                <a:lnTo>
                  <a:pt x="0" y="429"/>
                </a:lnTo>
                <a:lnTo>
                  <a:pt x="212" y="429"/>
                </a:lnTo>
                <a:lnTo>
                  <a:pt x="326" y="429"/>
                </a:lnTo>
                <a:lnTo>
                  <a:pt x="425" y="413"/>
                </a:lnTo>
                <a:lnTo>
                  <a:pt x="539" y="413"/>
                </a:lnTo>
                <a:lnTo>
                  <a:pt x="571" y="413"/>
                </a:lnTo>
                <a:lnTo>
                  <a:pt x="571" y="429"/>
                </a:lnTo>
                <a:lnTo>
                  <a:pt x="587" y="429"/>
                </a:lnTo>
                <a:lnTo>
                  <a:pt x="620" y="413"/>
                </a:lnTo>
                <a:lnTo>
                  <a:pt x="637" y="413"/>
                </a:lnTo>
                <a:lnTo>
                  <a:pt x="653" y="413"/>
                </a:lnTo>
                <a:lnTo>
                  <a:pt x="669" y="429"/>
                </a:lnTo>
                <a:lnTo>
                  <a:pt x="702" y="446"/>
                </a:lnTo>
                <a:lnTo>
                  <a:pt x="718" y="446"/>
                </a:lnTo>
                <a:lnTo>
                  <a:pt x="718" y="463"/>
                </a:lnTo>
                <a:lnTo>
                  <a:pt x="735" y="463"/>
                </a:lnTo>
                <a:lnTo>
                  <a:pt x="718" y="463"/>
                </a:lnTo>
                <a:lnTo>
                  <a:pt x="768" y="463"/>
                </a:lnTo>
                <a:lnTo>
                  <a:pt x="751" y="463"/>
                </a:lnTo>
                <a:lnTo>
                  <a:pt x="751" y="429"/>
                </a:lnTo>
                <a:lnTo>
                  <a:pt x="751" y="413"/>
                </a:lnTo>
                <a:lnTo>
                  <a:pt x="751" y="396"/>
                </a:lnTo>
                <a:lnTo>
                  <a:pt x="751" y="363"/>
                </a:lnTo>
                <a:lnTo>
                  <a:pt x="751" y="347"/>
                </a:lnTo>
                <a:lnTo>
                  <a:pt x="751" y="330"/>
                </a:lnTo>
                <a:lnTo>
                  <a:pt x="751" y="313"/>
                </a:lnTo>
                <a:lnTo>
                  <a:pt x="751" y="247"/>
                </a:lnTo>
                <a:lnTo>
                  <a:pt x="751" y="66"/>
                </a:lnTo>
                <a:lnTo>
                  <a:pt x="751" y="33"/>
                </a:lnTo>
                <a:lnTo>
                  <a:pt x="735" y="33"/>
                </a:lnTo>
                <a:lnTo>
                  <a:pt x="718" y="33"/>
                </a:lnTo>
                <a:lnTo>
                  <a:pt x="718" y="0"/>
                </a:lnTo>
                <a:lnTo>
                  <a:pt x="735" y="0"/>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105" name="Freeform 56"/>
          <p:cNvSpPr>
            <a:spLocks/>
          </p:cNvSpPr>
          <p:nvPr/>
        </p:nvSpPr>
        <p:spPr bwMode="auto">
          <a:xfrm>
            <a:off x="876301" y="1622822"/>
            <a:ext cx="1012825" cy="1260872"/>
          </a:xfrm>
          <a:custGeom>
            <a:avLst/>
            <a:gdLst>
              <a:gd name="T0" fmla="*/ 2147483647 w 638"/>
              <a:gd name="T1" fmla="*/ 2147483647 h 1059"/>
              <a:gd name="T2" fmla="*/ 2147483647 w 638"/>
              <a:gd name="T3" fmla="*/ 2147483647 h 1059"/>
              <a:gd name="T4" fmla="*/ 2147483647 w 638"/>
              <a:gd name="T5" fmla="*/ 0 h 1059"/>
              <a:gd name="T6" fmla="*/ 2147483647 w 638"/>
              <a:gd name="T7" fmla="*/ 2147483647 h 1059"/>
              <a:gd name="T8" fmla="*/ 0 w 638"/>
              <a:gd name="T9" fmla="*/ 2147483647 h 1059"/>
              <a:gd name="T10" fmla="*/ 2147483647 w 638"/>
              <a:gd name="T11" fmla="*/ 2147483647 h 1059"/>
              <a:gd name="T12" fmla="*/ 2147483647 w 638"/>
              <a:gd name="T13" fmla="*/ 2147483647 h 1059"/>
              <a:gd name="T14" fmla="*/ 2147483647 w 638"/>
              <a:gd name="T15" fmla="*/ 2147483647 h 1059"/>
              <a:gd name="T16" fmla="*/ 2147483647 w 638"/>
              <a:gd name="T17" fmla="*/ 2147483647 h 1059"/>
              <a:gd name="T18" fmla="*/ 2147483647 w 638"/>
              <a:gd name="T19" fmla="*/ 2147483647 h 1059"/>
              <a:gd name="T20" fmla="*/ 2147483647 w 638"/>
              <a:gd name="T21" fmla="*/ 2147483647 h 1059"/>
              <a:gd name="T22" fmla="*/ 2147483647 w 638"/>
              <a:gd name="T23" fmla="*/ 2147483647 h 1059"/>
              <a:gd name="T24" fmla="*/ 2147483647 w 638"/>
              <a:gd name="T25" fmla="*/ 2147483647 h 1059"/>
              <a:gd name="T26" fmla="*/ 2147483647 w 638"/>
              <a:gd name="T27" fmla="*/ 2147483647 h 1059"/>
              <a:gd name="T28" fmla="*/ 2147483647 w 638"/>
              <a:gd name="T29" fmla="*/ 2147483647 h 1059"/>
              <a:gd name="T30" fmla="*/ 2147483647 w 638"/>
              <a:gd name="T31" fmla="*/ 2147483647 h 1059"/>
              <a:gd name="T32" fmla="*/ 2147483647 w 638"/>
              <a:gd name="T33" fmla="*/ 2147483647 h 1059"/>
              <a:gd name="T34" fmla="*/ 2147483647 w 638"/>
              <a:gd name="T35" fmla="*/ 2147483647 h 1059"/>
              <a:gd name="T36" fmla="*/ 2147483647 w 638"/>
              <a:gd name="T37" fmla="*/ 2147483647 h 1059"/>
              <a:gd name="T38" fmla="*/ 2147483647 w 638"/>
              <a:gd name="T39" fmla="*/ 2147483647 h 10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38"/>
              <a:gd name="T61" fmla="*/ 0 h 1059"/>
              <a:gd name="T62" fmla="*/ 638 w 638"/>
              <a:gd name="T63" fmla="*/ 1059 h 10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38" h="1059">
                <a:moveTo>
                  <a:pt x="359" y="50"/>
                </a:moveTo>
                <a:lnTo>
                  <a:pt x="261" y="33"/>
                </a:lnTo>
                <a:lnTo>
                  <a:pt x="98" y="0"/>
                </a:lnTo>
                <a:lnTo>
                  <a:pt x="82" y="50"/>
                </a:lnTo>
                <a:lnTo>
                  <a:pt x="0" y="396"/>
                </a:lnTo>
                <a:lnTo>
                  <a:pt x="473" y="1041"/>
                </a:lnTo>
                <a:lnTo>
                  <a:pt x="473" y="1058"/>
                </a:lnTo>
                <a:lnTo>
                  <a:pt x="489" y="1041"/>
                </a:lnTo>
                <a:lnTo>
                  <a:pt x="489" y="991"/>
                </a:lnTo>
                <a:lnTo>
                  <a:pt x="489" y="975"/>
                </a:lnTo>
                <a:lnTo>
                  <a:pt x="489" y="925"/>
                </a:lnTo>
                <a:lnTo>
                  <a:pt x="489" y="892"/>
                </a:lnTo>
                <a:lnTo>
                  <a:pt x="522" y="925"/>
                </a:lnTo>
                <a:lnTo>
                  <a:pt x="555" y="908"/>
                </a:lnTo>
                <a:lnTo>
                  <a:pt x="555" y="892"/>
                </a:lnTo>
                <a:lnTo>
                  <a:pt x="555" y="793"/>
                </a:lnTo>
                <a:lnTo>
                  <a:pt x="637" y="99"/>
                </a:lnTo>
                <a:lnTo>
                  <a:pt x="555" y="82"/>
                </a:lnTo>
                <a:lnTo>
                  <a:pt x="425" y="66"/>
                </a:lnTo>
                <a:lnTo>
                  <a:pt x="359" y="50"/>
                </a:lnTo>
              </a:path>
            </a:pathLst>
          </a:custGeom>
          <a:solidFill>
            <a:schemeClr val="accent6"/>
          </a:solidFill>
          <a:ln w="12700" cap="rnd" cmpd="sng">
            <a:solidFill>
              <a:schemeClr val="tx1"/>
            </a:solidFill>
            <a:prstDash val="solid"/>
            <a:round/>
            <a:headEnd type="none" w="sm" len="sm"/>
            <a:tailEnd type="none" w="sm" len="sm"/>
          </a:ln>
        </p:spPr>
        <p:txBody>
          <a:bodyPr/>
          <a:lstStyle/>
          <a:p>
            <a:endParaRPr lang="en-US" dirty="0"/>
          </a:p>
        </p:txBody>
      </p:sp>
      <p:sp>
        <p:nvSpPr>
          <p:cNvPr id="2106" name="Freeform 57"/>
          <p:cNvSpPr>
            <a:spLocks/>
          </p:cNvSpPr>
          <p:nvPr/>
        </p:nvSpPr>
        <p:spPr bwMode="auto">
          <a:xfrm>
            <a:off x="6475414" y="3413522"/>
            <a:ext cx="1608137" cy="865584"/>
          </a:xfrm>
          <a:custGeom>
            <a:avLst/>
            <a:gdLst>
              <a:gd name="T0" fmla="*/ 2147483647 w 1013"/>
              <a:gd name="T1" fmla="*/ 2147483647 h 727"/>
              <a:gd name="T2" fmla="*/ 2147483647 w 1013"/>
              <a:gd name="T3" fmla="*/ 2147483647 h 727"/>
              <a:gd name="T4" fmla="*/ 2147483647 w 1013"/>
              <a:gd name="T5" fmla="*/ 2147483647 h 727"/>
              <a:gd name="T6" fmla="*/ 2147483647 w 1013"/>
              <a:gd name="T7" fmla="*/ 2147483647 h 727"/>
              <a:gd name="T8" fmla="*/ 2147483647 w 1013"/>
              <a:gd name="T9" fmla="*/ 0 h 727"/>
              <a:gd name="T10" fmla="*/ 2147483647 w 1013"/>
              <a:gd name="T11" fmla="*/ 2147483647 h 727"/>
              <a:gd name="T12" fmla="*/ 2147483647 w 1013"/>
              <a:gd name="T13" fmla="*/ 2147483647 h 727"/>
              <a:gd name="T14" fmla="*/ 2147483647 w 1013"/>
              <a:gd name="T15" fmla="*/ 2147483647 h 727"/>
              <a:gd name="T16" fmla="*/ 2147483647 w 1013"/>
              <a:gd name="T17" fmla="*/ 2147483647 h 727"/>
              <a:gd name="T18" fmla="*/ 2147483647 w 1013"/>
              <a:gd name="T19" fmla="*/ 2147483647 h 727"/>
              <a:gd name="T20" fmla="*/ 2147483647 w 1013"/>
              <a:gd name="T21" fmla="*/ 2147483647 h 727"/>
              <a:gd name="T22" fmla="*/ 2147483647 w 1013"/>
              <a:gd name="T23" fmla="*/ 2147483647 h 727"/>
              <a:gd name="T24" fmla="*/ 2147483647 w 1013"/>
              <a:gd name="T25" fmla="*/ 2147483647 h 727"/>
              <a:gd name="T26" fmla="*/ 2147483647 w 1013"/>
              <a:gd name="T27" fmla="*/ 2147483647 h 727"/>
              <a:gd name="T28" fmla="*/ 2147483647 w 1013"/>
              <a:gd name="T29" fmla="*/ 2147483647 h 727"/>
              <a:gd name="T30" fmla="*/ 2147483647 w 1013"/>
              <a:gd name="T31" fmla="*/ 2147483647 h 727"/>
              <a:gd name="T32" fmla="*/ 2147483647 w 1013"/>
              <a:gd name="T33" fmla="*/ 2147483647 h 727"/>
              <a:gd name="T34" fmla="*/ 2147483647 w 1013"/>
              <a:gd name="T35" fmla="*/ 2147483647 h 727"/>
              <a:gd name="T36" fmla="*/ 2147483647 w 1013"/>
              <a:gd name="T37" fmla="*/ 2147483647 h 727"/>
              <a:gd name="T38" fmla="*/ 2147483647 w 1013"/>
              <a:gd name="T39" fmla="*/ 2147483647 h 727"/>
              <a:gd name="T40" fmla="*/ 2147483647 w 1013"/>
              <a:gd name="T41" fmla="*/ 2147483647 h 727"/>
              <a:gd name="T42" fmla="*/ 2147483647 w 1013"/>
              <a:gd name="T43" fmla="*/ 2147483647 h 727"/>
              <a:gd name="T44" fmla="*/ 2147483647 w 1013"/>
              <a:gd name="T45" fmla="*/ 2147483647 h 727"/>
              <a:gd name="T46" fmla="*/ 2147483647 w 1013"/>
              <a:gd name="T47" fmla="*/ 2147483647 h 727"/>
              <a:gd name="T48" fmla="*/ 2147483647 w 1013"/>
              <a:gd name="T49" fmla="*/ 2147483647 h 727"/>
              <a:gd name="T50" fmla="*/ 2147483647 w 1013"/>
              <a:gd name="T51" fmla="*/ 2147483647 h 727"/>
              <a:gd name="T52" fmla="*/ 2147483647 w 1013"/>
              <a:gd name="T53" fmla="*/ 2147483647 h 727"/>
              <a:gd name="T54" fmla="*/ 2147483647 w 1013"/>
              <a:gd name="T55" fmla="*/ 2147483647 h 727"/>
              <a:gd name="T56" fmla="*/ 2147483647 w 1013"/>
              <a:gd name="T57" fmla="*/ 2147483647 h 727"/>
              <a:gd name="T58" fmla="*/ 2147483647 w 1013"/>
              <a:gd name="T59" fmla="*/ 2147483647 h 727"/>
              <a:gd name="T60" fmla="*/ 2147483647 w 1013"/>
              <a:gd name="T61" fmla="*/ 2147483647 h 727"/>
              <a:gd name="T62" fmla="*/ 2147483647 w 1013"/>
              <a:gd name="T63" fmla="*/ 2147483647 h 727"/>
              <a:gd name="T64" fmla="*/ 2147483647 w 1013"/>
              <a:gd name="T65" fmla="*/ 2147483647 h 727"/>
              <a:gd name="T66" fmla="*/ 0 w 1013"/>
              <a:gd name="T67" fmla="*/ 2147483647 h 7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13"/>
              <a:gd name="T103" fmla="*/ 0 h 727"/>
              <a:gd name="T104" fmla="*/ 1013 w 1013"/>
              <a:gd name="T105" fmla="*/ 727 h 7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13" h="727">
                <a:moveTo>
                  <a:pt x="310" y="66"/>
                </a:moveTo>
                <a:lnTo>
                  <a:pt x="604" y="32"/>
                </a:lnTo>
                <a:lnTo>
                  <a:pt x="620" y="66"/>
                </a:lnTo>
                <a:lnTo>
                  <a:pt x="637" y="66"/>
                </a:lnTo>
                <a:lnTo>
                  <a:pt x="637" y="32"/>
                </a:lnTo>
                <a:lnTo>
                  <a:pt x="653" y="32"/>
                </a:lnTo>
                <a:lnTo>
                  <a:pt x="653" y="0"/>
                </a:lnTo>
                <a:lnTo>
                  <a:pt x="669" y="16"/>
                </a:lnTo>
                <a:lnTo>
                  <a:pt x="702" y="0"/>
                </a:lnTo>
                <a:lnTo>
                  <a:pt x="718" y="0"/>
                </a:lnTo>
                <a:lnTo>
                  <a:pt x="735" y="32"/>
                </a:lnTo>
                <a:lnTo>
                  <a:pt x="751" y="115"/>
                </a:lnTo>
                <a:lnTo>
                  <a:pt x="816" y="198"/>
                </a:lnTo>
                <a:lnTo>
                  <a:pt x="849" y="230"/>
                </a:lnTo>
                <a:lnTo>
                  <a:pt x="865" y="280"/>
                </a:lnTo>
                <a:lnTo>
                  <a:pt x="882" y="330"/>
                </a:lnTo>
                <a:lnTo>
                  <a:pt x="914" y="379"/>
                </a:lnTo>
                <a:lnTo>
                  <a:pt x="930" y="396"/>
                </a:lnTo>
                <a:lnTo>
                  <a:pt x="947" y="429"/>
                </a:lnTo>
                <a:lnTo>
                  <a:pt x="980" y="462"/>
                </a:lnTo>
                <a:lnTo>
                  <a:pt x="980" y="495"/>
                </a:lnTo>
                <a:lnTo>
                  <a:pt x="996" y="544"/>
                </a:lnTo>
                <a:lnTo>
                  <a:pt x="996" y="561"/>
                </a:lnTo>
                <a:lnTo>
                  <a:pt x="1012" y="593"/>
                </a:lnTo>
                <a:lnTo>
                  <a:pt x="1012" y="659"/>
                </a:lnTo>
                <a:lnTo>
                  <a:pt x="996" y="693"/>
                </a:lnTo>
                <a:lnTo>
                  <a:pt x="947" y="710"/>
                </a:lnTo>
                <a:lnTo>
                  <a:pt x="930" y="726"/>
                </a:lnTo>
                <a:lnTo>
                  <a:pt x="882" y="693"/>
                </a:lnTo>
                <a:lnTo>
                  <a:pt x="882" y="659"/>
                </a:lnTo>
                <a:lnTo>
                  <a:pt x="832" y="644"/>
                </a:lnTo>
                <a:lnTo>
                  <a:pt x="799" y="627"/>
                </a:lnTo>
                <a:lnTo>
                  <a:pt x="783" y="593"/>
                </a:lnTo>
                <a:lnTo>
                  <a:pt x="783" y="578"/>
                </a:lnTo>
                <a:lnTo>
                  <a:pt x="751" y="561"/>
                </a:lnTo>
                <a:lnTo>
                  <a:pt x="751" y="527"/>
                </a:lnTo>
                <a:lnTo>
                  <a:pt x="718" y="527"/>
                </a:lnTo>
                <a:lnTo>
                  <a:pt x="702" y="495"/>
                </a:lnTo>
                <a:lnTo>
                  <a:pt x="669" y="462"/>
                </a:lnTo>
                <a:lnTo>
                  <a:pt x="685" y="445"/>
                </a:lnTo>
                <a:lnTo>
                  <a:pt x="669" y="412"/>
                </a:lnTo>
                <a:lnTo>
                  <a:pt x="637" y="396"/>
                </a:lnTo>
                <a:lnTo>
                  <a:pt x="637" y="363"/>
                </a:lnTo>
                <a:lnTo>
                  <a:pt x="637" y="313"/>
                </a:lnTo>
                <a:lnTo>
                  <a:pt x="637" y="264"/>
                </a:lnTo>
                <a:lnTo>
                  <a:pt x="604" y="230"/>
                </a:lnTo>
                <a:lnTo>
                  <a:pt x="587" y="230"/>
                </a:lnTo>
                <a:lnTo>
                  <a:pt x="539" y="198"/>
                </a:lnTo>
                <a:lnTo>
                  <a:pt x="506" y="181"/>
                </a:lnTo>
                <a:lnTo>
                  <a:pt x="473" y="132"/>
                </a:lnTo>
                <a:lnTo>
                  <a:pt x="440" y="132"/>
                </a:lnTo>
                <a:lnTo>
                  <a:pt x="408" y="132"/>
                </a:lnTo>
                <a:lnTo>
                  <a:pt x="408" y="164"/>
                </a:lnTo>
                <a:lnTo>
                  <a:pt x="359" y="181"/>
                </a:lnTo>
                <a:lnTo>
                  <a:pt x="310" y="198"/>
                </a:lnTo>
                <a:lnTo>
                  <a:pt x="294" y="181"/>
                </a:lnTo>
                <a:lnTo>
                  <a:pt x="245" y="181"/>
                </a:lnTo>
                <a:lnTo>
                  <a:pt x="245" y="132"/>
                </a:lnTo>
                <a:lnTo>
                  <a:pt x="228" y="132"/>
                </a:lnTo>
                <a:lnTo>
                  <a:pt x="195" y="147"/>
                </a:lnTo>
                <a:lnTo>
                  <a:pt x="114" y="147"/>
                </a:lnTo>
                <a:lnTo>
                  <a:pt x="81" y="164"/>
                </a:lnTo>
                <a:lnTo>
                  <a:pt x="65" y="147"/>
                </a:lnTo>
                <a:lnTo>
                  <a:pt x="32" y="164"/>
                </a:lnTo>
                <a:lnTo>
                  <a:pt x="16" y="164"/>
                </a:lnTo>
                <a:lnTo>
                  <a:pt x="16" y="132"/>
                </a:lnTo>
                <a:lnTo>
                  <a:pt x="0" y="98"/>
                </a:lnTo>
                <a:lnTo>
                  <a:pt x="0" y="81"/>
                </a:lnTo>
                <a:lnTo>
                  <a:pt x="310" y="66"/>
                </a:lnTo>
              </a:path>
            </a:pathLst>
          </a:custGeom>
          <a:solidFill>
            <a:srgbClr val="00B0F0"/>
          </a:solidFill>
          <a:ln w="12700" cap="rnd" cmpd="sng">
            <a:solidFill>
              <a:schemeClr val="tx1"/>
            </a:solidFill>
            <a:prstDash val="solid"/>
            <a:round/>
            <a:headEnd type="none" w="sm" len="sm"/>
            <a:tailEnd type="none" w="sm" len="sm"/>
          </a:ln>
        </p:spPr>
        <p:txBody>
          <a:bodyPr/>
          <a:lstStyle/>
          <a:p>
            <a:endParaRPr lang="en-US" dirty="0"/>
          </a:p>
        </p:txBody>
      </p:sp>
      <p:sp>
        <p:nvSpPr>
          <p:cNvPr id="2107" name="Rectangle 58"/>
          <p:cNvSpPr>
            <a:spLocks noChangeArrowheads="1"/>
          </p:cNvSpPr>
          <p:nvPr/>
        </p:nvSpPr>
        <p:spPr bwMode="auto">
          <a:xfrm>
            <a:off x="974726" y="606029"/>
            <a:ext cx="575479"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WA</a:t>
            </a:r>
          </a:p>
        </p:txBody>
      </p:sp>
      <p:sp>
        <p:nvSpPr>
          <p:cNvPr id="2108" name="Rectangle 59"/>
          <p:cNvSpPr>
            <a:spLocks noChangeArrowheads="1"/>
          </p:cNvSpPr>
          <p:nvPr/>
        </p:nvSpPr>
        <p:spPr bwMode="auto">
          <a:xfrm>
            <a:off x="2422526" y="820341"/>
            <a:ext cx="519373"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MT</a:t>
            </a:r>
          </a:p>
        </p:txBody>
      </p:sp>
      <p:sp>
        <p:nvSpPr>
          <p:cNvPr id="2109" name="Rectangle 60"/>
          <p:cNvSpPr>
            <a:spLocks noChangeArrowheads="1"/>
          </p:cNvSpPr>
          <p:nvPr/>
        </p:nvSpPr>
        <p:spPr bwMode="auto">
          <a:xfrm>
            <a:off x="746125" y="1140619"/>
            <a:ext cx="520976"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OR</a:t>
            </a:r>
          </a:p>
        </p:txBody>
      </p:sp>
      <p:sp>
        <p:nvSpPr>
          <p:cNvPr id="2110" name="Rectangle 61"/>
          <p:cNvSpPr>
            <a:spLocks noChangeArrowheads="1"/>
          </p:cNvSpPr>
          <p:nvPr/>
        </p:nvSpPr>
        <p:spPr bwMode="auto">
          <a:xfrm>
            <a:off x="1660526" y="1301354"/>
            <a:ext cx="468077"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ID</a:t>
            </a:r>
          </a:p>
        </p:txBody>
      </p:sp>
      <p:sp>
        <p:nvSpPr>
          <p:cNvPr id="2111" name="Rectangle 62"/>
          <p:cNvSpPr>
            <a:spLocks noChangeArrowheads="1"/>
          </p:cNvSpPr>
          <p:nvPr/>
        </p:nvSpPr>
        <p:spPr bwMode="auto">
          <a:xfrm>
            <a:off x="2727325" y="1515666"/>
            <a:ext cx="567463"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WY</a:t>
            </a:r>
          </a:p>
        </p:txBody>
      </p:sp>
      <p:sp>
        <p:nvSpPr>
          <p:cNvPr id="2112" name="Rectangle 63"/>
          <p:cNvSpPr>
            <a:spLocks noChangeArrowheads="1"/>
          </p:cNvSpPr>
          <p:nvPr/>
        </p:nvSpPr>
        <p:spPr bwMode="auto">
          <a:xfrm>
            <a:off x="517526" y="2372916"/>
            <a:ext cx="493725"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CA</a:t>
            </a:r>
          </a:p>
        </p:txBody>
      </p:sp>
      <p:sp>
        <p:nvSpPr>
          <p:cNvPr id="2113" name="Rectangle 64"/>
          <p:cNvSpPr>
            <a:spLocks noChangeArrowheads="1"/>
          </p:cNvSpPr>
          <p:nvPr/>
        </p:nvSpPr>
        <p:spPr bwMode="auto">
          <a:xfrm>
            <a:off x="1127125" y="1890713"/>
            <a:ext cx="516167"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NV</a:t>
            </a:r>
          </a:p>
        </p:txBody>
      </p:sp>
      <p:sp>
        <p:nvSpPr>
          <p:cNvPr id="2114" name="Rectangle 65"/>
          <p:cNvSpPr>
            <a:spLocks noChangeArrowheads="1"/>
          </p:cNvSpPr>
          <p:nvPr/>
        </p:nvSpPr>
        <p:spPr bwMode="auto">
          <a:xfrm>
            <a:off x="1965326" y="2158604"/>
            <a:ext cx="492122"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UT</a:t>
            </a:r>
          </a:p>
        </p:txBody>
      </p:sp>
      <p:sp>
        <p:nvSpPr>
          <p:cNvPr id="2115" name="Rectangle 66"/>
          <p:cNvSpPr>
            <a:spLocks noChangeArrowheads="1"/>
          </p:cNvSpPr>
          <p:nvPr/>
        </p:nvSpPr>
        <p:spPr bwMode="auto">
          <a:xfrm>
            <a:off x="2955925" y="2212182"/>
            <a:ext cx="509755"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CO</a:t>
            </a:r>
          </a:p>
        </p:txBody>
      </p:sp>
      <p:sp>
        <p:nvSpPr>
          <p:cNvPr id="2116" name="Rectangle 67"/>
          <p:cNvSpPr>
            <a:spLocks noChangeArrowheads="1"/>
          </p:cNvSpPr>
          <p:nvPr/>
        </p:nvSpPr>
        <p:spPr bwMode="auto">
          <a:xfrm>
            <a:off x="1889126" y="2853929"/>
            <a:ext cx="487313"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AZ</a:t>
            </a:r>
          </a:p>
        </p:txBody>
      </p:sp>
      <p:sp>
        <p:nvSpPr>
          <p:cNvPr id="2117" name="Rectangle 68"/>
          <p:cNvSpPr>
            <a:spLocks noChangeArrowheads="1"/>
          </p:cNvSpPr>
          <p:nvPr/>
        </p:nvSpPr>
        <p:spPr bwMode="auto">
          <a:xfrm>
            <a:off x="3870325" y="820341"/>
            <a:ext cx="528991"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ND</a:t>
            </a:r>
          </a:p>
        </p:txBody>
      </p:sp>
      <p:sp>
        <p:nvSpPr>
          <p:cNvPr id="2118" name="Rectangle 69"/>
          <p:cNvSpPr>
            <a:spLocks noChangeArrowheads="1"/>
          </p:cNvSpPr>
          <p:nvPr/>
        </p:nvSpPr>
        <p:spPr bwMode="auto">
          <a:xfrm>
            <a:off x="3870325" y="1301354"/>
            <a:ext cx="501740"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SD</a:t>
            </a:r>
          </a:p>
        </p:txBody>
      </p:sp>
      <p:sp>
        <p:nvSpPr>
          <p:cNvPr id="2119" name="Rectangle 70"/>
          <p:cNvSpPr>
            <a:spLocks noChangeArrowheads="1"/>
          </p:cNvSpPr>
          <p:nvPr/>
        </p:nvSpPr>
        <p:spPr bwMode="auto">
          <a:xfrm>
            <a:off x="4022726" y="1837135"/>
            <a:ext cx="498534"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NE</a:t>
            </a:r>
          </a:p>
        </p:txBody>
      </p:sp>
      <p:sp>
        <p:nvSpPr>
          <p:cNvPr id="2120" name="Rectangle 71"/>
          <p:cNvSpPr>
            <a:spLocks noChangeArrowheads="1"/>
          </p:cNvSpPr>
          <p:nvPr/>
        </p:nvSpPr>
        <p:spPr bwMode="auto">
          <a:xfrm>
            <a:off x="4175125" y="2319338"/>
            <a:ext cx="490519"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KS</a:t>
            </a:r>
          </a:p>
        </p:txBody>
      </p:sp>
      <p:sp>
        <p:nvSpPr>
          <p:cNvPr id="2121" name="Rectangle 72"/>
          <p:cNvSpPr>
            <a:spLocks noChangeArrowheads="1"/>
          </p:cNvSpPr>
          <p:nvPr/>
        </p:nvSpPr>
        <p:spPr bwMode="auto">
          <a:xfrm>
            <a:off x="4784725" y="873919"/>
            <a:ext cx="553037"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MN</a:t>
            </a:r>
          </a:p>
        </p:txBody>
      </p:sp>
      <p:sp>
        <p:nvSpPr>
          <p:cNvPr id="2122" name="Rectangle 73"/>
          <p:cNvSpPr>
            <a:spLocks noChangeArrowheads="1"/>
          </p:cNvSpPr>
          <p:nvPr/>
        </p:nvSpPr>
        <p:spPr bwMode="auto">
          <a:xfrm>
            <a:off x="4937125" y="1622823"/>
            <a:ext cx="456856"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IA</a:t>
            </a:r>
          </a:p>
        </p:txBody>
      </p:sp>
      <p:sp>
        <p:nvSpPr>
          <p:cNvPr id="2123" name="Rectangle 74"/>
          <p:cNvSpPr>
            <a:spLocks noChangeArrowheads="1"/>
          </p:cNvSpPr>
          <p:nvPr/>
        </p:nvSpPr>
        <p:spPr bwMode="auto">
          <a:xfrm>
            <a:off x="5165725" y="2212182"/>
            <a:ext cx="554639"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MO</a:t>
            </a:r>
          </a:p>
        </p:txBody>
      </p:sp>
      <p:sp>
        <p:nvSpPr>
          <p:cNvPr id="2124" name="Rectangle 75"/>
          <p:cNvSpPr>
            <a:spLocks noChangeArrowheads="1"/>
          </p:cNvSpPr>
          <p:nvPr/>
        </p:nvSpPr>
        <p:spPr bwMode="auto">
          <a:xfrm>
            <a:off x="5470525" y="1140619"/>
            <a:ext cx="528991"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WI</a:t>
            </a:r>
          </a:p>
        </p:txBody>
      </p:sp>
      <p:sp>
        <p:nvSpPr>
          <p:cNvPr id="2125" name="Rectangle 76"/>
          <p:cNvSpPr>
            <a:spLocks noChangeArrowheads="1"/>
          </p:cNvSpPr>
          <p:nvPr/>
        </p:nvSpPr>
        <p:spPr bwMode="auto">
          <a:xfrm>
            <a:off x="6232526" y="1301354"/>
            <a:ext cx="492122"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MI</a:t>
            </a:r>
          </a:p>
        </p:txBody>
      </p:sp>
      <p:sp>
        <p:nvSpPr>
          <p:cNvPr id="2126" name="Rectangle 77"/>
          <p:cNvSpPr>
            <a:spLocks noChangeArrowheads="1"/>
          </p:cNvSpPr>
          <p:nvPr/>
        </p:nvSpPr>
        <p:spPr bwMode="auto">
          <a:xfrm>
            <a:off x="5699126" y="1890713"/>
            <a:ext cx="429605"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IL</a:t>
            </a:r>
          </a:p>
        </p:txBody>
      </p:sp>
      <p:sp>
        <p:nvSpPr>
          <p:cNvPr id="2127" name="Rectangle 78"/>
          <p:cNvSpPr>
            <a:spLocks noChangeArrowheads="1"/>
          </p:cNvSpPr>
          <p:nvPr/>
        </p:nvSpPr>
        <p:spPr bwMode="auto">
          <a:xfrm>
            <a:off x="6156325" y="1837135"/>
            <a:ext cx="471283"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IN</a:t>
            </a:r>
          </a:p>
        </p:txBody>
      </p:sp>
      <p:sp>
        <p:nvSpPr>
          <p:cNvPr id="2128" name="Rectangle 79"/>
          <p:cNvSpPr>
            <a:spLocks noChangeArrowheads="1"/>
          </p:cNvSpPr>
          <p:nvPr/>
        </p:nvSpPr>
        <p:spPr bwMode="auto">
          <a:xfrm>
            <a:off x="6689726" y="1783557"/>
            <a:ext cx="532197"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OH</a:t>
            </a:r>
          </a:p>
        </p:txBody>
      </p:sp>
      <p:sp>
        <p:nvSpPr>
          <p:cNvPr id="2129" name="Rectangle 80"/>
          <p:cNvSpPr>
            <a:spLocks noChangeArrowheads="1"/>
          </p:cNvSpPr>
          <p:nvPr/>
        </p:nvSpPr>
        <p:spPr bwMode="auto">
          <a:xfrm>
            <a:off x="2879725" y="2907507"/>
            <a:ext cx="553037"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NM</a:t>
            </a:r>
          </a:p>
        </p:txBody>
      </p:sp>
      <p:sp>
        <p:nvSpPr>
          <p:cNvPr id="2130" name="Rectangle 81"/>
          <p:cNvSpPr>
            <a:spLocks noChangeArrowheads="1"/>
          </p:cNvSpPr>
          <p:nvPr/>
        </p:nvSpPr>
        <p:spPr bwMode="auto">
          <a:xfrm>
            <a:off x="4098925" y="3389710"/>
            <a:ext cx="482504"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TX</a:t>
            </a:r>
          </a:p>
        </p:txBody>
      </p:sp>
      <p:sp>
        <p:nvSpPr>
          <p:cNvPr id="2131" name="Rectangle 82"/>
          <p:cNvSpPr>
            <a:spLocks noChangeArrowheads="1"/>
          </p:cNvSpPr>
          <p:nvPr/>
        </p:nvSpPr>
        <p:spPr bwMode="auto">
          <a:xfrm>
            <a:off x="4479926" y="2746773"/>
            <a:ext cx="519373"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OK</a:t>
            </a:r>
          </a:p>
        </p:txBody>
      </p:sp>
      <p:sp>
        <p:nvSpPr>
          <p:cNvPr id="2132" name="Rectangle 83"/>
          <p:cNvSpPr>
            <a:spLocks noChangeArrowheads="1"/>
          </p:cNvSpPr>
          <p:nvPr/>
        </p:nvSpPr>
        <p:spPr bwMode="auto">
          <a:xfrm>
            <a:off x="5318126" y="2800350"/>
            <a:ext cx="504946"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AR</a:t>
            </a:r>
          </a:p>
        </p:txBody>
      </p:sp>
      <p:sp>
        <p:nvSpPr>
          <p:cNvPr id="2133" name="Rectangle 84"/>
          <p:cNvSpPr>
            <a:spLocks noChangeArrowheads="1"/>
          </p:cNvSpPr>
          <p:nvPr/>
        </p:nvSpPr>
        <p:spPr bwMode="auto">
          <a:xfrm>
            <a:off x="5318125" y="3389710"/>
            <a:ext cx="476092"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LA</a:t>
            </a:r>
          </a:p>
        </p:txBody>
      </p:sp>
      <p:sp>
        <p:nvSpPr>
          <p:cNvPr id="2134" name="Rectangle 85"/>
          <p:cNvSpPr>
            <a:spLocks noChangeArrowheads="1"/>
          </p:cNvSpPr>
          <p:nvPr/>
        </p:nvSpPr>
        <p:spPr bwMode="auto">
          <a:xfrm>
            <a:off x="6537325" y="2265760"/>
            <a:ext cx="495328"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KY</a:t>
            </a:r>
          </a:p>
        </p:txBody>
      </p:sp>
      <p:sp>
        <p:nvSpPr>
          <p:cNvPr id="2135" name="Rectangle 86"/>
          <p:cNvSpPr>
            <a:spLocks noChangeArrowheads="1"/>
          </p:cNvSpPr>
          <p:nvPr/>
        </p:nvSpPr>
        <p:spPr bwMode="auto">
          <a:xfrm>
            <a:off x="6308725" y="2586038"/>
            <a:ext cx="498534"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TN</a:t>
            </a:r>
          </a:p>
        </p:txBody>
      </p:sp>
      <p:sp>
        <p:nvSpPr>
          <p:cNvPr id="2136" name="Rectangle 87"/>
          <p:cNvSpPr>
            <a:spLocks noChangeArrowheads="1"/>
          </p:cNvSpPr>
          <p:nvPr/>
        </p:nvSpPr>
        <p:spPr bwMode="auto">
          <a:xfrm>
            <a:off x="5775326" y="3121819"/>
            <a:ext cx="525785"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MS</a:t>
            </a:r>
          </a:p>
        </p:txBody>
      </p:sp>
      <p:sp>
        <p:nvSpPr>
          <p:cNvPr id="2137" name="Rectangle 88"/>
          <p:cNvSpPr>
            <a:spLocks noChangeArrowheads="1"/>
          </p:cNvSpPr>
          <p:nvPr/>
        </p:nvSpPr>
        <p:spPr bwMode="auto">
          <a:xfrm>
            <a:off x="6308725" y="3068241"/>
            <a:ext cx="476092"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AL</a:t>
            </a:r>
          </a:p>
        </p:txBody>
      </p:sp>
      <p:sp>
        <p:nvSpPr>
          <p:cNvPr id="2138" name="Rectangle 89"/>
          <p:cNvSpPr>
            <a:spLocks noChangeArrowheads="1"/>
          </p:cNvSpPr>
          <p:nvPr/>
        </p:nvSpPr>
        <p:spPr bwMode="auto">
          <a:xfrm>
            <a:off x="7604125" y="2158604"/>
            <a:ext cx="501740"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VA</a:t>
            </a:r>
          </a:p>
        </p:txBody>
      </p:sp>
      <p:sp>
        <p:nvSpPr>
          <p:cNvPr id="2139" name="Rectangle 90"/>
          <p:cNvSpPr>
            <a:spLocks noChangeArrowheads="1"/>
          </p:cNvSpPr>
          <p:nvPr/>
        </p:nvSpPr>
        <p:spPr bwMode="auto">
          <a:xfrm>
            <a:off x="6918326" y="3014663"/>
            <a:ext cx="511358"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GA</a:t>
            </a:r>
          </a:p>
        </p:txBody>
      </p:sp>
      <p:sp>
        <p:nvSpPr>
          <p:cNvPr id="2140" name="Rectangle 91"/>
          <p:cNvSpPr>
            <a:spLocks noChangeArrowheads="1"/>
          </p:cNvSpPr>
          <p:nvPr/>
        </p:nvSpPr>
        <p:spPr bwMode="auto">
          <a:xfrm>
            <a:off x="7527925" y="3711179"/>
            <a:ext cx="450444"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FL</a:t>
            </a:r>
          </a:p>
        </p:txBody>
      </p:sp>
      <p:sp>
        <p:nvSpPr>
          <p:cNvPr id="2141" name="Rectangle 92"/>
          <p:cNvSpPr>
            <a:spLocks noChangeArrowheads="1"/>
          </p:cNvSpPr>
          <p:nvPr/>
        </p:nvSpPr>
        <p:spPr bwMode="auto">
          <a:xfrm>
            <a:off x="7273926" y="2714625"/>
            <a:ext cx="480901"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SC</a:t>
            </a:r>
          </a:p>
        </p:txBody>
      </p:sp>
      <p:sp>
        <p:nvSpPr>
          <p:cNvPr id="2142" name="Rectangle 93"/>
          <p:cNvSpPr>
            <a:spLocks noChangeArrowheads="1"/>
          </p:cNvSpPr>
          <p:nvPr/>
        </p:nvSpPr>
        <p:spPr bwMode="auto">
          <a:xfrm>
            <a:off x="7604125" y="2426494"/>
            <a:ext cx="508152"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NC</a:t>
            </a:r>
          </a:p>
        </p:txBody>
      </p:sp>
      <p:sp>
        <p:nvSpPr>
          <p:cNvPr id="2143" name="Rectangle 94"/>
          <p:cNvSpPr>
            <a:spLocks noChangeArrowheads="1"/>
          </p:cNvSpPr>
          <p:nvPr/>
        </p:nvSpPr>
        <p:spPr bwMode="auto">
          <a:xfrm>
            <a:off x="7146926" y="2014538"/>
            <a:ext cx="525785" cy="308419"/>
          </a:xfrm>
          <a:prstGeom prst="rect">
            <a:avLst/>
          </a:prstGeom>
          <a:noFill/>
          <a:ln w="9525">
            <a:noFill/>
            <a:miter lim="800000"/>
            <a:headEnd/>
            <a:tailEnd/>
          </a:ln>
        </p:spPr>
        <p:txBody>
          <a:bodyPr wrap="none" lIns="92075" tIns="46038" rIns="92075" bIns="46038">
            <a:spAutoFit/>
          </a:bodyPr>
          <a:lstStyle/>
          <a:p>
            <a:r>
              <a:rPr lang="en-US" sz="1400" b="1" dirty="0">
                <a:latin typeface="Verdana" pitchFamily="34" charset="0"/>
                <a:cs typeface="Times New Roman" pitchFamily="18" charset="0"/>
              </a:rPr>
              <a:t>WV</a:t>
            </a:r>
          </a:p>
        </p:txBody>
      </p:sp>
      <p:sp>
        <p:nvSpPr>
          <p:cNvPr id="2144" name="Rectangle 95"/>
          <p:cNvSpPr>
            <a:spLocks noChangeArrowheads="1"/>
          </p:cNvSpPr>
          <p:nvPr/>
        </p:nvSpPr>
        <p:spPr bwMode="auto">
          <a:xfrm>
            <a:off x="7451725" y="1515666"/>
            <a:ext cx="495328"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PA</a:t>
            </a:r>
          </a:p>
        </p:txBody>
      </p:sp>
      <p:sp>
        <p:nvSpPr>
          <p:cNvPr id="2145" name="Rectangle 96"/>
          <p:cNvSpPr>
            <a:spLocks noChangeArrowheads="1"/>
          </p:cNvSpPr>
          <p:nvPr/>
        </p:nvSpPr>
        <p:spPr bwMode="auto">
          <a:xfrm>
            <a:off x="7756525" y="1087041"/>
            <a:ext cx="509755"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NY</a:t>
            </a:r>
          </a:p>
        </p:txBody>
      </p:sp>
      <p:sp>
        <p:nvSpPr>
          <p:cNvPr id="2146" name="Rectangle 97"/>
          <p:cNvSpPr>
            <a:spLocks noChangeArrowheads="1"/>
          </p:cNvSpPr>
          <p:nvPr/>
        </p:nvSpPr>
        <p:spPr bwMode="auto">
          <a:xfrm>
            <a:off x="8518526" y="498873"/>
            <a:ext cx="519373" cy="339196"/>
          </a:xfrm>
          <a:prstGeom prst="rect">
            <a:avLst/>
          </a:prstGeom>
          <a:noFill/>
          <a:ln w="9525">
            <a:noFill/>
            <a:miter lim="800000"/>
            <a:headEnd/>
            <a:tailEnd/>
          </a:ln>
        </p:spPr>
        <p:txBody>
          <a:bodyPr wrap="none" lIns="92075" tIns="46038" rIns="92075" bIns="46038">
            <a:spAutoFit/>
          </a:bodyPr>
          <a:lstStyle/>
          <a:p>
            <a:r>
              <a:rPr lang="en-US" sz="1600" b="1" dirty="0">
                <a:latin typeface="Verdana" pitchFamily="34" charset="0"/>
                <a:cs typeface="Times New Roman" pitchFamily="18" charset="0"/>
              </a:rPr>
              <a:t>ME</a:t>
            </a:r>
          </a:p>
        </p:txBody>
      </p:sp>
      <p:sp>
        <p:nvSpPr>
          <p:cNvPr id="2147" name="Rectangle 98"/>
          <p:cNvSpPr>
            <a:spLocks noChangeArrowheads="1"/>
          </p:cNvSpPr>
          <p:nvPr/>
        </p:nvSpPr>
        <p:spPr bwMode="auto">
          <a:xfrm>
            <a:off x="8153401" y="853678"/>
            <a:ext cx="277813" cy="646973"/>
          </a:xfrm>
          <a:prstGeom prst="rect">
            <a:avLst/>
          </a:prstGeom>
          <a:noFill/>
          <a:ln w="9525">
            <a:noFill/>
            <a:miter lim="800000"/>
            <a:headEnd/>
            <a:tailEnd/>
          </a:ln>
        </p:spPr>
        <p:txBody>
          <a:bodyPr lIns="92075" tIns="46038" rIns="92075" bIns="46038">
            <a:spAutoFit/>
          </a:bodyPr>
          <a:lstStyle/>
          <a:p>
            <a:r>
              <a:rPr lang="en-US" sz="1200" b="1" dirty="0">
                <a:latin typeface="Verdana" pitchFamily="34" charset="0"/>
                <a:cs typeface="Times New Roman" pitchFamily="18" charset="0"/>
              </a:rPr>
              <a:t>V</a:t>
            </a:r>
            <a:br>
              <a:rPr lang="en-US" sz="1200" b="1" dirty="0">
                <a:latin typeface="Verdana" pitchFamily="34" charset="0"/>
                <a:cs typeface="Times New Roman" pitchFamily="18" charset="0"/>
              </a:rPr>
            </a:br>
            <a:r>
              <a:rPr lang="en-US" sz="1200" b="1" dirty="0">
                <a:latin typeface="Verdana" pitchFamily="34" charset="0"/>
                <a:cs typeface="Times New Roman" pitchFamily="18" charset="0"/>
              </a:rPr>
              <a:t>T</a:t>
            </a:r>
          </a:p>
        </p:txBody>
      </p:sp>
      <p:sp>
        <p:nvSpPr>
          <p:cNvPr id="2148" name="Rectangle 99"/>
          <p:cNvSpPr>
            <a:spLocks noChangeArrowheads="1"/>
          </p:cNvSpPr>
          <p:nvPr/>
        </p:nvSpPr>
        <p:spPr bwMode="auto">
          <a:xfrm>
            <a:off x="8366125" y="853678"/>
            <a:ext cx="184150" cy="462307"/>
          </a:xfrm>
          <a:prstGeom prst="rect">
            <a:avLst/>
          </a:prstGeom>
          <a:noFill/>
          <a:ln w="9525">
            <a:noFill/>
            <a:miter lim="800000"/>
            <a:headEnd/>
            <a:tailEnd/>
          </a:ln>
        </p:spPr>
        <p:txBody>
          <a:bodyPr lIns="92075" tIns="46038" rIns="92075" bIns="46038">
            <a:spAutoFit/>
          </a:bodyPr>
          <a:lstStyle/>
          <a:p>
            <a:r>
              <a:rPr lang="en-US" sz="1200" b="1" dirty="0">
                <a:latin typeface="Verdana" pitchFamily="34" charset="0"/>
                <a:cs typeface="Times New Roman" pitchFamily="18" charset="0"/>
              </a:rPr>
              <a:t>N</a:t>
            </a:r>
          </a:p>
          <a:p>
            <a:r>
              <a:rPr lang="en-US" sz="1200" b="1" dirty="0">
                <a:latin typeface="Verdana" pitchFamily="34" charset="0"/>
                <a:cs typeface="Times New Roman" pitchFamily="18" charset="0"/>
              </a:rPr>
              <a:t>H</a:t>
            </a:r>
          </a:p>
        </p:txBody>
      </p:sp>
      <p:sp>
        <p:nvSpPr>
          <p:cNvPr id="2149" name="Rectangle 100"/>
          <p:cNvSpPr>
            <a:spLocks noChangeArrowheads="1"/>
          </p:cNvSpPr>
          <p:nvPr/>
        </p:nvSpPr>
        <p:spPr bwMode="auto">
          <a:xfrm>
            <a:off x="8366125" y="1141810"/>
            <a:ext cx="438150" cy="262252"/>
          </a:xfrm>
          <a:prstGeom prst="rect">
            <a:avLst/>
          </a:prstGeom>
          <a:noFill/>
          <a:ln w="9525">
            <a:noFill/>
            <a:miter lim="800000"/>
            <a:headEnd/>
            <a:tailEnd/>
          </a:ln>
        </p:spPr>
        <p:txBody>
          <a:bodyPr lIns="92075" tIns="46038" rIns="92075" bIns="46038">
            <a:spAutoFit/>
          </a:bodyPr>
          <a:lstStyle/>
          <a:p>
            <a:r>
              <a:rPr lang="en-US" sz="1100" b="1" dirty="0">
                <a:latin typeface="Verdana" pitchFamily="34" charset="0"/>
                <a:cs typeface="Times New Roman" pitchFamily="18" charset="0"/>
              </a:rPr>
              <a:t>MA</a:t>
            </a:r>
          </a:p>
        </p:txBody>
      </p:sp>
      <p:sp>
        <p:nvSpPr>
          <p:cNvPr id="2150" name="Rectangle 101"/>
          <p:cNvSpPr>
            <a:spLocks noChangeArrowheads="1"/>
          </p:cNvSpPr>
          <p:nvPr/>
        </p:nvSpPr>
        <p:spPr bwMode="auto">
          <a:xfrm>
            <a:off x="8289925" y="1302544"/>
            <a:ext cx="438150" cy="262252"/>
          </a:xfrm>
          <a:prstGeom prst="rect">
            <a:avLst/>
          </a:prstGeom>
          <a:noFill/>
          <a:ln w="9525">
            <a:noFill/>
            <a:miter lim="800000"/>
            <a:headEnd/>
            <a:tailEnd/>
          </a:ln>
        </p:spPr>
        <p:txBody>
          <a:bodyPr lIns="92075" tIns="46038" rIns="92075" bIns="46038">
            <a:spAutoFit/>
          </a:bodyPr>
          <a:lstStyle/>
          <a:p>
            <a:r>
              <a:rPr lang="en-US" sz="1100" b="1" dirty="0">
                <a:latin typeface="Verdana" pitchFamily="34" charset="0"/>
                <a:cs typeface="Times New Roman" pitchFamily="18" charset="0"/>
              </a:rPr>
              <a:t>CT</a:t>
            </a:r>
          </a:p>
        </p:txBody>
      </p:sp>
      <p:sp>
        <p:nvSpPr>
          <p:cNvPr id="2151" name="Rectangle 102"/>
          <p:cNvSpPr>
            <a:spLocks noChangeArrowheads="1"/>
          </p:cNvSpPr>
          <p:nvPr/>
        </p:nvSpPr>
        <p:spPr bwMode="auto">
          <a:xfrm>
            <a:off x="8594725" y="1302544"/>
            <a:ext cx="438150" cy="262252"/>
          </a:xfrm>
          <a:prstGeom prst="rect">
            <a:avLst/>
          </a:prstGeom>
          <a:noFill/>
          <a:ln w="9525">
            <a:noFill/>
            <a:miter lim="800000"/>
            <a:headEnd/>
            <a:tailEnd/>
          </a:ln>
        </p:spPr>
        <p:txBody>
          <a:bodyPr lIns="92075" tIns="46038" rIns="92075" bIns="46038">
            <a:spAutoFit/>
          </a:bodyPr>
          <a:lstStyle/>
          <a:p>
            <a:r>
              <a:rPr lang="en-US" sz="1100" b="1" dirty="0">
                <a:latin typeface="Verdana" pitchFamily="34" charset="0"/>
                <a:cs typeface="Times New Roman" pitchFamily="18" charset="0"/>
              </a:rPr>
              <a:t>RI</a:t>
            </a:r>
          </a:p>
        </p:txBody>
      </p:sp>
      <p:sp>
        <p:nvSpPr>
          <p:cNvPr id="2152" name="Rectangle 103"/>
          <p:cNvSpPr>
            <a:spLocks noChangeArrowheads="1"/>
          </p:cNvSpPr>
          <p:nvPr/>
        </p:nvSpPr>
        <p:spPr bwMode="auto">
          <a:xfrm>
            <a:off x="8229600" y="1570435"/>
            <a:ext cx="457200" cy="431529"/>
          </a:xfrm>
          <a:prstGeom prst="rect">
            <a:avLst/>
          </a:prstGeom>
          <a:noFill/>
          <a:ln w="9525">
            <a:noFill/>
            <a:miter lim="800000"/>
            <a:headEnd/>
            <a:tailEnd/>
          </a:ln>
        </p:spPr>
        <p:txBody>
          <a:bodyPr lIns="92075" tIns="46038" rIns="92075" bIns="46038">
            <a:spAutoFit/>
          </a:bodyPr>
          <a:lstStyle/>
          <a:p>
            <a:r>
              <a:rPr lang="en-US" sz="1100" b="1" dirty="0">
                <a:latin typeface="Verdana" pitchFamily="34" charset="0"/>
                <a:cs typeface="Times New Roman" pitchFamily="18" charset="0"/>
              </a:rPr>
              <a:t>NJ</a:t>
            </a:r>
          </a:p>
          <a:p>
            <a:r>
              <a:rPr lang="en-US" sz="1100" b="1" dirty="0">
                <a:latin typeface="Verdana" pitchFamily="34" charset="0"/>
                <a:cs typeface="Times New Roman" pitchFamily="18" charset="0"/>
              </a:rPr>
              <a:t>DE</a:t>
            </a:r>
          </a:p>
        </p:txBody>
      </p:sp>
      <p:sp>
        <p:nvSpPr>
          <p:cNvPr id="2153" name="Rectangle 104"/>
          <p:cNvSpPr>
            <a:spLocks noChangeArrowheads="1"/>
          </p:cNvSpPr>
          <p:nvPr/>
        </p:nvSpPr>
        <p:spPr bwMode="auto">
          <a:xfrm>
            <a:off x="8229600" y="1838325"/>
            <a:ext cx="457200" cy="262252"/>
          </a:xfrm>
          <a:prstGeom prst="rect">
            <a:avLst/>
          </a:prstGeom>
          <a:noFill/>
          <a:ln w="9525">
            <a:noFill/>
            <a:miter lim="800000"/>
            <a:headEnd/>
            <a:tailEnd/>
          </a:ln>
        </p:spPr>
        <p:txBody>
          <a:bodyPr lIns="92075" tIns="46038" rIns="92075" bIns="46038">
            <a:spAutoFit/>
          </a:bodyPr>
          <a:lstStyle/>
          <a:p>
            <a:r>
              <a:rPr lang="en-US" sz="1100" b="1" dirty="0">
                <a:latin typeface="Verdana" pitchFamily="34" charset="0"/>
                <a:cs typeface="Times New Roman" pitchFamily="18" charset="0"/>
              </a:rPr>
              <a:t>MD</a:t>
            </a:r>
          </a:p>
        </p:txBody>
      </p:sp>
      <p:sp>
        <p:nvSpPr>
          <p:cNvPr id="2154" name="Rectangle 105"/>
          <p:cNvSpPr>
            <a:spLocks noChangeArrowheads="1"/>
          </p:cNvSpPr>
          <p:nvPr/>
        </p:nvSpPr>
        <p:spPr bwMode="auto">
          <a:xfrm>
            <a:off x="8153400" y="1945481"/>
            <a:ext cx="457200" cy="262252"/>
          </a:xfrm>
          <a:prstGeom prst="rect">
            <a:avLst/>
          </a:prstGeom>
          <a:noFill/>
          <a:ln w="9525">
            <a:noFill/>
            <a:miter lim="800000"/>
            <a:headEnd/>
            <a:tailEnd/>
          </a:ln>
        </p:spPr>
        <p:txBody>
          <a:bodyPr lIns="92075" tIns="46038" rIns="92075" bIns="46038">
            <a:spAutoFit/>
          </a:bodyPr>
          <a:lstStyle/>
          <a:p>
            <a:r>
              <a:rPr lang="en-US" sz="1100" b="1" dirty="0">
                <a:latin typeface="Verdana" pitchFamily="34" charset="0"/>
                <a:cs typeface="Times New Roman" pitchFamily="18" charset="0"/>
              </a:rPr>
              <a:t>DC</a:t>
            </a:r>
          </a:p>
        </p:txBody>
      </p:sp>
      <p:grpSp>
        <p:nvGrpSpPr>
          <p:cNvPr id="2" name="Group 106"/>
          <p:cNvGrpSpPr>
            <a:grpSpLocks/>
          </p:cNvGrpSpPr>
          <p:nvPr/>
        </p:nvGrpSpPr>
        <p:grpSpPr bwMode="auto">
          <a:xfrm>
            <a:off x="598969" y="3882214"/>
            <a:ext cx="1501775" cy="907256"/>
            <a:chOff x="0" y="3408"/>
            <a:chExt cx="946" cy="762"/>
          </a:xfrm>
          <a:solidFill>
            <a:schemeClr val="accent6"/>
          </a:solidFill>
        </p:grpSpPr>
        <p:sp>
          <p:nvSpPr>
            <p:cNvPr id="3199" name="Freeform 107"/>
            <p:cNvSpPr>
              <a:spLocks/>
            </p:cNvSpPr>
            <p:nvPr/>
          </p:nvSpPr>
          <p:spPr bwMode="auto">
            <a:xfrm>
              <a:off x="127" y="3665"/>
              <a:ext cx="44" cy="46"/>
            </a:xfrm>
            <a:custGeom>
              <a:avLst/>
              <a:gdLst>
                <a:gd name="T0" fmla="*/ 8 w 44"/>
                <a:gd name="T1" fmla="*/ 0 h 46"/>
                <a:gd name="T2" fmla="*/ 43 w 44"/>
                <a:gd name="T3" fmla="*/ 17 h 46"/>
                <a:gd name="T4" fmla="*/ 43 w 44"/>
                <a:gd name="T5" fmla="*/ 45 h 46"/>
                <a:gd name="T6" fmla="*/ 0 w 44"/>
                <a:gd name="T7" fmla="*/ 8 h 46"/>
                <a:gd name="T8" fmla="*/ 8 w 44"/>
                <a:gd name="T9" fmla="*/ 0 h 46"/>
                <a:gd name="T10" fmla="*/ 0 60000 65536"/>
                <a:gd name="T11" fmla="*/ 0 60000 65536"/>
                <a:gd name="T12" fmla="*/ 0 60000 65536"/>
                <a:gd name="T13" fmla="*/ 0 60000 65536"/>
                <a:gd name="T14" fmla="*/ 0 60000 65536"/>
                <a:gd name="T15" fmla="*/ 0 w 44"/>
                <a:gd name="T16" fmla="*/ 0 h 46"/>
                <a:gd name="T17" fmla="*/ 44 w 44"/>
                <a:gd name="T18" fmla="*/ 46 h 46"/>
              </a:gdLst>
              <a:ahLst/>
              <a:cxnLst>
                <a:cxn ang="T10">
                  <a:pos x="T0" y="T1"/>
                </a:cxn>
                <a:cxn ang="T11">
                  <a:pos x="T2" y="T3"/>
                </a:cxn>
                <a:cxn ang="T12">
                  <a:pos x="T4" y="T5"/>
                </a:cxn>
                <a:cxn ang="T13">
                  <a:pos x="T6" y="T7"/>
                </a:cxn>
                <a:cxn ang="T14">
                  <a:pos x="T8" y="T9"/>
                </a:cxn>
              </a:cxnLst>
              <a:rect l="T15" t="T16" r="T17" b="T18"/>
              <a:pathLst>
                <a:path w="44" h="46">
                  <a:moveTo>
                    <a:pt x="8" y="0"/>
                  </a:moveTo>
                  <a:lnTo>
                    <a:pt x="43" y="17"/>
                  </a:lnTo>
                  <a:lnTo>
                    <a:pt x="43" y="45"/>
                  </a:lnTo>
                  <a:lnTo>
                    <a:pt x="0" y="8"/>
                  </a:lnTo>
                  <a:lnTo>
                    <a:pt x="8"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200" name="Freeform 108"/>
            <p:cNvSpPr>
              <a:spLocks/>
            </p:cNvSpPr>
            <p:nvPr/>
          </p:nvSpPr>
          <p:spPr bwMode="auto">
            <a:xfrm>
              <a:off x="187" y="3408"/>
              <a:ext cx="759" cy="670"/>
            </a:xfrm>
            <a:custGeom>
              <a:avLst/>
              <a:gdLst>
                <a:gd name="T0" fmla="*/ 289 w 759"/>
                <a:gd name="T1" fmla="*/ 494 h 670"/>
                <a:gd name="T2" fmla="*/ 340 w 759"/>
                <a:gd name="T3" fmla="*/ 467 h 670"/>
                <a:gd name="T4" fmla="*/ 357 w 759"/>
                <a:gd name="T5" fmla="*/ 421 h 670"/>
                <a:gd name="T6" fmla="*/ 400 w 759"/>
                <a:gd name="T7" fmla="*/ 440 h 670"/>
                <a:gd name="T8" fmla="*/ 442 w 759"/>
                <a:gd name="T9" fmla="*/ 448 h 670"/>
                <a:gd name="T10" fmla="*/ 528 w 759"/>
                <a:gd name="T11" fmla="*/ 467 h 670"/>
                <a:gd name="T12" fmla="*/ 621 w 759"/>
                <a:gd name="T13" fmla="*/ 485 h 670"/>
                <a:gd name="T14" fmla="*/ 630 w 759"/>
                <a:gd name="T15" fmla="*/ 476 h 670"/>
                <a:gd name="T16" fmla="*/ 732 w 759"/>
                <a:gd name="T17" fmla="*/ 558 h 670"/>
                <a:gd name="T18" fmla="*/ 758 w 759"/>
                <a:gd name="T19" fmla="*/ 558 h 670"/>
                <a:gd name="T20" fmla="*/ 672 w 759"/>
                <a:gd name="T21" fmla="*/ 485 h 670"/>
                <a:gd name="T22" fmla="*/ 578 w 759"/>
                <a:gd name="T23" fmla="*/ 467 h 670"/>
                <a:gd name="T24" fmla="*/ 544 w 759"/>
                <a:gd name="T25" fmla="*/ 440 h 670"/>
                <a:gd name="T26" fmla="*/ 511 w 759"/>
                <a:gd name="T27" fmla="*/ 421 h 670"/>
                <a:gd name="T28" fmla="*/ 425 w 759"/>
                <a:gd name="T29" fmla="*/ 45 h 670"/>
                <a:gd name="T30" fmla="*/ 340 w 759"/>
                <a:gd name="T31" fmla="*/ 45 h 670"/>
                <a:gd name="T32" fmla="*/ 255 w 759"/>
                <a:gd name="T33" fmla="*/ 18 h 670"/>
                <a:gd name="T34" fmla="*/ 246 w 759"/>
                <a:gd name="T35" fmla="*/ 0 h 670"/>
                <a:gd name="T36" fmla="*/ 179 w 759"/>
                <a:gd name="T37" fmla="*/ 18 h 670"/>
                <a:gd name="T38" fmla="*/ 119 w 759"/>
                <a:gd name="T39" fmla="*/ 82 h 670"/>
                <a:gd name="T40" fmla="*/ 85 w 759"/>
                <a:gd name="T41" fmla="*/ 110 h 670"/>
                <a:gd name="T42" fmla="*/ 127 w 759"/>
                <a:gd name="T43" fmla="*/ 164 h 670"/>
                <a:gd name="T44" fmla="*/ 136 w 759"/>
                <a:gd name="T45" fmla="*/ 192 h 670"/>
                <a:gd name="T46" fmla="*/ 93 w 759"/>
                <a:gd name="T47" fmla="*/ 183 h 670"/>
                <a:gd name="T48" fmla="*/ 42 w 759"/>
                <a:gd name="T49" fmla="*/ 220 h 670"/>
                <a:gd name="T50" fmla="*/ 68 w 759"/>
                <a:gd name="T51" fmla="*/ 256 h 670"/>
                <a:gd name="T52" fmla="*/ 110 w 759"/>
                <a:gd name="T53" fmla="*/ 265 h 670"/>
                <a:gd name="T54" fmla="*/ 127 w 759"/>
                <a:gd name="T55" fmla="*/ 274 h 670"/>
                <a:gd name="T56" fmla="*/ 110 w 759"/>
                <a:gd name="T57" fmla="*/ 311 h 670"/>
                <a:gd name="T58" fmla="*/ 25 w 759"/>
                <a:gd name="T59" fmla="*/ 375 h 670"/>
                <a:gd name="T60" fmla="*/ 59 w 759"/>
                <a:gd name="T61" fmla="*/ 467 h 670"/>
                <a:gd name="T62" fmla="*/ 93 w 759"/>
                <a:gd name="T63" fmla="*/ 440 h 670"/>
                <a:gd name="T64" fmla="*/ 102 w 759"/>
                <a:gd name="T65" fmla="*/ 504 h 670"/>
                <a:gd name="T66" fmla="*/ 136 w 759"/>
                <a:gd name="T67" fmla="*/ 513 h 670"/>
                <a:gd name="T68" fmla="*/ 162 w 759"/>
                <a:gd name="T69" fmla="*/ 513 h 670"/>
                <a:gd name="T70" fmla="*/ 136 w 759"/>
                <a:gd name="T71" fmla="*/ 595 h 670"/>
                <a:gd name="T72" fmla="*/ 59 w 759"/>
                <a:gd name="T73" fmla="*/ 641 h 670"/>
                <a:gd name="T74" fmla="*/ 0 w 759"/>
                <a:gd name="T75" fmla="*/ 669 h 670"/>
                <a:gd name="T76" fmla="*/ 153 w 759"/>
                <a:gd name="T77" fmla="*/ 604 h 670"/>
                <a:gd name="T78" fmla="*/ 238 w 759"/>
                <a:gd name="T79" fmla="*/ 531 h 670"/>
                <a:gd name="T80" fmla="*/ 255 w 759"/>
                <a:gd name="T81" fmla="*/ 504 h 670"/>
                <a:gd name="T82" fmla="*/ 272 w 759"/>
                <a:gd name="T83" fmla="*/ 467 h 670"/>
                <a:gd name="T84" fmla="*/ 315 w 759"/>
                <a:gd name="T85" fmla="*/ 394 h 6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59"/>
                <a:gd name="T130" fmla="*/ 0 h 670"/>
                <a:gd name="T131" fmla="*/ 759 w 759"/>
                <a:gd name="T132" fmla="*/ 670 h 6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59" h="670">
                  <a:moveTo>
                    <a:pt x="315" y="394"/>
                  </a:moveTo>
                  <a:lnTo>
                    <a:pt x="289" y="476"/>
                  </a:lnTo>
                  <a:lnTo>
                    <a:pt x="289" y="494"/>
                  </a:lnTo>
                  <a:lnTo>
                    <a:pt x="323" y="485"/>
                  </a:lnTo>
                  <a:lnTo>
                    <a:pt x="332" y="476"/>
                  </a:lnTo>
                  <a:lnTo>
                    <a:pt x="340" y="467"/>
                  </a:lnTo>
                  <a:lnTo>
                    <a:pt x="357" y="476"/>
                  </a:lnTo>
                  <a:lnTo>
                    <a:pt x="357" y="457"/>
                  </a:lnTo>
                  <a:lnTo>
                    <a:pt x="357" y="421"/>
                  </a:lnTo>
                  <a:lnTo>
                    <a:pt x="383" y="421"/>
                  </a:lnTo>
                  <a:lnTo>
                    <a:pt x="391" y="440"/>
                  </a:lnTo>
                  <a:lnTo>
                    <a:pt x="400" y="440"/>
                  </a:lnTo>
                  <a:lnTo>
                    <a:pt x="417" y="440"/>
                  </a:lnTo>
                  <a:lnTo>
                    <a:pt x="425" y="448"/>
                  </a:lnTo>
                  <a:lnTo>
                    <a:pt x="442" y="448"/>
                  </a:lnTo>
                  <a:lnTo>
                    <a:pt x="460" y="457"/>
                  </a:lnTo>
                  <a:lnTo>
                    <a:pt x="528" y="457"/>
                  </a:lnTo>
                  <a:lnTo>
                    <a:pt x="528" y="467"/>
                  </a:lnTo>
                  <a:lnTo>
                    <a:pt x="604" y="504"/>
                  </a:lnTo>
                  <a:lnTo>
                    <a:pt x="604" y="485"/>
                  </a:lnTo>
                  <a:lnTo>
                    <a:pt x="621" y="485"/>
                  </a:lnTo>
                  <a:lnTo>
                    <a:pt x="621" y="467"/>
                  </a:lnTo>
                  <a:lnTo>
                    <a:pt x="612" y="457"/>
                  </a:lnTo>
                  <a:lnTo>
                    <a:pt x="630" y="476"/>
                  </a:lnTo>
                  <a:lnTo>
                    <a:pt x="715" y="558"/>
                  </a:lnTo>
                  <a:lnTo>
                    <a:pt x="715" y="577"/>
                  </a:lnTo>
                  <a:lnTo>
                    <a:pt x="732" y="558"/>
                  </a:lnTo>
                  <a:lnTo>
                    <a:pt x="749" y="577"/>
                  </a:lnTo>
                  <a:lnTo>
                    <a:pt x="758" y="604"/>
                  </a:lnTo>
                  <a:lnTo>
                    <a:pt x="758" y="558"/>
                  </a:lnTo>
                  <a:lnTo>
                    <a:pt x="740" y="550"/>
                  </a:lnTo>
                  <a:lnTo>
                    <a:pt x="698" y="531"/>
                  </a:lnTo>
                  <a:lnTo>
                    <a:pt x="672" y="485"/>
                  </a:lnTo>
                  <a:lnTo>
                    <a:pt x="612" y="431"/>
                  </a:lnTo>
                  <a:lnTo>
                    <a:pt x="604" y="440"/>
                  </a:lnTo>
                  <a:lnTo>
                    <a:pt x="578" y="467"/>
                  </a:lnTo>
                  <a:lnTo>
                    <a:pt x="570" y="467"/>
                  </a:lnTo>
                  <a:lnTo>
                    <a:pt x="561" y="448"/>
                  </a:lnTo>
                  <a:lnTo>
                    <a:pt x="544" y="440"/>
                  </a:lnTo>
                  <a:lnTo>
                    <a:pt x="536" y="421"/>
                  </a:lnTo>
                  <a:lnTo>
                    <a:pt x="528" y="421"/>
                  </a:lnTo>
                  <a:lnTo>
                    <a:pt x="511" y="421"/>
                  </a:lnTo>
                  <a:lnTo>
                    <a:pt x="502" y="431"/>
                  </a:lnTo>
                  <a:lnTo>
                    <a:pt x="485" y="403"/>
                  </a:lnTo>
                  <a:lnTo>
                    <a:pt x="425" y="45"/>
                  </a:lnTo>
                  <a:lnTo>
                    <a:pt x="391" y="45"/>
                  </a:lnTo>
                  <a:lnTo>
                    <a:pt x="383" y="54"/>
                  </a:lnTo>
                  <a:lnTo>
                    <a:pt x="340" y="45"/>
                  </a:lnTo>
                  <a:lnTo>
                    <a:pt x="289" y="36"/>
                  </a:lnTo>
                  <a:lnTo>
                    <a:pt x="272" y="18"/>
                  </a:lnTo>
                  <a:lnTo>
                    <a:pt x="255" y="18"/>
                  </a:lnTo>
                  <a:lnTo>
                    <a:pt x="255" y="8"/>
                  </a:lnTo>
                  <a:lnTo>
                    <a:pt x="238" y="27"/>
                  </a:lnTo>
                  <a:lnTo>
                    <a:pt x="246" y="0"/>
                  </a:lnTo>
                  <a:lnTo>
                    <a:pt x="230" y="0"/>
                  </a:lnTo>
                  <a:lnTo>
                    <a:pt x="204" y="18"/>
                  </a:lnTo>
                  <a:lnTo>
                    <a:pt x="179" y="18"/>
                  </a:lnTo>
                  <a:lnTo>
                    <a:pt x="170" y="36"/>
                  </a:lnTo>
                  <a:lnTo>
                    <a:pt x="153" y="45"/>
                  </a:lnTo>
                  <a:lnTo>
                    <a:pt x="119" y="82"/>
                  </a:lnTo>
                  <a:lnTo>
                    <a:pt x="85" y="91"/>
                  </a:lnTo>
                  <a:lnTo>
                    <a:pt x="76" y="101"/>
                  </a:lnTo>
                  <a:lnTo>
                    <a:pt x="85" y="110"/>
                  </a:lnTo>
                  <a:lnTo>
                    <a:pt x="102" y="118"/>
                  </a:lnTo>
                  <a:lnTo>
                    <a:pt x="102" y="137"/>
                  </a:lnTo>
                  <a:lnTo>
                    <a:pt x="127" y="164"/>
                  </a:lnTo>
                  <a:lnTo>
                    <a:pt x="153" y="183"/>
                  </a:lnTo>
                  <a:lnTo>
                    <a:pt x="127" y="183"/>
                  </a:lnTo>
                  <a:lnTo>
                    <a:pt x="136" y="192"/>
                  </a:lnTo>
                  <a:lnTo>
                    <a:pt x="145" y="201"/>
                  </a:lnTo>
                  <a:lnTo>
                    <a:pt x="93" y="201"/>
                  </a:lnTo>
                  <a:lnTo>
                    <a:pt x="93" y="183"/>
                  </a:lnTo>
                  <a:lnTo>
                    <a:pt x="59" y="183"/>
                  </a:lnTo>
                  <a:lnTo>
                    <a:pt x="25" y="201"/>
                  </a:lnTo>
                  <a:lnTo>
                    <a:pt x="42" y="220"/>
                  </a:lnTo>
                  <a:lnTo>
                    <a:pt x="42" y="237"/>
                  </a:lnTo>
                  <a:lnTo>
                    <a:pt x="51" y="256"/>
                  </a:lnTo>
                  <a:lnTo>
                    <a:pt x="68" y="256"/>
                  </a:lnTo>
                  <a:lnTo>
                    <a:pt x="93" y="265"/>
                  </a:lnTo>
                  <a:lnTo>
                    <a:pt x="102" y="265"/>
                  </a:lnTo>
                  <a:lnTo>
                    <a:pt x="110" y="265"/>
                  </a:lnTo>
                  <a:lnTo>
                    <a:pt x="136" y="256"/>
                  </a:lnTo>
                  <a:lnTo>
                    <a:pt x="136" y="265"/>
                  </a:lnTo>
                  <a:lnTo>
                    <a:pt x="127" y="274"/>
                  </a:lnTo>
                  <a:lnTo>
                    <a:pt x="145" y="293"/>
                  </a:lnTo>
                  <a:lnTo>
                    <a:pt x="136" y="311"/>
                  </a:lnTo>
                  <a:lnTo>
                    <a:pt x="110" y="311"/>
                  </a:lnTo>
                  <a:lnTo>
                    <a:pt x="93" y="330"/>
                  </a:lnTo>
                  <a:lnTo>
                    <a:pt x="68" y="321"/>
                  </a:lnTo>
                  <a:lnTo>
                    <a:pt x="25" y="375"/>
                  </a:lnTo>
                  <a:lnTo>
                    <a:pt x="42" y="431"/>
                  </a:lnTo>
                  <a:lnTo>
                    <a:pt x="42" y="448"/>
                  </a:lnTo>
                  <a:lnTo>
                    <a:pt x="59" y="467"/>
                  </a:lnTo>
                  <a:lnTo>
                    <a:pt x="85" y="440"/>
                  </a:lnTo>
                  <a:lnTo>
                    <a:pt x="85" y="431"/>
                  </a:lnTo>
                  <a:lnTo>
                    <a:pt x="93" y="440"/>
                  </a:lnTo>
                  <a:lnTo>
                    <a:pt x="93" y="485"/>
                  </a:lnTo>
                  <a:lnTo>
                    <a:pt x="93" y="513"/>
                  </a:lnTo>
                  <a:lnTo>
                    <a:pt x="102" y="504"/>
                  </a:lnTo>
                  <a:lnTo>
                    <a:pt x="110" y="504"/>
                  </a:lnTo>
                  <a:lnTo>
                    <a:pt x="127" y="504"/>
                  </a:lnTo>
                  <a:lnTo>
                    <a:pt x="136" y="513"/>
                  </a:lnTo>
                  <a:lnTo>
                    <a:pt x="145" y="513"/>
                  </a:lnTo>
                  <a:lnTo>
                    <a:pt x="153" y="531"/>
                  </a:lnTo>
                  <a:lnTo>
                    <a:pt x="162" y="513"/>
                  </a:lnTo>
                  <a:lnTo>
                    <a:pt x="179" y="513"/>
                  </a:lnTo>
                  <a:lnTo>
                    <a:pt x="196" y="504"/>
                  </a:lnTo>
                  <a:lnTo>
                    <a:pt x="136" y="595"/>
                  </a:lnTo>
                  <a:lnTo>
                    <a:pt x="85" y="623"/>
                  </a:lnTo>
                  <a:lnTo>
                    <a:pt x="68" y="623"/>
                  </a:lnTo>
                  <a:lnTo>
                    <a:pt x="59" y="641"/>
                  </a:lnTo>
                  <a:lnTo>
                    <a:pt x="25" y="660"/>
                  </a:lnTo>
                  <a:lnTo>
                    <a:pt x="17" y="651"/>
                  </a:lnTo>
                  <a:lnTo>
                    <a:pt x="0" y="669"/>
                  </a:lnTo>
                  <a:lnTo>
                    <a:pt x="76" y="651"/>
                  </a:lnTo>
                  <a:lnTo>
                    <a:pt x="145" y="623"/>
                  </a:lnTo>
                  <a:lnTo>
                    <a:pt x="153" y="604"/>
                  </a:lnTo>
                  <a:lnTo>
                    <a:pt x="187" y="595"/>
                  </a:lnTo>
                  <a:lnTo>
                    <a:pt x="196" y="567"/>
                  </a:lnTo>
                  <a:lnTo>
                    <a:pt x="238" y="531"/>
                  </a:lnTo>
                  <a:lnTo>
                    <a:pt x="246" y="522"/>
                  </a:lnTo>
                  <a:lnTo>
                    <a:pt x="263" y="513"/>
                  </a:lnTo>
                  <a:lnTo>
                    <a:pt x="255" y="504"/>
                  </a:lnTo>
                  <a:lnTo>
                    <a:pt x="238" y="494"/>
                  </a:lnTo>
                  <a:lnTo>
                    <a:pt x="255" y="476"/>
                  </a:lnTo>
                  <a:lnTo>
                    <a:pt x="272" y="467"/>
                  </a:lnTo>
                  <a:lnTo>
                    <a:pt x="272" y="457"/>
                  </a:lnTo>
                  <a:lnTo>
                    <a:pt x="289" y="440"/>
                  </a:lnTo>
                  <a:lnTo>
                    <a:pt x="315" y="394"/>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201" name="Freeform 109"/>
            <p:cNvSpPr>
              <a:spLocks/>
            </p:cNvSpPr>
            <p:nvPr/>
          </p:nvSpPr>
          <p:spPr bwMode="auto">
            <a:xfrm>
              <a:off x="417" y="3958"/>
              <a:ext cx="43" cy="47"/>
            </a:xfrm>
            <a:custGeom>
              <a:avLst/>
              <a:gdLst>
                <a:gd name="T0" fmla="*/ 24 w 43"/>
                <a:gd name="T1" fmla="*/ 0 h 47"/>
                <a:gd name="T2" fmla="*/ 42 w 43"/>
                <a:gd name="T3" fmla="*/ 9 h 47"/>
                <a:gd name="T4" fmla="*/ 16 w 43"/>
                <a:gd name="T5" fmla="*/ 46 h 47"/>
                <a:gd name="T6" fmla="*/ 0 w 43"/>
                <a:gd name="T7" fmla="*/ 9 h 47"/>
                <a:gd name="T8" fmla="*/ 24 w 43"/>
                <a:gd name="T9" fmla="*/ 0 h 47"/>
                <a:gd name="T10" fmla="*/ 0 60000 65536"/>
                <a:gd name="T11" fmla="*/ 0 60000 65536"/>
                <a:gd name="T12" fmla="*/ 0 60000 65536"/>
                <a:gd name="T13" fmla="*/ 0 60000 65536"/>
                <a:gd name="T14" fmla="*/ 0 60000 65536"/>
                <a:gd name="T15" fmla="*/ 0 w 43"/>
                <a:gd name="T16" fmla="*/ 0 h 47"/>
                <a:gd name="T17" fmla="*/ 43 w 43"/>
                <a:gd name="T18" fmla="*/ 47 h 47"/>
              </a:gdLst>
              <a:ahLst/>
              <a:cxnLst>
                <a:cxn ang="T10">
                  <a:pos x="T0" y="T1"/>
                </a:cxn>
                <a:cxn ang="T11">
                  <a:pos x="T2" y="T3"/>
                </a:cxn>
                <a:cxn ang="T12">
                  <a:pos x="T4" y="T5"/>
                </a:cxn>
                <a:cxn ang="T13">
                  <a:pos x="T6" y="T7"/>
                </a:cxn>
                <a:cxn ang="T14">
                  <a:pos x="T8" y="T9"/>
                </a:cxn>
              </a:cxnLst>
              <a:rect l="T15" t="T16" r="T17" b="T18"/>
              <a:pathLst>
                <a:path w="43" h="47">
                  <a:moveTo>
                    <a:pt x="24" y="0"/>
                  </a:moveTo>
                  <a:lnTo>
                    <a:pt x="42" y="9"/>
                  </a:lnTo>
                  <a:lnTo>
                    <a:pt x="16" y="46"/>
                  </a:lnTo>
                  <a:lnTo>
                    <a:pt x="0" y="9"/>
                  </a:lnTo>
                  <a:lnTo>
                    <a:pt x="24"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202" name="Freeform 110"/>
            <p:cNvSpPr>
              <a:spLocks/>
            </p:cNvSpPr>
            <p:nvPr/>
          </p:nvSpPr>
          <p:spPr bwMode="auto">
            <a:xfrm>
              <a:off x="885" y="3967"/>
              <a:ext cx="35" cy="47"/>
            </a:xfrm>
            <a:custGeom>
              <a:avLst/>
              <a:gdLst>
                <a:gd name="T0" fmla="*/ 0 w 35"/>
                <a:gd name="T1" fmla="*/ 0 h 47"/>
                <a:gd name="T2" fmla="*/ 17 w 35"/>
                <a:gd name="T3" fmla="*/ 36 h 47"/>
                <a:gd name="T4" fmla="*/ 34 w 35"/>
                <a:gd name="T5" fmla="*/ 36 h 47"/>
                <a:gd name="T6" fmla="*/ 25 w 35"/>
                <a:gd name="T7" fmla="*/ 46 h 47"/>
                <a:gd name="T8" fmla="*/ 0 w 35"/>
                <a:gd name="T9" fmla="*/ 27 h 47"/>
                <a:gd name="T10" fmla="*/ 0 w 35"/>
                <a:gd name="T11" fmla="*/ 18 h 47"/>
                <a:gd name="T12" fmla="*/ 0 w 35"/>
                <a:gd name="T13" fmla="*/ 0 h 47"/>
                <a:gd name="T14" fmla="*/ 0 60000 65536"/>
                <a:gd name="T15" fmla="*/ 0 60000 65536"/>
                <a:gd name="T16" fmla="*/ 0 60000 65536"/>
                <a:gd name="T17" fmla="*/ 0 60000 65536"/>
                <a:gd name="T18" fmla="*/ 0 60000 65536"/>
                <a:gd name="T19" fmla="*/ 0 60000 65536"/>
                <a:gd name="T20" fmla="*/ 0 60000 65536"/>
                <a:gd name="T21" fmla="*/ 0 w 35"/>
                <a:gd name="T22" fmla="*/ 0 h 47"/>
                <a:gd name="T23" fmla="*/ 35 w 35"/>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7">
                  <a:moveTo>
                    <a:pt x="0" y="0"/>
                  </a:moveTo>
                  <a:lnTo>
                    <a:pt x="17" y="36"/>
                  </a:lnTo>
                  <a:lnTo>
                    <a:pt x="34" y="36"/>
                  </a:lnTo>
                  <a:lnTo>
                    <a:pt x="25" y="46"/>
                  </a:lnTo>
                  <a:lnTo>
                    <a:pt x="0" y="27"/>
                  </a:lnTo>
                  <a:lnTo>
                    <a:pt x="0" y="18"/>
                  </a:lnTo>
                  <a:lnTo>
                    <a:pt x="0"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203" name="Freeform 111"/>
            <p:cNvSpPr>
              <a:spLocks/>
            </p:cNvSpPr>
            <p:nvPr/>
          </p:nvSpPr>
          <p:spPr bwMode="auto">
            <a:xfrm>
              <a:off x="102" y="4077"/>
              <a:ext cx="43" cy="29"/>
            </a:xfrm>
            <a:custGeom>
              <a:avLst/>
              <a:gdLst>
                <a:gd name="T0" fmla="*/ 33 w 43"/>
                <a:gd name="T1" fmla="*/ 0 h 29"/>
                <a:gd name="T2" fmla="*/ 42 w 43"/>
                <a:gd name="T3" fmla="*/ 9 h 29"/>
                <a:gd name="T4" fmla="*/ 33 w 43"/>
                <a:gd name="T5" fmla="*/ 28 h 29"/>
                <a:gd name="T6" fmla="*/ 0 w 43"/>
                <a:gd name="T7" fmla="*/ 28 h 29"/>
                <a:gd name="T8" fmla="*/ 33 w 43"/>
                <a:gd name="T9" fmla="*/ 0 h 29"/>
                <a:gd name="T10" fmla="*/ 0 60000 65536"/>
                <a:gd name="T11" fmla="*/ 0 60000 65536"/>
                <a:gd name="T12" fmla="*/ 0 60000 65536"/>
                <a:gd name="T13" fmla="*/ 0 60000 65536"/>
                <a:gd name="T14" fmla="*/ 0 60000 65536"/>
                <a:gd name="T15" fmla="*/ 0 w 43"/>
                <a:gd name="T16" fmla="*/ 0 h 29"/>
                <a:gd name="T17" fmla="*/ 43 w 43"/>
                <a:gd name="T18" fmla="*/ 29 h 29"/>
              </a:gdLst>
              <a:ahLst/>
              <a:cxnLst>
                <a:cxn ang="T10">
                  <a:pos x="T0" y="T1"/>
                </a:cxn>
                <a:cxn ang="T11">
                  <a:pos x="T2" y="T3"/>
                </a:cxn>
                <a:cxn ang="T12">
                  <a:pos x="T4" y="T5"/>
                </a:cxn>
                <a:cxn ang="T13">
                  <a:pos x="T6" y="T7"/>
                </a:cxn>
                <a:cxn ang="T14">
                  <a:pos x="T8" y="T9"/>
                </a:cxn>
              </a:cxnLst>
              <a:rect l="T15" t="T16" r="T17" b="T18"/>
              <a:pathLst>
                <a:path w="43" h="29">
                  <a:moveTo>
                    <a:pt x="33" y="0"/>
                  </a:moveTo>
                  <a:lnTo>
                    <a:pt x="42" y="9"/>
                  </a:lnTo>
                  <a:lnTo>
                    <a:pt x="33" y="28"/>
                  </a:lnTo>
                  <a:lnTo>
                    <a:pt x="0" y="28"/>
                  </a:lnTo>
                  <a:lnTo>
                    <a:pt x="33"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204" name="Freeform 112"/>
            <p:cNvSpPr>
              <a:spLocks/>
            </p:cNvSpPr>
            <p:nvPr/>
          </p:nvSpPr>
          <p:spPr bwMode="auto">
            <a:xfrm>
              <a:off x="0" y="4132"/>
              <a:ext cx="27" cy="38"/>
            </a:xfrm>
            <a:custGeom>
              <a:avLst/>
              <a:gdLst>
                <a:gd name="T0" fmla="*/ 26 w 27"/>
                <a:gd name="T1" fmla="*/ 0 h 38"/>
                <a:gd name="T2" fmla="*/ 26 w 27"/>
                <a:gd name="T3" fmla="*/ 9 h 38"/>
                <a:gd name="T4" fmla="*/ 26 w 27"/>
                <a:gd name="T5" fmla="*/ 37 h 38"/>
                <a:gd name="T6" fmla="*/ 0 w 27"/>
                <a:gd name="T7" fmla="*/ 37 h 38"/>
                <a:gd name="T8" fmla="*/ 17 w 27"/>
                <a:gd name="T9" fmla="*/ 9 h 38"/>
                <a:gd name="T10" fmla="*/ 26 w 27"/>
                <a:gd name="T11" fmla="*/ 0 h 38"/>
                <a:gd name="T12" fmla="*/ 0 60000 65536"/>
                <a:gd name="T13" fmla="*/ 0 60000 65536"/>
                <a:gd name="T14" fmla="*/ 0 60000 65536"/>
                <a:gd name="T15" fmla="*/ 0 60000 65536"/>
                <a:gd name="T16" fmla="*/ 0 60000 65536"/>
                <a:gd name="T17" fmla="*/ 0 60000 65536"/>
                <a:gd name="T18" fmla="*/ 0 w 27"/>
                <a:gd name="T19" fmla="*/ 0 h 38"/>
                <a:gd name="T20" fmla="*/ 27 w 27"/>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27" h="38">
                  <a:moveTo>
                    <a:pt x="26" y="0"/>
                  </a:moveTo>
                  <a:lnTo>
                    <a:pt x="26" y="9"/>
                  </a:lnTo>
                  <a:lnTo>
                    <a:pt x="26" y="37"/>
                  </a:lnTo>
                  <a:lnTo>
                    <a:pt x="0" y="37"/>
                  </a:lnTo>
                  <a:lnTo>
                    <a:pt x="17" y="9"/>
                  </a:lnTo>
                  <a:lnTo>
                    <a:pt x="26"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grpSp>
      <p:sp>
        <p:nvSpPr>
          <p:cNvPr id="2156" name="Rectangle 113"/>
          <p:cNvSpPr>
            <a:spLocks noChangeArrowheads="1"/>
          </p:cNvSpPr>
          <p:nvPr/>
        </p:nvSpPr>
        <p:spPr bwMode="auto">
          <a:xfrm>
            <a:off x="4876800" y="4572000"/>
            <a:ext cx="1066800" cy="171450"/>
          </a:xfrm>
          <a:prstGeom prst="rect">
            <a:avLst/>
          </a:prstGeom>
          <a:noFill/>
          <a:ln w="9525">
            <a:noFill/>
            <a:miter lim="800000"/>
            <a:headEnd/>
            <a:tailEnd/>
          </a:ln>
        </p:spPr>
        <p:txBody>
          <a:bodyPr wrap="none" anchor="ctr"/>
          <a:lstStyle/>
          <a:p>
            <a:endParaRPr lang="en-CA" dirty="0">
              <a:latin typeface="Calibri" pitchFamily="34" charset="0"/>
            </a:endParaRPr>
          </a:p>
        </p:txBody>
      </p:sp>
      <p:grpSp>
        <p:nvGrpSpPr>
          <p:cNvPr id="3" name="Group 114"/>
          <p:cNvGrpSpPr>
            <a:grpSpLocks/>
          </p:cNvGrpSpPr>
          <p:nvPr/>
        </p:nvGrpSpPr>
        <p:grpSpPr bwMode="auto">
          <a:xfrm>
            <a:off x="2025502" y="3814431"/>
            <a:ext cx="1601787" cy="686990"/>
            <a:chOff x="48" y="2784"/>
            <a:chExt cx="1009" cy="577"/>
          </a:xfrm>
          <a:solidFill>
            <a:schemeClr val="accent6"/>
          </a:solidFill>
        </p:grpSpPr>
        <p:sp>
          <p:nvSpPr>
            <p:cNvPr id="3192" name="Freeform 115"/>
            <p:cNvSpPr>
              <a:spLocks/>
            </p:cNvSpPr>
            <p:nvPr/>
          </p:nvSpPr>
          <p:spPr bwMode="auto">
            <a:xfrm>
              <a:off x="139" y="2784"/>
              <a:ext cx="103" cy="53"/>
            </a:xfrm>
            <a:custGeom>
              <a:avLst/>
              <a:gdLst>
                <a:gd name="T0" fmla="*/ 56 w 103"/>
                <a:gd name="T1" fmla="*/ 0 h 53"/>
                <a:gd name="T2" fmla="*/ 90 w 103"/>
                <a:gd name="T3" fmla="*/ 10 h 53"/>
                <a:gd name="T4" fmla="*/ 90 w 103"/>
                <a:gd name="T5" fmla="*/ 20 h 53"/>
                <a:gd name="T6" fmla="*/ 102 w 103"/>
                <a:gd name="T7" fmla="*/ 41 h 53"/>
                <a:gd name="T8" fmla="*/ 68 w 103"/>
                <a:gd name="T9" fmla="*/ 52 h 53"/>
                <a:gd name="T10" fmla="*/ 22 w 103"/>
                <a:gd name="T11" fmla="*/ 52 h 53"/>
                <a:gd name="T12" fmla="*/ 0 w 103"/>
                <a:gd name="T13" fmla="*/ 31 h 53"/>
                <a:gd name="T14" fmla="*/ 34 w 103"/>
                <a:gd name="T15" fmla="*/ 0 h 53"/>
                <a:gd name="T16" fmla="*/ 56 w 103"/>
                <a:gd name="T17" fmla="*/ 0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53"/>
                <a:gd name="T29" fmla="*/ 103 w 103"/>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53">
                  <a:moveTo>
                    <a:pt x="56" y="0"/>
                  </a:moveTo>
                  <a:lnTo>
                    <a:pt x="90" y="10"/>
                  </a:lnTo>
                  <a:lnTo>
                    <a:pt x="90" y="20"/>
                  </a:lnTo>
                  <a:lnTo>
                    <a:pt x="102" y="41"/>
                  </a:lnTo>
                  <a:lnTo>
                    <a:pt x="68" y="52"/>
                  </a:lnTo>
                  <a:lnTo>
                    <a:pt x="22" y="52"/>
                  </a:lnTo>
                  <a:lnTo>
                    <a:pt x="0" y="31"/>
                  </a:lnTo>
                  <a:lnTo>
                    <a:pt x="34" y="0"/>
                  </a:lnTo>
                  <a:lnTo>
                    <a:pt x="56"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193" name="Freeform 116"/>
            <p:cNvSpPr>
              <a:spLocks/>
            </p:cNvSpPr>
            <p:nvPr/>
          </p:nvSpPr>
          <p:spPr bwMode="auto">
            <a:xfrm>
              <a:off x="421" y="2868"/>
              <a:ext cx="126" cy="85"/>
            </a:xfrm>
            <a:custGeom>
              <a:avLst/>
              <a:gdLst>
                <a:gd name="T0" fmla="*/ 56 w 126"/>
                <a:gd name="T1" fmla="*/ 0 h 85"/>
                <a:gd name="T2" fmla="*/ 79 w 126"/>
                <a:gd name="T3" fmla="*/ 31 h 85"/>
                <a:gd name="T4" fmla="*/ 90 w 126"/>
                <a:gd name="T5" fmla="*/ 42 h 85"/>
                <a:gd name="T6" fmla="*/ 113 w 126"/>
                <a:gd name="T7" fmla="*/ 42 h 85"/>
                <a:gd name="T8" fmla="*/ 113 w 126"/>
                <a:gd name="T9" fmla="*/ 73 h 85"/>
                <a:gd name="T10" fmla="*/ 125 w 126"/>
                <a:gd name="T11" fmla="*/ 84 h 85"/>
                <a:gd name="T12" fmla="*/ 45 w 126"/>
                <a:gd name="T13" fmla="*/ 73 h 85"/>
                <a:gd name="T14" fmla="*/ 22 w 126"/>
                <a:gd name="T15" fmla="*/ 73 h 85"/>
                <a:gd name="T16" fmla="*/ 22 w 126"/>
                <a:gd name="T17" fmla="*/ 52 h 85"/>
                <a:gd name="T18" fmla="*/ 0 w 126"/>
                <a:gd name="T19" fmla="*/ 20 h 85"/>
                <a:gd name="T20" fmla="*/ 11 w 126"/>
                <a:gd name="T21" fmla="*/ 20 h 85"/>
                <a:gd name="T22" fmla="*/ 22 w 126"/>
                <a:gd name="T23" fmla="*/ 20 h 85"/>
                <a:gd name="T24" fmla="*/ 34 w 126"/>
                <a:gd name="T25" fmla="*/ 20 h 85"/>
                <a:gd name="T26" fmla="*/ 56 w 126"/>
                <a:gd name="T27" fmla="*/ 0 h 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
                <a:gd name="T43" fmla="*/ 0 h 85"/>
                <a:gd name="T44" fmla="*/ 126 w 126"/>
                <a:gd name="T45" fmla="*/ 85 h 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 h="85">
                  <a:moveTo>
                    <a:pt x="56" y="0"/>
                  </a:moveTo>
                  <a:lnTo>
                    <a:pt x="79" y="31"/>
                  </a:lnTo>
                  <a:lnTo>
                    <a:pt x="90" y="42"/>
                  </a:lnTo>
                  <a:lnTo>
                    <a:pt x="113" y="42"/>
                  </a:lnTo>
                  <a:lnTo>
                    <a:pt x="113" y="73"/>
                  </a:lnTo>
                  <a:lnTo>
                    <a:pt x="125" y="84"/>
                  </a:lnTo>
                  <a:lnTo>
                    <a:pt x="45" y="73"/>
                  </a:lnTo>
                  <a:lnTo>
                    <a:pt x="22" y="73"/>
                  </a:lnTo>
                  <a:lnTo>
                    <a:pt x="22" y="52"/>
                  </a:lnTo>
                  <a:lnTo>
                    <a:pt x="0" y="20"/>
                  </a:lnTo>
                  <a:lnTo>
                    <a:pt x="11" y="20"/>
                  </a:lnTo>
                  <a:lnTo>
                    <a:pt x="22" y="20"/>
                  </a:lnTo>
                  <a:lnTo>
                    <a:pt x="34" y="20"/>
                  </a:lnTo>
                  <a:lnTo>
                    <a:pt x="56"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194" name="Freeform 117"/>
            <p:cNvSpPr>
              <a:spLocks/>
            </p:cNvSpPr>
            <p:nvPr/>
          </p:nvSpPr>
          <p:spPr bwMode="auto">
            <a:xfrm>
              <a:off x="717" y="2983"/>
              <a:ext cx="124" cy="74"/>
            </a:xfrm>
            <a:custGeom>
              <a:avLst/>
              <a:gdLst>
                <a:gd name="T0" fmla="*/ 22 w 124"/>
                <a:gd name="T1" fmla="*/ 0 h 74"/>
                <a:gd name="T2" fmla="*/ 56 w 124"/>
                <a:gd name="T3" fmla="*/ 20 h 74"/>
                <a:gd name="T4" fmla="*/ 89 w 124"/>
                <a:gd name="T5" fmla="*/ 20 h 74"/>
                <a:gd name="T6" fmla="*/ 100 w 124"/>
                <a:gd name="T7" fmla="*/ 30 h 74"/>
                <a:gd name="T8" fmla="*/ 123 w 124"/>
                <a:gd name="T9" fmla="*/ 52 h 74"/>
                <a:gd name="T10" fmla="*/ 111 w 124"/>
                <a:gd name="T11" fmla="*/ 62 h 74"/>
                <a:gd name="T12" fmla="*/ 89 w 124"/>
                <a:gd name="T13" fmla="*/ 62 h 74"/>
                <a:gd name="T14" fmla="*/ 45 w 124"/>
                <a:gd name="T15" fmla="*/ 73 h 74"/>
                <a:gd name="T16" fmla="*/ 45 w 124"/>
                <a:gd name="T17" fmla="*/ 52 h 74"/>
                <a:gd name="T18" fmla="*/ 0 w 124"/>
                <a:gd name="T19" fmla="*/ 30 h 74"/>
                <a:gd name="T20" fmla="*/ 11 w 124"/>
                <a:gd name="T21" fmla="*/ 0 h 74"/>
                <a:gd name="T22" fmla="*/ 22 w 124"/>
                <a:gd name="T23" fmla="*/ 0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
                <a:gd name="T37" fmla="*/ 0 h 74"/>
                <a:gd name="T38" fmla="*/ 124 w 124"/>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 h="74">
                  <a:moveTo>
                    <a:pt x="22" y="0"/>
                  </a:moveTo>
                  <a:lnTo>
                    <a:pt x="56" y="20"/>
                  </a:lnTo>
                  <a:lnTo>
                    <a:pt x="89" y="20"/>
                  </a:lnTo>
                  <a:lnTo>
                    <a:pt x="100" y="30"/>
                  </a:lnTo>
                  <a:lnTo>
                    <a:pt x="123" y="52"/>
                  </a:lnTo>
                  <a:lnTo>
                    <a:pt x="111" y="62"/>
                  </a:lnTo>
                  <a:lnTo>
                    <a:pt x="89" y="62"/>
                  </a:lnTo>
                  <a:lnTo>
                    <a:pt x="45" y="73"/>
                  </a:lnTo>
                  <a:lnTo>
                    <a:pt x="45" y="52"/>
                  </a:lnTo>
                  <a:lnTo>
                    <a:pt x="0" y="30"/>
                  </a:lnTo>
                  <a:lnTo>
                    <a:pt x="11" y="0"/>
                  </a:lnTo>
                  <a:lnTo>
                    <a:pt x="22"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195" name="Freeform 118"/>
            <p:cNvSpPr>
              <a:spLocks/>
            </p:cNvSpPr>
            <p:nvPr/>
          </p:nvSpPr>
          <p:spPr bwMode="auto">
            <a:xfrm>
              <a:off x="648" y="3014"/>
              <a:ext cx="47" cy="32"/>
            </a:xfrm>
            <a:custGeom>
              <a:avLst/>
              <a:gdLst>
                <a:gd name="T0" fmla="*/ 0 w 47"/>
                <a:gd name="T1" fmla="*/ 0 h 32"/>
                <a:gd name="T2" fmla="*/ 34 w 47"/>
                <a:gd name="T3" fmla="*/ 0 h 32"/>
                <a:gd name="T4" fmla="*/ 46 w 47"/>
                <a:gd name="T5" fmla="*/ 20 h 32"/>
                <a:gd name="T6" fmla="*/ 11 w 47"/>
                <a:gd name="T7" fmla="*/ 31 h 32"/>
                <a:gd name="T8" fmla="*/ 11 w 47"/>
                <a:gd name="T9" fmla="*/ 10 h 32"/>
                <a:gd name="T10" fmla="*/ 0 w 47"/>
                <a:gd name="T11" fmla="*/ 0 h 32"/>
                <a:gd name="T12" fmla="*/ 0 60000 65536"/>
                <a:gd name="T13" fmla="*/ 0 60000 65536"/>
                <a:gd name="T14" fmla="*/ 0 60000 65536"/>
                <a:gd name="T15" fmla="*/ 0 60000 65536"/>
                <a:gd name="T16" fmla="*/ 0 60000 65536"/>
                <a:gd name="T17" fmla="*/ 0 60000 65536"/>
                <a:gd name="T18" fmla="*/ 0 w 47"/>
                <a:gd name="T19" fmla="*/ 0 h 32"/>
                <a:gd name="T20" fmla="*/ 47 w 4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47" h="32">
                  <a:moveTo>
                    <a:pt x="0" y="0"/>
                  </a:moveTo>
                  <a:lnTo>
                    <a:pt x="34" y="0"/>
                  </a:lnTo>
                  <a:lnTo>
                    <a:pt x="46" y="20"/>
                  </a:lnTo>
                  <a:lnTo>
                    <a:pt x="11" y="31"/>
                  </a:lnTo>
                  <a:lnTo>
                    <a:pt x="11" y="10"/>
                  </a:lnTo>
                  <a:lnTo>
                    <a:pt x="0"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196" name="Freeform 119"/>
            <p:cNvSpPr>
              <a:spLocks/>
            </p:cNvSpPr>
            <p:nvPr/>
          </p:nvSpPr>
          <p:spPr bwMode="auto">
            <a:xfrm>
              <a:off x="818" y="3119"/>
              <a:ext cx="239" cy="242"/>
            </a:xfrm>
            <a:custGeom>
              <a:avLst/>
              <a:gdLst>
                <a:gd name="T0" fmla="*/ 45 w 239"/>
                <a:gd name="T1" fmla="*/ 0 h 242"/>
                <a:gd name="T2" fmla="*/ 113 w 239"/>
                <a:gd name="T3" fmla="*/ 31 h 242"/>
                <a:gd name="T4" fmla="*/ 124 w 239"/>
                <a:gd name="T5" fmla="*/ 31 h 242"/>
                <a:gd name="T6" fmla="*/ 192 w 239"/>
                <a:gd name="T7" fmla="*/ 73 h 242"/>
                <a:gd name="T8" fmla="*/ 204 w 239"/>
                <a:gd name="T9" fmla="*/ 104 h 242"/>
                <a:gd name="T10" fmla="*/ 226 w 239"/>
                <a:gd name="T11" fmla="*/ 125 h 242"/>
                <a:gd name="T12" fmla="*/ 238 w 239"/>
                <a:gd name="T13" fmla="*/ 135 h 242"/>
                <a:gd name="T14" fmla="*/ 238 w 239"/>
                <a:gd name="T15" fmla="*/ 146 h 242"/>
                <a:gd name="T16" fmla="*/ 215 w 239"/>
                <a:gd name="T17" fmla="*/ 177 h 242"/>
                <a:gd name="T18" fmla="*/ 158 w 239"/>
                <a:gd name="T19" fmla="*/ 177 h 242"/>
                <a:gd name="T20" fmla="*/ 113 w 239"/>
                <a:gd name="T21" fmla="*/ 209 h 242"/>
                <a:gd name="T22" fmla="*/ 102 w 239"/>
                <a:gd name="T23" fmla="*/ 241 h 242"/>
                <a:gd name="T24" fmla="*/ 34 w 239"/>
                <a:gd name="T25" fmla="*/ 209 h 242"/>
                <a:gd name="T26" fmla="*/ 34 w 239"/>
                <a:gd name="T27" fmla="*/ 177 h 242"/>
                <a:gd name="T28" fmla="*/ 34 w 239"/>
                <a:gd name="T29" fmla="*/ 146 h 242"/>
                <a:gd name="T30" fmla="*/ 0 w 239"/>
                <a:gd name="T31" fmla="*/ 104 h 242"/>
                <a:gd name="T32" fmla="*/ 11 w 239"/>
                <a:gd name="T33" fmla="*/ 93 h 242"/>
                <a:gd name="T34" fmla="*/ 56 w 239"/>
                <a:gd name="T35" fmla="*/ 52 h 242"/>
                <a:gd name="T36" fmla="*/ 34 w 239"/>
                <a:gd name="T37" fmla="*/ 10 h 242"/>
                <a:gd name="T38" fmla="*/ 45 w 239"/>
                <a:gd name="T39" fmla="*/ 10 h 242"/>
                <a:gd name="T40" fmla="*/ 45 w 239"/>
                <a:gd name="T41" fmla="*/ 0 h 2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9"/>
                <a:gd name="T64" fmla="*/ 0 h 242"/>
                <a:gd name="T65" fmla="*/ 239 w 239"/>
                <a:gd name="T66" fmla="*/ 242 h 2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9" h="242">
                  <a:moveTo>
                    <a:pt x="45" y="0"/>
                  </a:moveTo>
                  <a:lnTo>
                    <a:pt x="113" y="31"/>
                  </a:lnTo>
                  <a:lnTo>
                    <a:pt x="124" y="31"/>
                  </a:lnTo>
                  <a:lnTo>
                    <a:pt x="192" y="73"/>
                  </a:lnTo>
                  <a:lnTo>
                    <a:pt x="204" y="104"/>
                  </a:lnTo>
                  <a:lnTo>
                    <a:pt x="226" y="125"/>
                  </a:lnTo>
                  <a:lnTo>
                    <a:pt x="238" y="135"/>
                  </a:lnTo>
                  <a:lnTo>
                    <a:pt x="238" y="146"/>
                  </a:lnTo>
                  <a:lnTo>
                    <a:pt x="215" y="177"/>
                  </a:lnTo>
                  <a:lnTo>
                    <a:pt x="158" y="177"/>
                  </a:lnTo>
                  <a:lnTo>
                    <a:pt x="113" y="209"/>
                  </a:lnTo>
                  <a:lnTo>
                    <a:pt x="102" y="241"/>
                  </a:lnTo>
                  <a:lnTo>
                    <a:pt x="34" y="209"/>
                  </a:lnTo>
                  <a:lnTo>
                    <a:pt x="34" y="177"/>
                  </a:lnTo>
                  <a:lnTo>
                    <a:pt x="34" y="146"/>
                  </a:lnTo>
                  <a:lnTo>
                    <a:pt x="0" y="104"/>
                  </a:lnTo>
                  <a:lnTo>
                    <a:pt x="11" y="93"/>
                  </a:lnTo>
                  <a:lnTo>
                    <a:pt x="56" y="52"/>
                  </a:lnTo>
                  <a:lnTo>
                    <a:pt x="34" y="10"/>
                  </a:lnTo>
                  <a:lnTo>
                    <a:pt x="45" y="10"/>
                  </a:lnTo>
                  <a:lnTo>
                    <a:pt x="45" y="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197" name="Freeform 120"/>
            <p:cNvSpPr>
              <a:spLocks/>
            </p:cNvSpPr>
            <p:nvPr/>
          </p:nvSpPr>
          <p:spPr bwMode="auto">
            <a:xfrm>
              <a:off x="48" y="2836"/>
              <a:ext cx="35" cy="33"/>
            </a:xfrm>
            <a:custGeom>
              <a:avLst/>
              <a:gdLst>
                <a:gd name="T0" fmla="*/ 11 w 35"/>
                <a:gd name="T1" fmla="*/ 10 h 33"/>
                <a:gd name="T2" fmla="*/ 0 w 35"/>
                <a:gd name="T3" fmla="*/ 32 h 33"/>
                <a:gd name="T4" fmla="*/ 22 w 35"/>
                <a:gd name="T5" fmla="*/ 21 h 33"/>
                <a:gd name="T6" fmla="*/ 34 w 35"/>
                <a:gd name="T7" fmla="*/ 0 h 33"/>
                <a:gd name="T8" fmla="*/ 22 w 35"/>
                <a:gd name="T9" fmla="*/ 0 h 33"/>
                <a:gd name="T10" fmla="*/ 11 w 35"/>
                <a:gd name="T11" fmla="*/ 10 h 33"/>
                <a:gd name="T12" fmla="*/ 0 w 35"/>
                <a:gd name="T13" fmla="*/ 32 h 33"/>
                <a:gd name="T14" fmla="*/ 11 w 35"/>
                <a:gd name="T15" fmla="*/ 10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11" y="10"/>
                  </a:moveTo>
                  <a:lnTo>
                    <a:pt x="0" y="32"/>
                  </a:lnTo>
                  <a:lnTo>
                    <a:pt x="22" y="21"/>
                  </a:lnTo>
                  <a:lnTo>
                    <a:pt x="34" y="0"/>
                  </a:lnTo>
                  <a:lnTo>
                    <a:pt x="22" y="0"/>
                  </a:lnTo>
                  <a:lnTo>
                    <a:pt x="11" y="10"/>
                  </a:lnTo>
                  <a:lnTo>
                    <a:pt x="0" y="32"/>
                  </a:lnTo>
                  <a:lnTo>
                    <a:pt x="11" y="1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sp>
          <p:nvSpPr>
            <p:cNvPr id="3198" name="Freeform 121"/>
            <p:cNvSpPr>
              <a:spLocks/>
            </p:cNvSpPr>
            <p:nvPr/>
          </p:nvSpPr>
          <p:spPr bwMode="auto">
            <a:xfrm>
              <a:off x="48" y="2836"/>
              <a:ext cx="35" cy="33"/>
            </a:xfrm>
            <a:custGeom>
              <a:avLst/>
              <a:gdLst>
                <a:gd name="T0" fmla="*/ 11 w 35"/>
                <a:gd name="T1" fmla="*/ 10 h 33"/>
                <a:gd name="T2" fmla="*/ 0 w 35"/>
                <a:gd name="T3" fmla="*/ 32 h 33"/>
                <a:gd name="T4" fmla="*/ 22 w 35"/>
                <a:gd name="T5" fmla="*/ 21 h 33"/>
                <a:gd name="T6" fmla="*/ 34 w 35"/>
                <a:gd name="T7" fmla="*/ 0 h 33"/>
                <a:gd name="T8" fmla="*/ 22 w 35"/>
                <a:gd name="T9" fmla="*/ 0 h 33"/>
                <a:gd name="T10" fmla="*/ 11 w 35"/>
                <a:gd name="T11" fmla="*/ 10 h 33"/>
                <a:gd name="T12" fmla="*/ 0 w 35"/>
                <a:gd name="T13" fmla="*/ 32 h 33"/>
                <a:gd name="T14" fmla="*/ 11 w 35"/>
                <a:gd name="T15" fmla="*/ 10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11" y="10"/>
                  </a:moveTo>
                  <a:lnTo>
                    <a:pt x="0" y="32"/>
                  </a:lnTo>
                  <a:lnTo>
                    <a:pt x="22" y="21"/>
                  </a:lnTo>
                  <a:lnTo>
                    <a:pt x="34" y="0"/>
                  </a:lnTo>
                  <a:lnTo>
                    <a:pt x="22" y="0"/>
                  </a:lnTo>
                  <a:lnTo>
                    <a:pt x="11" y="10"/>
                  </a:lnTo>
                  <a:lnTo>
                    <a:pt x="0" y="32"/>
                  </a:lnTo>
                  <a:lnTo>
                    <a:pt x="11" y="10"/>
                  </a:lnTo>
                </a:path>
              </a:pathLst>
            </a:custGeom>
            <a:grpFill/>
            <a:ln w="12700" cap="rnd" cmpd="sng">
              <a:solidFill>
                <a:schemeClr val="tx1"/>
              </a:solidFill>
              <a:prstDash val="solid"/>
              <a:round/>
              <a:headEnd type="none" w="sm" len="sm"/>
              <a:tailEnd type="none" w="sm" len="sm"/>
            </a:ln>
          </p:spPr>
          <p:txBody>
            <a:bodyPr/>
            <a:lstStyle/>
            <a:p>
              <a:pPr fontAlgn="auto">
                <a:spcBef>
                  <a:spcPts val="0"/>
                </a:spcBef>
                <a:spcAft>
                  <a:spcPts val="0"/>
                </a:spcAft>
                <a:defRPr/>
              </a:pPr>
              <a:endParaRPr lang="en-CA" dirty="0">
                <a:latin typeface="Tahoma" pitchFamily="34" charset="0"/>
                <a:cs typeface="+mn-cs"/>
              </a:endParaRPr>
            </a:p>
          </p:txBody>
        </p:sp>
      </p:grpSp>
      <p:sp>
        <p:nvSpPr>
          <p:cNvPr id="2158" name="Rectangle 122"/>
          <p:cNvSpPr>
            <a:spLocks noChangeArrowheads="1"/>
          </p:cNvSpPr>
          <p:nvPr/>
        </p:nvSpPr>
        <p:spPr bwMode="auto">
          <a:xfrm>
            <a:off x="393700" y="4151710"/>
            <a:ext cx="424796" cy="277641"/>
          </a:xfrm>
          <a:prstGeom prst="rect">
            <a:avLst/>
          </a:prstGeom>
          <a:noFill/>
          <a:ln w="9525">
            <a:noFill/>
            <a:miter lim="800000"/>
            <a:headEnd/>
            <a:tailEnd/>
          </a:ln>
        </p:spPr>
        <p:txBody>
          <a:bodyPr wrap="none" lIns="92075" tIns="46038" rIns="92075" bIns="46038">
            <a:spAutoFit/>
          </a:bodyPr>
          <a:lstStyle/>
          <a:p>
            <a:r>
              <a:rPr lang="en-US" sz="1200" b="1" dirty="0">
                <a:latin typeface="Verdana" pitchFamily="34" charset="0"/>
                <a:cs typeface="Times New Roman" pitchFamily="18" charset="0"/>
              </a:rPr>
              <a:t>AK</a:t>
            </a:r>
          </a:p>
        </p:txBody>
      </p:sp>
      <p:sp>
        <p:nvSpPr>
          <p:cNvPr id="2159" name="Rectangle 123"/>
          <p:cNvSpPr>
            <a:spLocks noChangeArrowheads="1"/>
          </p:cNvSpPr>
          <p:nvPr/>
        </p:nvSpPr>
        <p:spPr bwMode="auto">
          <a:xfrm>
            <a:off x="2590801" y="4229100"/>
            <a:ext cx="397545" cy="277641"/>
          </a:xfrm>
          <a:prstGeom prst="rect">
            <a:avLst/>
          </a:prstGeom>
          <a:noFill/>
          <a:ln w="9525">
            <a:noFill/>
            <a:miter lim="800000"/>
            <a:headEnd/>
            <a:tailEnd/>
          </a:ln>
        </p:spPr>
        <p:txBody>
          <a:bodyPr wrap="none" lIns="92075" tIns="46038" rIns="92075" bIns="46038">
            <a:spAutoFit/>
          </a:bodyPr>
          <a:lstStyle/>
          <a:p>
            <a:r>
              <a:rPr lang="en-US" sz="1200" b="1" dirty="0">
                <a:latin typeface="Verdana" pitchFamily="34" charset="0"/>
                <a:cs typeface="Times New Roman" pitchFamily="18" charset="0"/>
              </a:rPr>
              <a:t>HI</a:t>
            </a:r>
          </a:p>
        </p:txBody>
      </p:sp>
      <p:sp>
        <p:nvSpPr>
          <p:cNvPr id="2160" name="Line 124"/>
          <p:cNvSpPr>
            <a:spLocks noChangeShapeType="1"/>
          </p:cNvSpPr>
          <p:nvPr/>
        </p:nvSpPr>
        <p:spPr bwMode="auto">
          <a:xfrm>
            <a:off x="8229600" y="742950"/>
            <a:ext cx="76200" cy="114300"/>
          </a:xfrm>
          <a:prstGeom prst="line">
            <a:avLst/>
          </a:prstGeom>
          <a:noFill/>
          <a:ln w="12700">
            <a:solidFill>
              <a:schemeClr val="tx1"/>
            </a:solidFill>
            <a:round/>
            <a:headEnd type="none" w="sm" len="sm"/>
            <a:tailEnd type="none" w="sm" len="sm"/>
          </a:ln>
        </p:spPr>
        <p:txBody>
          <a:bodyPr/>
          <a:lstStyle/>
          <a:p>
            <a:endParaRPr lang="en-US" dirty="0"/>
          </a:p>
        </p:txBody>
      </p:sp>
      <p:sp>
        <p:nvSpPr>
          <p:cNvPr id="2161" name="Line 125"/>
          <p:cNvSpPr>
            <a:spLocks noChangeShapeType="1"/>
          </p:cNvSpPr>
          <p:nvPr/>
        </p:nvSpPr>
        <p:spPr bwMode="auto">
          <a:xfrm flipH="1" flipV="1">
            <a:off x="7924800" y="1885950"/>
            <a:ext cx="609600" cy="57150"/>
          </a:xfrm>
          <a:prstGeom prst="line">
            <a:avLst/>
          </a:prstGeom>
          <a:noFill/>
          <a:ln w="12700">
            <a:solidFill>
              <a:schemeClr val="tx1"/>
            </a:solidFill>
            <a:round/>
            <a:headEnd type="none" w="sm" len="sm"/>
            <a:tailEnd type="none" w="sm" len="sm"/>
          </a:ln>
        </p:spPr>
        <p:txBody>
          <a:bodyPr/>
          <a:lstStyle/>
          <a:p>
            <a:endParaRPr lang="en-US" dirty="0"/>
          </a:p>
        </p:txBody>
      </p:sp>
      <p:sp>
        <p:nvSpPr>
          <p:cNvPr id="2162" name="Text Box 126"/>
          <p:cNvSpPr txBox="1">
            <a:spLocks noChangeArrowheads="1"/>
          </p:cNvSpPr>
          <p:nvPr/>
        </p:nvSpPr>
        <p:spPr bwMode="auto">
          <a:xfrm>
            <a:off x="131135" y="3543301"/>
            <a:ext cx="1828800" cy="677108"/>
          </a:xfrm>
          <a:prstGeom prst="rect">
            <a:avLst/>
          </a:prstGeom>
          <a:solidFill>
            <a:srgbClr val="FFFF00"/>
          </a:solidFill>
          <a:ln w="9525">
            <a:solidFill>
              <a:schemeClr val="accent1"/>
            </a:solidFill>
            <a:miter lim="800000"/>
            <a:headEnd/>
            <a:tailEnd/>
          </a:ln>
        </p:spPr>
        <p:txBody>
          <a:bodyPr>
            <a:spAutoFit/>
          </a:bodyPr>
          <a:lstStyle/>
          <a:p>
            <a:pPr>
              <a:defRPr/>
            </a:pPr>
            <a:r>
              <a:rPr lang="en-US" sz="1400" dirty="0" smtClean="0">
                <a:solidFill>
                  <a:schemeClr val="accent6">
                    <a:lumMod val="50000"/>
                  </a:schemeClr>
                </a:solidFill>
                <a:latin typeface="Calibri" pitchFamily="34" charset="0"/>
                <a:cs typeface="Times New Roman" pitchFamily="18" charset="0"/>
              </a:rPr>
              <a:t>West</a:t>
            </a:r>
            <a:r>
              <a:rPr lang="en-US" sz="1400" dirty="0" smtClean="0">
                <a:solidFill>
                  <a:schemeClr val="accent6"/>
                </a:solidFill>
                <a:latin typeface="Calibri" pitchFamily="34" charset="0"/>
                <a:cs typeface="Times New Roman" pitchFamily="18" charset="0"/>
              </a:rPr>
              <a:t>/</a:t>
            </a:r>
            <a:r>
              <a:rPr lang="en-US" sz="1400" dirty="0" smtClean="0">
                <a:solidFill>
                  <a:srgbClr val="00B050"/>
                </a:solidFill>
                <a:latin typeface="Calibri" pitchFamily="34" charset="0"/>
                <a:cs typeface="Times New Roman" pitchFamily="18" charset="0"/>
              </a:rPr>
              <a:t>Central</a:t>
            </a:r>
            <a:endParaRPr lang="en-US" sz="1400" dirty="0">
              <a:solidFill>
                <a:srgbClr val="00B050"/>
              </a:solidFill>
              <a:latin typeface="Calibri" pitchFamily="34" charset="0"/>
              <a:cs typeface="Times New Roman" pitchFamily="18" charset="0"/>
            </a:endParaRPr>
          </a:p>
          <a:p>
            <a:pPr>
              <a:defRPr/>
            </a:pPr>
            <a:r>
              <a:rPr lang="en-US" sz="1200" b="1" dirty="0">
                <a:latin typeface="Calibri" pitchFamily="34" charset="0"/>
                <a:cs typeface="Times New Roman" pitchFamily="18" charset="0"/>
              </a:rPr>
              <a:t>Michael </a:t>
            </a:r>
            <a:r>
              <a:rPr lang="en-US" sz="1200" b="1" dirty="0" smtClean="0">
                <a:latin typeface="Calibri" pitchFamily="34" charset="0"/>
                <a:cs typeface="Times New Roman" pitchFamily="18" charset="0"/>
              </a:rPr>
              <a:t>Murphy</a:t>
            </a:r>
          </a:p>
          <a:p>
            <a:pPr>
              <a:defRPr/>
            </a:pPr>
            <a:r>
              <a:rPr lang="en-US" sz="1200" dirty="0" smtClean="0">
                <a:latin typeface="Calibri" pitchFamily="34" charset="0"/>
                <a:cs typeface="Times New Roman" pitchFamily="18" charset="0"/>
              </a:rPr>
              <a:t>San Diego, CA</a:t>
            </a:r>
            <a:endParaRPr lang="en-US" sz="1200" b="1" dirty="0">
              <a:latin typeface="Calibri" pitchFamily="34" charset="0"/>
              <a:cs typeface="Times New Roman" pitchFamily="18" charset="0"/>
            </a:endParaRPr>
          </a:p>
        </p:txBody>
      </p:sp>
      <p:sp>
        <p:nvSpPr>
          <p:cNvPr id="2163" name="Text Box 130"/>
          <p:cNvSpPr txBox="1">
            <a:spLocks noChangeArrowheads="1"/>
          </p:cNvSpPr>
          <p:nvPr/>
        </p:nvSpPr>
        <p:spPr bwMode="auto">
          <a:xfrm>
            <a:off x="1095154" y="103666"/>
            <a:ext cx="7134446" cy="369332"/>
          </a:xfrm>
          <a:prstGeom prst="rect">
            <a:avLst/>
          </a:prstGeom>
          <a:noFill/>
          <a:ln w="9525">
            <a:noFill/>
            <a:miter lim="800000"/>
            <a:headEnd/>
            <a:tailEnd/>
          </a:ln>
        </p:spPr>
        <p:txBody>
          <a:bodyPr wrap="square">
            <a:spAutoFit/>
          </a:bodyPr>
          <a:lstStyle/>
          <a:p>
            <a:pPr algn="ctr">
              <a:spcBef>
                <a:spcPct val="50000"/>
              </a:spcBef>
            </a:pPr>
            <a:r>
              <a:rPr lang="en-US" b="1" dirty="0" smtClean="0">
                <a:latin typeface="Calibri" pitchFamily="34" charset="0"/>
                <a:cs typeface="Times New Roman" pitchFamily="18" charset="0"/>
              </a:rPr>
              <a:t>FY15 </a:t>
            </a:r>
            <a:r>
              <a:rPr lang="en-US" b="1" dirty="0">
                <a:latin typeface="Calibri" pitchFamily="34" charset="0"/>
                <a:cs typeface="Times New Roman" pitchFamily="18" charset="0"/>
              </a:rPr>
              <a:t>US SLG HW </a:t>
            </a:r>
            <a:r>
              <a:rPr lang="en-US" b="1" dirty="0" smtClean="0">
                <a:latin typeface="Calibri" pitchFamily="34" charset="0"/>
                <a:cs typeface="Times New Roman" pitchFamily="18" charset="0"/>
              </a:rPr>
              <a:t>Channel Managers  </a:t>
            </a:r>
            <a:r>
              <a:rPr lang="en-US" b="1" dirty="0">
                <a:latin typeface="Calibri" pitchFamily="34" charset="0"/>
                <a:cs typeface="Times New Roman" pitchFamily="18" charset="0"/>
              </a:rPr>
              <a:t>Coverage Map</a:t>
            </a:r>
          </a:p>
        </p:txBody>
      </p:sp>
      <p:sp>
        <p:nvSpPr>
          <p:cNvPr id="2164" name="Text Box 132"/>
          <p:cNvSpPr txBox="1">
            <a:spLocks noChangeArrowheads="1"/>
          </p:cNvSpPr>
          <p:nvPr/>
        </p:nvSpPr>
        <p:spPr bwMode="auto">
          <a:xfrm>
            <a:off x="6390167" y="576816"/>
            <a:ext cx="1297174" cy="754053"/>
          </a:xfrm>
          <a:prstGeom prst="rect">
            <a:avLst/>
          </a:prstGeom>
          <a:solidFill>
            <a:srgbClr val="FFFF00"/>
          </a:solidFill>
          <a:ln>
            <a:headEnd/>
            <a:tailEnd/>
          </a:ln>
        </p:spPr>
        <p:style>
          <a:lnRef idx="2">
            <a:schemeClr val="dk1"/>
          </a:lnRef>
          <a:fillRef idx="1">
            <a:schemeClr val="lt1"/>
          </a:fillRef>
          <a:effectRef idx="0">
            <a:schemeClr val="dk1"/>
          </a:effectRef>
          <a:fontRef idx="minor">
            <a:schemeClr val="dk1"/>
          </a:fontRef>
        </p:style>
        <p:txBody>
          <a:bodyPr wrap="square">
            <a:spAutoFit/>
          </a:bodyPr>
          <a:lstStyle/>
          <a:p>
            <a:pPr>
              <a:spcBef>
                <a:spcPts val="600"/>
              </a:spcBef>
              <a:defRPr/>
            </a:pPr>
            <a:r>
              <a:rPr lang="en-US" sz="1400" dirty="0" smtClean="0">
                <a:solidFill>
                  <a:srgbClr val="3333CC"/>
                </a:solidFill>
                <a:latin typeface="Calibri" pitchFamily="34" charset="0"/>
                <a:cs typeface="Times New Roman" pitchFamily="18" charset="0"/>
              </a:rPr>
              <a:t>East</a:t>
            </a:r>
            <a:r>
              <a:rPr lang="en-US" sz="1400" dirty="0" smtClean="0">
                <a:solidFill>
                  <a:srgbClr val="00B0F0"/>
                </a:solidFill>
                <a:latin typeface="Calibri" pitchFamily="34" charset="0"/>
                <a:cs typeface="Times New Roman" pitchFamily="18" charset="0"/>
              </a:rPr>
              <a:t>/Central  </a:t>
            </a:r>
            <a:r>
              <a:rPr lang="en-US" sz="1200" dirty="0" smtClean="0">
                <a:latin typeface="Calibri" pitchFamily="34" charset="0"/>
                <a:cs typeface="Times New Roman" pitchFamily="18" charset="0"/>
              </a:rPr>
              <a:t>Carolyn Assad</a:t>
            </a:r>
          </a:p>
          <a:p>
            <a:pPr>
              <a:spcBef>
                <a:spcPts val="600"/>
              </a:spcBef>
              <a:defRPr/>
            </a:pPr>
            <a:r>
              <a:rPr lang="en-US" sz="1200" dirty="0" smtClean="0">
                <a:latin typeface="Calibri" pitchFamily="34" charset="0"/>
                <a:cs typeface="Times New Roman" pitchFamily="18" charset="0"/>
              </a:rPr>
              <a:t>Boston, MA</a:t>
            </a:r>
            <a:endParaRPr lang="en-US" sz="1200" dirty="0">
              <a:latin typeface="Calibri" pitchFamily="34" charset="0"/>
              <a:cs typeface="Times New Roman" pitchFamily="18" charset="0"/>
            </a:endParaRPr>
          </a:p>
        </p:txBody>
      </p:sp>
      <p:sp>
        <p:nvSpPr>
          <p:cNvPr id="2165" name="Freeform 132"/>
          <p:cNvSpPr>
            <a:spLocks/>
          </p:cNvSpPr>
          <p:nvPr/>
        </p:nvSpPr>
        <p:spPr bwMode="auto">
          <a:xfrm>
            <a:off x="10101264" y="1382317"/>
            <a:ext cx="1495425" cy="97631"/>
          </a:xfrm>
          <a:custGeom>
            <a:avLst/>
            <a:gdLst>
              <a:gd name="T0" fmla="*/ 0 w 1494971"/>
              <a:gd name="T1" fmla="*/ 0 h 130629"/>
              <a:gd name="T2" fmla="*/ 1498152 w 1494971"/>
              <a:gd name="T3" fmla="*/ 127484 h 130629"/>
              <a:gd name="T4" fmla="*/ 0 60000 65536"/>
              <a:gd name="T5" fmla="*/ 0 60000 65536"/>
              <a:gd name="T6" fmla="*/ 0 w 1494971"/>
              <a:gd name="T7" fmla="*/ 0 h 130629"/>
              <a:gd name="T8" fmla="*/ 1494971 w 1494971"/>
              <a:gd name="T9" fmla="*/ 130629 h 130629"/>
            </a:gdLst>
            <a:ahLst/>
            <a:cxnLst>
              <a:cxn ang="T4">
                <a:pos x="T0" y="T1"/>
              </a:cxn>
              <a:cxn ang="T5">
                <a:pos x="T2" y="T3"/>
              </a:cxn>
            </a:cxnLst>
            <a:rect l="T6" t="T7" r="T8" b="T9"/>
            <a:pathLst>
              <a:path w="1494971" h="130629">
                <a:moveTo>
                  <a:pt x="0" y="0"/>
                </a:moveTo>
                <a:lnTo>
                  <a:pt x="1494971" y="130629"/>
                </a:lnTo>
              </a:path>
            </a:pathLst>
          </a:custGeom>
          <a:solidFill>
            <a:srgbClr val="C0C0C0"/>
          </a:solidFill>
          <a:ln w="9525" cap="flat" cmpd="sng">
            <a:noFill/>
            <a:prstDash val="solid"/>
            <a:round/>
            <a:headEnd type="none" w="med" len="med"/>
            <a:tailEnd type="none" w="med" len="med"/>
          </a:ln>
        </p:spPr>
        <p:txBody>
          <a:bodyPr/>
          <a:lstStyle/>
          <a:p>
            <a:endParaRPr lang="en-US" dirty="0"/>
          </a:p>
        </p:txBody>
      </p:sp>
      <p:sp>
        <p:nvSpPr>
          <p:cNvPr id="131" name="TextBox 130"/>
          <p:cNvSpPr txBox="1"/>
          <p:nvPr/>
        </p:nvSpPr>
        <p:spPr>
          <a:xfrm>
            <a:off x="6016257" y="3779875"/>
            <a:ext cx="1600200" cy="646331"/>
          </a:xfrm>
          <a:prstGeom prst="rect">
            <a:avLst/>
          </a:prstGeom>
          <a:solidFill>
            <a:srgbClr val="FFFF00"/>
          </a:solidFill>
          <a:ln>
            <a:solidFill>
              <a:schemeClr val="accent1"/>
            </a:solidFill>
          </a:ln>
        </p:spPr>
        <p:txBody>
          <a:bodyPr>
            <a:spAutoFit/>
          </a:bodyPr>
          <a:lstStyle/>
          <a:p>
            <a:pPr>
              <a:defRPr/>
            </a:pPr>
            <a:r>
              <a:rPr lang="en-US" sz="1200" b="1" dirty="0"/>
              <a:t>US SLG</a:t>
            </a:r>
          </a:p>
          <a:p>
            <a:pPr>
              <a:defRPr/>
            </a:pPr>
            <a:r>
              <a:rPr lang="en-US" sz="1200" b="1" dirty="0"/>
              <a:t>Mandy </a:t>
            </a:r>
            <a:r>
              <a:rPr lang="en-US" sz="1200" b="1" dirty="0" smtClean="0"/>
              <a:t>Jandik</a:t>
            </a:r>
          </a:p>
          <a:p>
            <a:pPr>
              <a:defRPr/>
            </a:pPr>
            <a:r>
              <a:rPr lang="en-US" sz="1200" dirty="0" smtClean="0"/>
              <a:t>Denver, CO</a:t>
            </a:r>
            <a:endParaRPr lang="en-US" sz="1200" b="1" dirty="0"/>
          </a:p>
        </p:txBody>
      </p:sp>
      <p:cxnSp>
        <p:nvCxnSpPr>
          <p:cNvPr id="134" name="Straight Connector 133"/>
          <p:cNvCxnSpPr/>
          <p:nvPr/>
        </p:nvCxnSpPr>
        <p:spPr>
          <a:xfrm flipV="1">
            <a:off x="914400" y="2914650"/>
            <a:ext cx="228600" cy="628650"/>
          </a:xfrm>
          <a:prstGeom prst="line">
            <a:avLst/>
          </a:prstGeom>
        </p:spPr>
        <p:style>
          <a:lnRef idx="2">
            <a:schemeClr val="dk1"/>
          </a:lnRef>
          <a:fillRef idx="0">
            <a:schemeClr val="dk1"/>
          </a:fillRef>
          <a:effectRef idx="1">
            <a:schemeClr val="dk1"/>
          </a:effectRef>
          <a:fontRef idx="minor">
            <a:schemeClr val="tx1"/>
          </a:fontRef>
        </p:style>
      </p:cxnSp>
      <p:cxnSp>
        <p:nvCxnSpPr>
          <p:cNvPr id="136" name="Straight Connector 135"/>
          <p:cNvCxnSpPr/>
          <p:nvPr/>
        </p:nvCxnSpPr>
        <p:spPr>
          <a:xfrm>
            <a:off x="7696200" y="857250"/>
            <a:ext cx="990600" cy="457200"/>
          </a:xfrm>
          <a:prstGeom prst="line">
            <a:avLst/>
          </a:prstGeom>
        </p:spPr>
        <p:style>
          <a:lnRef idx="2">
            <a:schemeClr val="dk1"/>
          </a:lnRef>
          <a:fillRef idx="0">
            <a:schemeClr val="dk1"/>
          </a:fillRef>
          <a:effectRef idx="1">
            <a:schemeClr val="dk1"/>
          </a:effectRef>
          <a:fontRef idx="minor">
            <a:schemeClr val="tx1"/>
          </a:fontRef>
        </p:style>
      </p:cxnSp>
      <p:cxnSp>
        <p:nvCxnSpPr>
          <p:cNvPr id="138" name="Straight Connector 137"/>
          <p:cNvCxnSpPr/>
          <p:nvPr/>
        </p:nvCxnSpPr>
        <p:spPr>
          <a:xfrm flipH="1" flipV="1">
            <a:off x="3522921" y="2522574"/>
            <a:ext cx="2514600" cy="1600200"/>
          </a:xfrm>
          <a:prstGeom prst="line">
            <a:avLst/>
          </a:prstGeom>
        </p:spPr>
        <p:style>
          <a:lnRef idx="2">
            <a:schemeClr val="dk1"/>
          </a:lnRef>
          <a:fillRef idx="0">
            <a:schemeClr val="dk1"/>
          </a:fillRef>
          <a:effectRef idx="1">
            <a:schemeClr val="dk1"/>
          </a:effectRef>
          <a:fontRef idx="minor">
            <a:schemeClr val="tx1"/>
          </a:fontRef>
        </p:style>
      </p:cxnSp>
      <p:sp>
        <p:nvSpPr>
          <p:cNvPr id="135" name="5-Point Star 134"/>
          <p:cNvSpPr/>
          <p:nvPr/>
        </p:nvSpPr>
        <p:spPr>
          <a:xfrm>
            <a:off x="3276600" y="2400300"/>
            <a:ext cx="304800" cy="285750"/>
          </a:xfrm>
          <a:prstGeom prst="star5">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7" name="5-Point Star 136"/>
          <p:cNvSpPr/>
          <p:nvPr/>
        </p:nvSpPr>
        <p:spPr>
          <a:xfrm>
            <a:off x="990600" y="2800350"/>
            <a:ext cx="304800" cy="285750"/>
          </a:xfrm>
          <a:prstGeom prst="star5">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0" name="5-Point Star 139"/>
          <p:cNvSpPr/>
          <p:nvPr/>
        </p:nvSpPr>
        <p:spPr>
          <a:xfrm>
            <a:off x="8534400" y="1257300"/>
            <a:ext cx="457200" cy="228600"/>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1" name="TextBox 140"/>
          <p:cNvSpPr txBox="1"/>
          <p:nvPr/>
        </p:nvSpPr>
        <p:spPr>
          <a:xfrm>
            <a:off x="8008089" y="2934586"/>
            <a:ext cx="987056" cy="1107996"/>
          </a:xfrm>
          <a:prstGeom prst="rect">
            <a:avLst/>
          </a:prstGeom>
          <a:solidFill>
            <a:srgbClr val="FFFF00"/>
          </a:solidFill>
          <a:ln>
            <a:solidFill>
              <a:schemeClr val="accent1"/>
            </a:solidFill>
          </a:ln>
        </p:spPr>
        <p:txBody>
          <a:bodyPr wrap="square">
            <a:spAutoFit/>
          </a:bodyPr>
          <a:lstStyle/>
          <a:p>
            <a:pPr>
              <a:defRPr/>
            </a:pPr>
            <a:r>
              <a:rPr lang="en-US" sz="1200" b="1" dirty="0"/>
              <a:t>Jay Messenger</a:t>
            </a:r>
          </a:p>
          <a:p>
            <a:pPr>
              <a:defRPr/>
            </a:pPr>
            <a:r>
              <a:rPr lang="en-US" sz="1200" b="1" dirty="0"/>
              <a:t>Team </a:t>
            </a:r>
            <a:r>
              <a:rPr lang="en-US" sz="1200" b="1" dirty="0" smtClean="0"/>
              <a:t>Lead</a:t>
            </a:r>
          </a:p>
          <a:p>
            <a:pPr>
              <a:defRPr/>
            </a:pPr>
            <a:r>
              <a:rPr lang="en-US" sz="1200" dirty="0" smtClean="0"/>
              <a:t>Reston, VA</a:t>
            </a:r>
            <a:endParaRPr lang="en-US" sz="1200" b="1" dirty="0"/>
          </a:p>
          <a:p>
            <a:pPr>
              <a:defRPr/>
            </a:pPr>
            <a:endParaRPr lang="en-US" dirty="0"/>
          </a:p>
        </p:txBody>
      </p:sp>
      <p:cxnSp>
        <p:nvCxnSpPr>
          <p:cNvPr id="143" name="Straight Connector 142"/>
          <p:cNvCxnSpPr/>
          <p:nvPr/>
        </p:nvCxnSpPr>
        <p:spPr>
          <a:xfrm flipH="1" flipV="1">
            <a:off x="8075428" y="2058730"/>
            <a:ext cx="341128" cy="859907"/>
          </a:xfrm>
          <a:prstGeom prst="line">
            <a:avLst/>
          </a:prstGeom>
        </p:spPr>
        <p:style>
          <a:lnRef idx="2">
            <a:schemeClr val="dk1"/>
          </a:lnRef>
          <a:fillRef idx="0">
            <a:schemeClr val="dk1"/>
          </a:fillRef>
          <a:effectRef idx="1">
            <a:schemeClr val="dk1"/>
          </a:effectRef>
          <a:fontRef idx="minor">
            <a:schemeClr val="tx1"/>
          </a:fontRef>
        </p:style>
      </p:cxnSp>
      <p:sp>
        <p:nvSpPr>
          <p:cNvPr id="144" name="5-Point Star 143"/>
          <p:cNvSpPr/>
          <p:nvPr/>
        </p:nvSpPr>
        <p:spPr>
          <a:xfrm>
            <a:off x="7772400" y="1943100"/>
            <a:ext cx="457200" cy="228600"/>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2" name="TextBox 141"/>
          <p:cNvSpPr txBox="1"/>
          <p:nvPr/>
        </p:nvSpPr>
        <p:spPr>
          <a:xfrm>
            <a:off x="3856074" y="4045689"/>
            <a:ext cx="1566530" cy="646331"/>
          </a:xfrm>
          <a:prstGeom prst="rect">
            <a:avLst/>
          </a:prstGeom>
          <a:solidFill>
            <a:srgbClr val="FFFF00"/>
          </a:solidFill>
          <a:ln>
            <a:solidFill>
              <a:schemeClr val="accent1"/>
            </a:solidFill>
          </a:ln>
        </p:spPr>
        <p:txBody>
          <a:bodyPr wrap="square">
            <a:spAutoFit/>
          </a:bodyPr>
          <a:lstStyle/>
          <a:p>
            <a:pPr>
              <a:defRPr/>
            </a:pPr>
            <a:r>
              <a:rPr lang="en-US" sz="1200" b="1" dirty="0"/>
              <a:t>Andrew Thomas</a:t>
            </a:r>
          </a:p>
          <a:p>
            <a:pPr>
              <a:defRPr/>
            </a:pPr>
            <a:r>
              <a:rPr lang="en-US" sz="1200" b="1" dirty="0"/>
              <a:t>Tier III </a:t>
            </a:r>
            <a:r>
              <a:rPr lang="en-US" sz="1200" b="1" dirty="0" smtClean="0"/>
              <a:t>Approver</a:t>
            </a:r>
          </a:p>
          <a:p>
            <a:pPr>
              <a:defRPr/>
            </a:pPr>
            <a:r>
              <a:rPr lang="en-US" sz="1200" dirty="0" smtClean="0"/>
              <a:t>Dallas, TX</a:t>
            </a:r>
            <a:endParaRPr lang="en-US" sz="1200" b="1" dirty="0"/>
          </a:p>
        </p:txBody>
      </p:sp>
      <p:cxnSp>
        <p:nvCxnSpPr>
          <p:cNvPr id="146" name="Straight Connector 145"/>
          <p:cNvCxnSpPr>
            <a:stCxn id="142" idx="0"/>
          </p:cNvCxnSpPr>
          <p:nvPr/>
        </p:nvCxnSpPr>
        <p:spPr>
          <a:xfrm flipV="1">
            <a:off x="4639339" y="3580514"/>
            <a:ext cx="198476" cy="465175"/>
          </a:xfrm>
          <a:prstGeom prst="line">
            <a:avLst/>
          </a:prstGeom>
        </p:spPr>
        <p:style>
          <a:lnRef idx="2">
            <a:schemeClr val="dk1"/>
          </a:lnRef>
          <a:fillRef idx="0">
            <a:schemeClr val="dk1"/>
          </a:fillRef>
          <a:effectRef idx="1">
            <a:schemeClr val="dk1"/>
          </a:effectRef>
          <a:fontRef idx="minor">
            <a:schemeClr val="tx1"/>
          </a:fontRef>
        </p:style>
      </p:cxnSp>
      <p:sp>
        <p:nvSpPr>
          <p:cNvPr id="147" name="5-Point Star 146"/>
          <p:cNvSpPr/>
          <p:nvPr/>
        </p:nvSpPr>
        <p:spPr>
          <a:xfrm>
            <a:off x="4572000" y="3486150"/>
            <a:ext cx="457200" cy="285750"/>
          </a:xfrm>
          <a:prstGeom prst="star5">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2"/>
          <p:cNvSpPr>
            <a:spLocks noGrp="1"/>
          </p:cNvSpPr>
          <p:nvPr>
            <p:ph type="ftr" sz="quarter" idx="10"/>
          </p:nvPr>
        </p:nvSpPr>
        <p:spPr/>
        <p:txBody>
          <a:bodyPr/>
          <a:lstStyle/>
          <a:p>
            <a:pPr>
              <a:defRPr/>
            </a:pPr>
            <a:r>
              <a:rPr lang="en-US" dirty="0" smtClean="0">
                <a:solidFill>
                  <a:srgbClr val="000000"/>
                </a:solidFill>
                <a:latin typeface="Calibri" panose="020F0502020204030204" pitchFamily="34" charset="0"/>
              </a:rPr>
              <a:t>Oracle Internal Confidential</a:t>
            </a:r>
            <a:endParaRPr lang="en-US" dirty="0">
              <a:solidFill>
                <a:srgbClr val="000000"/>
              </a:solidFill>
              <a:latin typeface="Calibri" panose="020F0502020204030204" pitchFamily="34" charset="0"/>
            </a:endParaRPr>
          </a:p>
        </p:txBody>
      </p:sp>
      <p:sp>
        <p:nvSpPr>
          <p:cNvPr id="7171" name="Rectangle 2"/>
          <p:cNvSpPr>
            <a:spLocks noGrp="1" noChangeArrowheads="1"/>
          </p:cNvSpPr>
          <p:nvPr>
            <p:ph type="title"/>
          </p:nvPr>
        </p:nvSpPr>
        <p:spPr>
          <a:xfrm>
            <a:off x="813956" y="163885"/>
            <a:ext cx="7342909" cy="390806"/>
          </a:xfrm>
        </p:spPr>
        <p:txBody>
          <a:bodyPr/>
          <a:lstStyle/>
          <a:p>
            <a:pPr eaLnBrk="1" hangingPunct="1"/>
            <a:r>
              <a:rPr lang="en-US" sz="2800" b="1" dirty="0" smtClean="0">
                <a:latin typeface="Calibri" panose="020F0502020204030204" pitchFamily="34" charset="0"/>
                <a:cs typeface="Times New Roman" charset="0"/>
              </a:rPr>
              <a:t>FY15 Canada HW Channels Coverage Map</a:t>
            </a:r>
          </a:p>
        </p:txBody>
      </p:sp>
      <p:pic>
        <p:nvPicPr>
          <p:cNvPr id="7172" name="Picture 3" descr="Map_Canada_political"/>
          <p:cNvPicPr>
            <a:picLocks noChangeAspect="1" noChangeArrowheads="1"/>
          </p:cNvPicPr>
          <p:nvPr/>
        </p:nvPicPr>
        <p:blipFill>
          <a:blip r:embed="rId3" cstate="print"/>
          <a:srcRect/>
          <a:stretch>
            <a:fillRect/>
          </a:stretch>
        </p:blipFill>
        <p:spPr bwMode="auto">
          <a:xfrm>
            <a:off x="1630363" y="588172"/>
            <a:ext cx="5791200" cy="3755231"/>
          </a:xfrm>
          <a:prstGeom prst="rect">
            <a:avLst/>
          </a:prstGeom>
          <a:noFill/>
          <a:ln w="9525">
            <a:noFill/>
            <a:miter lim="800000"/>
            <a:headEnd/>
            <a:tailEnd/>
          </a:ln>
        </p:spPr>
      </p:pic>
      <p:sp>
        <p:nvSpPr>
          <p:cNvPr id="7173" name="Text Box 4"/>
          <p:cNvSpPr txBox="1">
            <a:spLocks noChangeArrowheads="1"/>
          </p:cNvSpPr>
          <p:nvPr/>
        </p:nvSpPr>
        <p:spPr bwMode="auto">
          <a:xfrm>
            <a:off x="1143000" y="4057654"/>
            <a:ext cx="2209800" cy="933744"/>
          </a:xfrm>
          <a:prstGeom prst="rect">
            <a:avLst/>
          </a:prstGeom>
          <a:noFill/>
          <a:ln w="9525">
            <a:noFill/>
            <a:miter lim="800000"/>
            <a:headEnd/>
            <a:tailEnd/>
          </a:ln>
        </p:spPr>
        <p:txBody>
          <a:bodyPr lIns="101751" tIns="50877" rIns="101751" bIns="50877">
            <a:spAutoFit/>
          </a:bodyPr>
          <a:lstStyle/>
          <a:p>
            <a:pPr algn="l">
              <a:lnSpc>
                <a:spcPct val="100000"/>
              </a:lnSpc>
              <a:buClrTx/>
            </a:pPr>
            <a:r>
              <a:rPr lang="en-US" sz="2700" b="0" dirty="0" smtClean="0">
                <a:solidFill>
                  <a:srgbClr val="000000"/>
                </a:solidFill>
                <a:latin typeface="Calibri" panose="020F0502020204030204" pitchFamily="34" charset="0"/>
                <a:ea typeface="+mn-ea"/>
                <a:cs typeface="Times New Roman" charset="0"/>
              </a:rPr>
              <a:t>                                </a:t>
            </a:r>
          </a:p>
          <a:p>
            <a:pPr algn="l">
              <a:lnSpc>
                <a:spcPct val="100000"/>
              </a:lnSpc>
              <a:buClrTx/>
            </a:pPr>
            <a:endParaRPr lang="en-US" sz="2700" b="0" dirty="0" smtClean="0">
              <a:solidFill>
                <a:srgbClr val="000000"/>
              </a:solidFill>
              <a:latin typeface="Calibri" panose="020F0502020204030204" pitchFamily="34" charset="0"/>
              <a:ea typeface="+mn-ea"/>
              <a:cs typeface="Times New Roman" charset="0"/>
            </a:endParaRPr>
          </a:p>
        </p:txBody>
      </p:sp>
      <p:sp>
        <p:nvSpPr>
          <p:cNvPr id="7174" name="Text Box 5"/>
          <p:cNvSpPr txBox="1">
            <a:spLocks noChangeArrowheads="1"/>
          </p:cNvSpPr>
          <p:nvPr/>
        </p:nvSpPr>
        <p:spPr bwMode="auto">
          <a:xfrm>
            <a:off x="644531" y="1109664"/>
            <a:ext cx="1670050" cy="348969"/>
          </a:xfrm>
          <a:prstGeom prst="rect">
            <a:avLst/>
          </a:prstGeom>
          <a:noFill/>
          <a:ln w="9525">
            <a:noFill/>
            <a:miter lim="800000"/>
            <a:headEnd/>
            <a:tailEnd/>
          </a:ln>
        </p:spPr>
        <p:txBody>
          <a:bodyPr lIns="101751" tIns="50877" rIns="101751" bIns="50877">
            <a:spAutoFit/>
          </a:bodyPr>
          <a:lstStyle/>
          <a:p>
            <a:pPr eaLnBrk="0" hangingPunct="0">
              <a:lnSpc>
                <a:spcPct val="100000"/>
              </a:lnSpc>
              <a:spcBef>
                <a:spcPct val="0"/>
              </a:spcBef>
              <a:buClrTx/>
            </a:pPr>
            <a:endParaRPr lang="en-US" sz="1600" b="0" dirty="0" smtClean="0">
              <a:solidFill>
                <a:srgbClr val="000000"/>
              </a:solidFill>
              <a:latin typeface="Calibri" panose="020F0502020204030204" pitchFamily="34" charset="0"/>
              <a:ea typeface="+mn-ea"/>
              <a:cs typeface="+mn-cs"/>
            </a:endParaRPr>
          </a:p>
        </p:txBody>
      </p:sp>
      <p:sp>
        <p:nvSpPr>
          <p:cNvPr id="7175" name="Text Box 6"/>
          <p:cNvSpPr txBox="1">
            <a:spLocks noChangeArrowheads="1"/>
          </p:cNvSpPr>
          <p:nvPr/>
        </p:nvSpPr>
        <p:spPr bwMode="auto">
          <a:xfrm>
            <a:off x="682631" y="928689"/>
            <a:ext cx="2165350" cy="348969"/>
          </a:xfrm>
          <a:prstGeom prst="rect">
            <a:avLst/>
          </a:prstGeom>
          <a:noFill/>
          <a:ln w="9525">
            <a:noFill/>
            <a:miter lim="800000"/>
            <a:headEnd/>
            <a:tailEnd/>
          </a:ln>
        </p:spPr>
        <p:txBody>
          <a:bodyPr lIns="101751" tIns="50877" rIns="101751" bIns="50877">
            <a:spAutoFit/>
          </a:bodyPr>
          <a:lstStyle/>
          <a:p>
            <a:pPr eaLnBrk="0" hangingPunct="0">
              <a:lnSpc>
                <a:spcPct val="100000"/>
              </a:lnSpc>
              <a:spcBef>
                <a:spcPct val="0"/>
              </a:spcBef>
              <a:buClrTx/>
            </a:pPr>
            <a:endParaRPr lang="en-US" sz="1600" b="0" dirty="0" smtClean="0">
              <a:solidFill>
                <a:srgbClr val="000000"/>
              </a:solidFill>
              <a:latin typeface="Calibri" panose="020F0502020204030204" pitchFamily="34" charset="0"/>
              <a:ea typeface="+mn-ea"/>
              <a:cs typeface="+mn-cs"/>
            </a:endParaRPr>
          </a:p>
        </p:txBody>
      </p:sp>
      <p:sp>
        <p:nvSpPr>
          <p:cNvPr id="7176" name="Text Box 9"/>
          <p:cNvSpPr txBox="1">
            <a:spLocks noChangeArrowheads="1"/>
          </p:cNvSpPr>
          <p:nvPr/>
        </p:nvSpPr>
        <p:spPr bwMode="auto">
          <a:xfrm>
            <a:off x="7375531" y="1138239"/>
            <a:ext cx="1289050" cy="348969"/>
          </a:xfrm>
          <a:prstGeom prst="rect">
            <a:avLst/>
          </a:prstGeom>
          <a:noFill/>
          <a:ln w="9525">
            <a:noFill/>
            <a:miter lim="800000"/>
            <a:headEnd/>
            <a:tailEnd/>
          </a:ln>
        </p:spPr>
        <p:txBody>
          <a:bodyPr lIns="101751" tIns="50877" rIns="101751" bIns="50877">
            <a:spAutoFit/>
          </a:bodyPr>
          <a:lstStyle/>
          <a:p>
            <a:pPr eaLnBrk="0" hangingPunct="0">
              <a:lnSpc>
                <a:spcPct val="100000"/>
              </a:lnSpc>
              <a:spcBef>
                <a:spcPct val="0"/>
              </a:spcBef>
              <a:buClrTx/>
            </a:pPr>
            <a:endParaRPr lang="en-US" sz="1600" b="0" dirty="0" smtClean="0">
              <a:solidFill>
                <a:srgbClr val="000000"/>
              </a:solidFill>
              <a:latin typeface="Calibri" panose="020F0502020204030204" pitchFamily="34" charset="0"/>
              <a:ea typeface="+mn-ea"/>
              <a:cs typeface="+mn-cs"/>
            </a:endParaRPr>
          </a:p>
        </p:txBody>
      </p:sp>
      <p:sp>
        <p:nvSpPr>
          <p:cNvPr id="7177" name="Text Box 10"/>
          <p:cNvSpPr txBox="1">
            <a:spLocks noChangeArrowheads="1"/>
          </p:cNvSpPr>
          <p:nvPr/>
        </p:nvSpPr>
        <p:spPr bwMode="auto">
          <a:xfrm>
            <a:off x="5843589" y="1373986"/>
            <a:ext cx="2794000" cy="808069"/>
          </a:xfrm>
          <a:prstGeom prst="rect">
            <a:avLst/>
          </a:prstGeom>
          <a:noFill/>
          <a:ln w="9525">
            <a:noFill/>
            <a:miter lim="800000"/>
            <a:headEnd/>
            <a:tailEnd/>
          </a:ln>
        </p:spPr>
        <p:txBody>
          <a:bodyPr lIns="101751" tIns="50877" rIns="101751" bIns="50877">
            <a:spAutoFit/>
          </a:bodyPr>
          <a:lstStyle/>
          <a:p>
            <a:pPr eaLnBrk="0" hangingPunct="0">
              <a:lnSpc>
                <a:spcPct val="100000"/>
              </a:lnSpc>
              <a:spcBef>
                <a:spcPts val="669"/>
              </a:spcBef>
              <a:buClrTx/>
            </a:pPr>
            <a:r>
              <a:rPr lang="en-US" sz="2000" dirty="0" smtClean="0">
                <a:solidFill>
                  <a:srgbClr val="000000"/>
                </a:solidFill>
                <a:latin typeface="Calibri" panose="020F0502020204030204" pitchFamily="34" charset="0"/>
                <a:ea typeface="+mn-ea"/>
                <a:cs typeface="Times New Roman" charset="0"/>
              </a:rPr>
              <a:t>Canada</a:t>
            </a:r>
          </a:p>
          <a:p>
            <a:pPr eaLnBrk="0" hangingPunct="0">
              <a:lnSpc>
                <a:spcPct val="100000"/>
              </a:lnSpc>
              <a:spcBef>
                <a:spcPts val="669"/>
              </a:spcBef>
              <a:buClrTx/>
            </a:pPr>
            <a:r>
              <a:rPr lang="en-US" sz="2000" dirty="0" smtClean="0">
                <a:solidFill>
                  <a:srgbClr val="000000"/>
                </a:solidFill>
                <a:latin typeface="Calibri" panose="020F0502020204030204" pitchFamily="34" charset="0"/>
                <a:ea typeface="+mn-ea"/>
                <a:cs typeface="Times New Roman" charset="0"/>
              </a:rPr>
              <a:t>Joy Everett</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Footer Placeholder 1"/>
          <p:cNvSpPr>
            <a:spLocks noGrp="1"/>
          </p:cNvSpPr>
          <p:nvPr>
            <p:ph type="ftr" sz="quarter" idx="10"/>
          </p:nvPr>
        </p:nvSpPr>
        <p:spPr/>
        <p:txBody>
          <a:bodyPr/>
          <a:lstStyle/>
          <a:p>
            <a:pPr>
              <a:defRPr/>
            </a:pPr>
            <a:r>
              <a:rPr lang="en-US" dirty="0" smtClean="0">
                <a:solidFill>
                  <a:srgbClr val="000000"/>
                </a:solidFill>
                <a:latin typeface="Calibri" panose="020F0502020204030204" pitchFamily="34" charset="0"/>
              </a:rPr>
              <a:t>Oracle Internal Confidential</a:t>
            </a:r>
            <a:endParaRPr lang="en-US" dirty="0">
              <a:solidFill>
                <a:srgbClr val="000000"/>
              </a:solidFill>
              <a:latin typeface="Calibri" panose="020F0502020204030204" pitchFamily="34" charset="0"/>
            </a:endParaRPr>
          </a:p>
        </p:txBody>
      </p:sp>
      <p:sp>
        <p:nvSpPr>
          <p:cNvPr id="3075" name="Freeform 2"/>
          <p:cNvSpPr>
            <a:spLocks/>
          </p:cNvSpPr>
          <p:nvPr/>
        </p:nvSpPr>
        <p:spPr bwMode="auto">
          <a:xfrm>
            <a:off x="7305676" y="837025"/>
            <a:ext cx="1306512" cy="707231"/>
          </a:xfrm>
          <a:custGeom>
            <a:avLst/>
            <a:gdLst>
              <a:gd name="T0" fmla="*/ 2147483647 w 823"/>
              <a:gd name="T1" fmla="*/ 2147483647 h 594"/>
              <a:gd name="T2" fmla="*/ 2147483647 w 823"/>
              <a:gd name="T3" fmla="*/ 2147483647 h 594"/>
              <a:gd name="T4" fmla="*/ 2147483647 w 823"/>
              <a:gd name="T5" fmla="*/ 2147483647 h 594"/>
              <a:gd name="T6" fmla="*/ 2147483647 w 823"/>
              <a:gd name="T7" fmla="*/ 2147483647 h 594"/>
              <a:gd name="T8" fmla="*/ 2147483647 w 823"/>
              <a:gd name="T9" fmla="*/ 2147483647 h 594"/>
              <a:gd name="T10" fmla="*/ 2147483647 w 823"/>
              <a:gd name="T11" fmla="*/ 2147483647 h 594"/>
              <a:gd name="T12" fmla="*/ 2147483647 w 823"/>
              <a:gd name="T13" fmla="*/ 2147483647 h 594"/>
              <a:gd name="T14" fmla="*/ 2147483647 w 823"/>
              <a:gd name="T15" fmla="*/ 2147483647 h 594"/>
              <a:gd name="T16" fmla="*/ 2147483647 w 823"/>
              <a:gd name="T17" fmla="*/ 2147483647 h 594"/>
              <a:gd name="T18" fmla="*/ 2147483647 w 823"/>
              <a:gd name="T19" fmla="*/ 2147483647 h 594"/>
              <a:gd name="T20" fmla="*/ 2147483647 w 823"/>
              <a:gd name="T21" fmla="*/ 2147483647 h 594"/>
              <a:gd name="T22" fmla="*/ 2147483647 w 823"/>
              <a:gd name="T23" fmla="*/ 2147483647 h 594"/>
              <a:gd name="T24" fmla="*/ 2147483647 w 823"/>
              <a:gd name="T25" fmla="*/ 2147483647 h 594"/>
              <a:gd name="T26" fmla="*/ 2147483647 w 823"/>
              <a:gd name="T27" fmla="*/ 2147483647 h 594"/>
              <a:gd name="T28" fmla="*/ 2147483647 w 823"/>
              <a:gd name="T29" fmla="*/ 2147483647 h 594"/>
              <a:gd name="T30" fmla="*/ 2147483647 w 823"/>
              <a:gd name="T31" fmla="*/ 2147483647 h 594"/>
              <a:gd name="T32" fmla="*/ 2147483647 w 823"/>
              <a:gd name="T33" fmla="*/ 2147483647 h 594"/>
              <a:gd name="T34" fmla="*/ 2147483647 w 823"/>
              <a:gd name="T35" fmla="*/ 2147483647 h 594"/>
              <a:gd name="T36" fmla="*/ 2147483647 w 823"/>
              <a:gd name="T37" fmla="*/ 2147483647 h 594"/>
              <a:gd name="T38" fmla="*/ 2147483647 w 823"/>
              <a:gd name="T39" fmla="*/ 2147483647 h 594"/>
              <a:gd name="T40" fmla="*/ 2147483647 w 823"/>
              <a:gd name="T41" fmla="*/ 2147483647 h 594"/>
              <a:gd name="T42" fmla="*/ 2147483647 w 823"/>
              <a:gd name="T43" fmla="*/ 2147483647 h 594"/>
              <a:gd name="T44" fmla="*/ 2147483647 w 823"/>
              <a:gd name="T45" fmla="*/ 2147483647 h 594"/>
              <a:gd name="T46" fmla="*/ 2147483647 w 823"/>
              <a:gd name="T47" fmla="*/ 2147483647 h 594"/>
              <a:gd name="T48" fmla="*/ 2147483647 w 823"/>
              <a:gd name="T49" fmla="*/ 2147483647 h 594"/>
              <a:gd name="T50" fmla="*/ 2147483647 w 823"/>
              <a:gd name="T51" fmla="*/ 2147483647 h 594"/>
              <a:gd name="T52" fmla="*/ 2147483647 w 823"/>
              <a:gd name="T53" fmla="*/ 2147483647 h 594"/>
              <a:gd name="T54" fmla="*/ 2147483647 w 823"/>
              <a:gd name="T55" fmla="*/ 2147483647 h 594"/>
              <a:gd name="T56" fmla="*/ 2147483647 w 823"/>
              <a:gd name="T57" fmla="*/ 2147483647 h 594"/>
              <a:gd name="T58" fmla="*/ 2147483647 w 823"/>
              <a:gd name="T59" fmla="*/ 2147483647 h 594"/>
              <a:gd name="T60" fmla="*/ 2147483647 w 823"/>
              <a:gd name="T61" fmla="*/ 2147483647 h 594"/>
              <a:gd name="T62" fmla="*/ 2147483647 w 823"/>
              <a:gd name="T63" fmla="*/ 2147483647 h 594"/>
              <a:gd name="T64" fmla="*/ 2147483647 w 823"/>
              <a:gd name="T65" fmla="*/ 2147483647 h 594"/>
              <a:gd name="T66" fmla="*/ 2147483647 w 823"/>
              <a:gd name="T67" fmla="*/ 2147483647 h 594"/>
              <a:gd name="T68" fmla="*/ 2147483647 w 823"/>
              <a:gd name="T69" fmla="*/ 2147483647 h 594"/>
              <a:gd name="T70" fmla="*/ 2147483647 w 823"/>
              <a:gd name="T71" fmla="*/ 2147483647 h 594"/>
              <a:gd name="T72" fmla="*/ 2147483647 w 823"/>
              <a:gd name="T73" fmla="*/ 2147483647 h 59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3"/>
              <a:gd name="T112" fmla="*/ 0 h 594"/>
              <a:gd name="T113" fmla="*/ 823 w 823"/>
              <a:gd name="T114" fmla="*/ 594 h 59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3" h="594">
                <a:moveTo>
                  <a:pt x="345" y="118"/>
                </a:moveTo>
                <a:lnTo>
                  <a:pt x="361" y="83"/>
                </a:lnTo>
                <a:lnTo>
                  <a:pt x="361" y="67"/>
                </a:lnTo>
                <a:lnTo>
                  <a:pt x="410" y="33"/>
                </a:lnTo>
                <a:lnTo>
                  <a:pt x="542" y="0"/>
                </a:lnTo>
                <a:lnTo>
                  <a:pt x="558" y="16"/>
                </a:lnTo>
                <a:lnTo>
                  <a:pt x="542" y="50"/>
                </a:lnTo>
                <a:lnTo>
                  <a:pt x="542" y="67"/>
                </a:lnTo>
                <a:lnTo>
                  <a:pt x="575" y="101"/>
                </a:lnTo>
                <a:lnTo>
                  <a:pt x="591" y="151"/>
                </a:lnTo>
                <a:lnTo>
                  <a:pt x="591" y="203"/>
                </a:lnTo>
                <a:lnTo>
                  <a:pt x="591" y="236"/>
                </a:lnTo>
                <a:lnTo>
                  <a:pt x="624" y="253"/>
                </a:lnTo>
                <a:lnTo>
                  <a:pt x="624" y="304"/>
                </a:lnTo>
                <a:lnTo>
                  <a:pt x="624" y="321"/>
                </a:lnTo>
                <a:lnTo>
                  <a:pt x="640" y="355"/>
                </a:lnTo>
                <a:lnTo>
                  <a:pt x="640" y="389"/>
                </a:lnTo>
                <a:lnTo>
                  <a:pt x="640" y="422"/>
                </a:lnTo>
                <a:lnTo>
                  <a:pt x="640" y="440"/>
                </a:lnTo>
                <a:lnTo>
                  <a:pt x="640" y="473"/>
                </a:lnTo>
                <a:lnTo>
                  <a:pt x="640" y="490"/>
                </a:lnTo>
                <a:lnTo>
                  <a:pt x="640" y="525"/>
                </a:lnTo>
                <a:lnTo>
                  <a:pt x="657" y="541"/>
                </a:lnTo>
                <a:lnTo>
                  <a:pt x="640" y="575"/>
                </a:lnTo>
                <a:lnTo>
                  <a:pt x="657" y="575"/>
                </a:lnTo>
                <a:lnTo>
                  <a:pt x="673" y="558"/>
                </a:lnTo>
                <a:lnTo>
                  <a:pt x="673" y="575"/>
                </a:lnTo>
                <a:lnTo>
                  <a:pt x="706" y="558"/>
                </a:lnTo>
                <a:lnTo>
                  <a:pt x="723" y="558"/>
                </a:lnTo>
                <a:lnTo>
                  <a:pt x="772" y="525"/>
                </a:lnTo>
                <a:lnTo>
                  <a:pt x="788" y="507"/>
                </a:lnTo>
                <a:lnTo>
                  <a:pt x="788" y="525"/>
                </a:lnTo>
                <a:lnTo>
                  <a:pt x="805" y="507"/>
                </a:lnTo>
                <a:lnTo>
                  <a:pt x="822" y="507"/>
                </a:lnTo>
                <a:lnTo>
                  <a:pt x="805" y="525"/>
                </a:lnTo>
                <a:lnTo>
                  <a:pt x="788" y="541"/>
                </a:lnTo>
                <a:lnTo>
                  <a:pt x="739" y="558"/>
                </a:lnTo>
                <a:lnTo>
                  <a:pt x="706" y="575"/>
                </a:lnTo>
                <a:lnTo>
                  <a:pt x="673" y="575"/>
                </a:lnTo>
                <a:lnTo>
                  <a:pt x="657" y="593"/>
                </a:lnTo>
                <a:lnTo>
                  <a:pt x="640" y="575"/>
                </a:lnTo>
                <a:lnTo>
                  <a:pt x="624" y="575"/>
                </a:lnTo>
                <a:lnTo>
                  <a:pt x="607" y="575"/>
                </a:lnTo>
                <a:lnTo>
                  <a:pt x="591" y="558"/>
                </a:lnTo>
                <a:lnTo>
                  <a:pt x="591" y="541"/>
                </a:lnTo>
                <a:lnTo>
                  <a:pt x="575" y="541"/>
                </a:lnTo>
                <a:lnTo>
                  <a:pt x="558" y="541"/>
                </a:lnTo>
                <a:lnTo>
                  <a:pt x="542" y="541"/>
                </a:lnTo>
                <a:lnTo>
                  <a:pt x="525" y="541"/>
                </a:lnTo>
                <a:lnTo>
                  <a:pt x="508" y="525"/>
                </a:lnTo>
                <a:lnTo>
                  <a:pt x="525" y="507"/>
                </a:lnTo>
                <a:lnTo>
                  <a:pt x="508" y="490"/>
                </a:lnTo>
                <a:lnTo>
                  <a:pt x="492" y="490"/>
                </a:lnTo>
                <a:lnTo>
                  <a:pt x="476" y="490"/>
                </a:lnTo>
                <a:lnTo>
                  <a:pt x="476" y="473"/>
                </a:lnTo>
                <a:lnTo>
                  <a:pt x="16" y="575"/>
                </a:lnTo>
                <a:lnTo>
                  <a:pt x="0" y="541"/>
                </a:lnTo>
                <a:lnTo>
                  <a:pt x="65" y="473"/>
                </a:lnTo>
                <a:lnTo>
                  <a:pt x="65" y="440"/>
                </a:lnTo>
                <a:lnTo>
                  <a:pt x="65" y="422"/>
                </a:lnTo>
                <a:lnTo>
                  <a:pt x="65" y="406"/>
                </a:lnTo>
                <a:lnTo>
                  <a:pt x="81" y="389"/>
                </a:lnTo>
                <a:lnTo>
                  <a:pt x="115" y="355"/>
                </a:lnTo>
                <a:lnTo>
                  <a:pt x="180" y="339"/>
                </a:lnTo>
                <a:lnTo>
                  <a:pt x="180" y="355"/>
                </a:lnTo>
                <a:lnTo>
                  <a:pt x="230" y="339"/>
                </a:lnTo>
                <a:lnTo>
                  <a:pt x="246" y="321"/>
                </a:lnTo>
                <a:lnTo>
                  <a:pt x="278" y="304"/>
                </a:lnTo>
                <a:lnTo>
                  <a:pt x="295" y="287"/>
                </a:lnTo>
                <a:lnTo>
                  <a:pt x="295" y="253"/>
                </a:lnTo>
                <a:lnTo>
                  <a:pt x="295" y="219"/>
                </a:lnTo>
                <a:lnTo>
                  <a:pt x="262" y="203"/>
                </a:lnTo>
                <a:lnTo>
                  <a:pt x="295" y="186"/>
                </a:lnTo>
                <a:lnTo>
                  <a:pt x="295" y="168"/>
                </a:lnTo>
                <a:lnTo>
                  <a:pt x="345" y="118"/>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76" name="Freeform 3"/>
          <p:cNvSpPr>
            <a:spLocks/>
          </p:cNvSpPr>
          <p:nvPr/>
        </p:nvSpPr>
        <p:spPr bwMode="auto">
          <a:xfrm>
            <a:off x="2095519" y="2074070"/>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77" name="Freeform 4"/>
          <p:cNvSpPr>
            <a:spLocks/>
          </p:cNvSpPr>
          <p:nvPr/>
        </p:nvSpPr>
        <p:spPr bwMode="auto">
          <a:xfrm>
            <a:off x="2303463" y="2074070"/>
            <a:ext cx="182562"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78" name="Freeform 5"/>
          <p:cNvSpPr>
            <a:spLocks/>
          </p:cNvSpPr>
          <p:nvPr/>
        </p:nvSpPr>
        <p:spPr bwMode="auto">
          <a:xfrm>
            <a:off x="2536838" y="2074070"/>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79" name="Freeform 6"/>
          <p:cNvSpPr>
            <a:spLocks/>
          </p:cNvSpPr>
          <p:nvPr/>
        </p:nvSpPr>
        <p:spPr bwMode="auto">
          <a:xfrm>
            <a:off x="2768619" y="2074070"/>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0" name="Freeform 7"/>
          <p:cNvSpPr>
            <a:spLocks/>
          </p:cNvSpPr>
          <p:nvPr/>
        </p:nvSpPr>
        <p:spPr bwMode="auto">
          <a:xfrm>
            <a:off x="2976563" y="2074070"/>
            <a:ext cx="182562"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1" name="Freeform 8"/>
          <p:cNvSpPr>
            <a:spLocks/>
          </p:cNvSpPr>
          <p:nvPr/>
        </p:nvSpPr>
        <p:spPr bwMode="auto">
          <a:xfrm>
            <a:off x="3209944" y="2074070"/>
            <a:ext cx="182563"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2" name="Freeform 9"/>
          <p:cNvSpPr>
            <a:spLocks/>
          </p:cNvSpPr>
          <p:nvPr/>
        </p:nvSpPr>
        <p:spPr bwMode="auto">
          <a:xfrm>
            <a:off x="3649663" y="2074070"/>
            <a:ext cx="182562" cy="259556"/>
          </a:xfrm>
          <a:custGeom>
            <a:avLst/>
            <a:gdLst>
              <a:gd name="T0" fmla="*/ 0 w 115"/>
              <a:gd name="T1" fmla="*/ 0 h 218"/>
              <a:gd name="T2" fmla="*/ 2147483647 w 115"/>
              <a:gd name="T3" fmla="*/ 0 h 218"/>
              <a:gd name="T4" fmla="*/ 2147483647 w 115"/>
              <a:gd name="T5" fmla="*/ 2147483647 h 218"/>
              <a:gd name="T6" fmla="*/ 0 w 115"/>
              <a:gd name="T7" fmla="*/ 2147483647 h 218"/>
              <a:gd name="T8" fmla="*/ 0 w 115"/>
              <a:gd name="T9" fmla="*/ 0 h 218"/>
              <a:gd name="T10" fmla="*/ 0 60000 65536"/>
              <a:gd name="T11" fmla="*/ 0 60000 65536"/>
              <a:gd name="T12" fmla="*/ 0 60000 65536"/>
              <a:gd name="T13" fmla="*/ 0 60000 65536"/>
              <a:gd name="T14" fmla="*/ 0 60000 65536"/>
              <a:gd name="T15" fmla="*/ 0 w 115"/>
              <a:gd name="T16" fmla="*/ 0 h 218"/>
              <a:gd name="T17" fmla="*/ 115 w 115"/>
              <a:gd name="T18" fmla="*/ 218 h 218"/>
            </a:gdLst>
            <a:ahLst/>
            <a:cxnLst>
              <a:cxn ang="T10">
                <a:pos x="T0" y="T1"/>
              </a:cxn>
              <a:cxn ang="T11">
                <a:pos x="T2" y="T3"/>
              </a:cxn>
              <a:cxn ang="T12">
                <a:pos x="T4" y="T5"/>
              </a:cxn>
              <a:cxn ang="T13">
                <a:pos x="T6" y="T7"/>
              </a:cxn>
              <a:cxn ang="T14">
                <a:pos x="T8" y="T9"/>
              </a:cxn>
            </a:cxnLst>
            <a:rect l="T15" t="T16" r="T17" b="T18"/>
            <a:pathLst>
              <a:path w="115" h="218">
                <a:moveTo>
                  <a:pt x="0" y="0"/>
                </a:moveTo>
                <a:lnTo>
                  <a:pt x="114" y="0"/>
                </a:lnTo>
                <a:lnTo>
                  <a:pt x="114" y="217"/>
                </a:lnTo>
                <a:lnTo>
                  <a:pt x="0" y="217"/>
                </a:lnTo>
                <a:lnTo>
                  <a:pt x="0" y="0"/>
                </a:lnTo>
              </a:path>
            </a:pathLst>
          </a:custGeom>
          <a:noFill/>
          <a:ln w="9525" cap="rnd">
            <a:no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3" name="Freeform 10"/>
          <p:cNvSpPr>
            <a:spLocks/>
          </p:cNvSpPr>
          <p:nvPr/>
        </p:nvSpPr>
        <p:spPr bwMode="auto">
          <a:xfrm>
            <a:off x="8134351" y="1465674"/>
            <a:ext cx="234950" cy="377428"/>
          </a:xfrm>
          <a:custGeom>
            <a:avLst/>
            <a:gdLst>
              <a:gd name="T0" fmla="*/ 2147483647 w 148"/>
              <a:gd name="T1" fmla="*/ 0 h 317"/>
              <a:gd name="T2" fmla="*/ 2147483647 w 148"/>
              <a:gd name="T3" fmla="*/ 0 h 317"/>
              <a:gd name="T4" fmla="*/ 2147483647 w 148"/>
              <a:gd name="T5" fmla="*/ 2147483647 h 317"/>
              <a:gd name="T6" fmla="*/ 0 w 148"/>
              <a:gd name="T7" fmla="*/ 2147483647 h 317"/>
              <a:gd name="T8" fmla="*/ 0 w 148"/>
              <a:gd name="T9" fmla="*/ 2147483647 h 317"/>
              <a:gd name="T10" fmla="*/ 2147483647 w 148"/>
              <a:gd name="T11" fmla="*/ 2147483647 h 317"/>
              <a:gd name="T12" fmla="*/ 2147483647 w 148"/>
              <a:gd name="T13" fmla="*/ 2147483647 h 317"/>
              <a:gd name="T14" fmla="*/ 2147483647 w 148"/>
              <a:gd name="T15" fmla="*/ 2147483647 h 317"/>
              <a:gd name="T16" fmla="*/ 2147483647 w 148"/>
              <a:gd name="T17" fmla="*/ 2147483647 h 317"/>
              <a:gd name="T18" fmla="*/ 2147483647 w 148"/>
              <a:gd name="T19" fmla="*/ 2147483647 h 317"/>
              <a:gd name="T20" fmla="*/ 2147483647 w 148"/>
              <a:gd name="T21" fmla="*/ 2147483647 h 317"/>
              <a:gd name="T22" fmla="*/ 2147483647 w 148"/>
              <a:gd name="T23" fmla="*/ 2147483647 h 317"/>
              <a:gd name="T24" fmla="*/ 0 w 148"/>
              <a:gd name="T25" fmla="*/ 2147483647 h 317"/>
              <a:gd name="T26" fmla="*/ 2147483647 w 148"/>
              <a:gd name="T27" fmla="*/ 2147483647 h 317"/>
              <a:gd name="T28" fmla="*/ 2147483647 w 148"/>
              <a:gd name="T29" fmla="*/ 2147483647 h 317"/>
              <a:gd name="T30" fmla="*/ 2147483647 w 148"/>
              <a:gd name="T31" fmla="*/ 2147483647 h 317"/>
              <a:gd name="T32" fmla="*/ 2147483647 w 148"/>
              <a:gd name="T33" fmla="*/ 2147483647 h 317"/>
              <a:gd name="T34" fmla="*/ 2147483647 w 148"/>
              <a:gd name="T35" fmla="*/ 2147483647 h 317"/>
              <a:gd name="T36" fmla="*/ 2147483647 w 148"/>
              <a:gd name="T37" fmla="*/ 2147483647 h 317"/>
              <a:gd name="T38" fmla="*/ 2147483647 w 148"/>
              <a:gd name="T39" fmla="*/ 2147483647 h 317"/>
              <a:gd name="T40" fmla="*/ 2147483647 w 148"/>
              <a:gd name="T41" fmla="*/ 2147483647 h 317"/>
              <a:gd name="T42" fmla="*/ 2147483647 w 148"/>
              <a:gd name="T43" fmla="*/ 2147483647 h 317"/>
              <a:gd name="T44" fmla="*/ 2147483647 w 148"/>
              <a:gd name="T45" fmla="*/ 2147483647 h 317"/>
              <a:gd name="T46" fmla="*/ 2147483647 w 148"/>
              <a:gd name="T47" fmla="*/ 2147483647 h 317"/>
              <a:gd name="T48" fmla="*/ 2147483647 w 148"/>
              <a:gd name="T49" fmla="*/ 2147483647 h 317"/>
              <a:gd name="T50" fmla="*/ 2147483647 w 148"/>
              <a:gd name="T51" fmla="*/ 2147483647 h 317"/>
              <a:gd name="T52" fmla="*/ 2147483647 w 148"/>
              <a:gd name="T53" fmla="*/ 2147483647 h 317"/>
              <a:gd name="T54" fmla="*/ 2147483647 w 148"/>
              <a:gd name="T55" fmla="*/ 2147483647 h 317"/>
              <a:gd name="T56" fmla="*/ 2147483647 w 148"/>
              <a:gd name="T57" fmla="*/ 2147483647 h 317"/>
              <a:gd name="T58" fmla="*/ 2147483647 w 148"/>
              <a:gd name="T59" fmla="*/ 2147483647 h 317"/>
              <a:gd name="T60" fmla="*/ 2147483647 w 148"/>
              <a:gd name="T61" fmla="*/ 2147483647 h 317"/>
              <a:gd name="T62" fmla="*/ 2147483647 w 148"/>
              <a:gd name="T63" fmla="*/ 2147483647 h 317"/>
              <a:gd name="T64" fmla="*/ 2147483647 w 148"/>
              <a:gd name="T65" fmla="*/ 2147483647 h 317"/>
              <a:gd name="T66" fmla="*/ 2147483647 w 148"/>
              <a:gd name="T67" fmla="*/ 2147483647 h 317"/>
              <a:gd name="T68" fmla="*/ 2147483647 w 148"/>
              <a:gd name="T69" fmla="*/ 2147483647 h 317"/>
              <a:gd name="T70" fmla="*/ 2147483647 w 148"/>
              <a:gd name="T71" fmla="*/ 2147483647 h 317"/>
              <a:gd name="T72" fmla="*/ 2147483647 w 148"/>
              <a:gd name="T73" fmla="*/ 2147483647 h 317"/>
              <a:gd name="T74" fmla="*/ 2147483647 w 148"/>
              <a:gd name="T75" fmla="*/ 2147483647 h 317"/>
              <a:gd name="T76" fmla="*/ 2147483647 w 148"/>
              <a:gd name="T77" fmla="*/ 2147483647 h 317"/>
              <a:gd name="T78" fmla="*/ 2147483647 w 148"/>
              <a:gd name="T79" fmla="*/ 2147483647 h 317"/>
              <a:gd name="T80" fmla="*/ 2147483647 w 148"/>
              <a:gd name="T81" fmla="*/ 0 h 317"/>
              <a:gd name="T82" fmla="*/ 2147483647 w 148"/>
              <a:gd name="T83" fmla="*/ 0 h 317"/>
              <a:gd name="T84" fmla="*/ 2147483647 w 148"/>
              <a:gd name="T85" fmla="*/ 0 h 3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8"/>
              <a:gd name="T130" fmla="*/ 0 h 317"/>
              <a:gd name="T131" fmla="*/ 148 w 148"/>
              <a:gd name="T132" fmla="*/ 317 h 3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8" h="317">
                <a:moveTo>
                  <a:pt x="32" y="0"/>
                </a:moveTo>
                <a:lnTo>
                  <a:pt x="16" y="0"/>
                </a:lnTo>
                <a:lnTo>
                  <a:pt x="16" y="16"/>
                </a:lnTo>
                <a:lnTo>
                  <a:pt x="0" y="33"/>
                </a:lnTo>
                <a:lnTo>
                  <a:pt x="0" y="132"/>
                </a:lnTo>
                <a:lnTo>
                  <a:pt x="49" y="166"/>
                </a:lnTo>
                <a:lnTo>
                  <a:pt x="49" y="183"/>
                </a:lnTo>
                <a:lnTo>
                  <a:pt x="65" y="183"/>
                </a:lnTo>
                <a:lnTo>
                  <a:pt x="49" y="199"/>
                </a:lnTo>
                <a:lnTo>
                  <a:pt x="32" y="199"/>
                </a:lnTo>
                <a:lnTo>
                  <a:pt x="32" y="232"/>
                </a:lnTo>
                <a:lnTo>
                  <a:pt x="16" y="249"/>
                </a:lnTo>
                <a:lnTo>
                  <a:pt x="0" y="249"/>
                </a:lnTo>
                <a:lnTo>
                  <a:pt x="16" y="282"/>
                </a:lnTo>
                <a:lnTo>
                  <a:pt x="32" y="282"/>
                </a:lnTo>
                <a:lnTo>
                  <a:pt x="49" y="299"/>
                </a:lnTo>
                <a:lnTo>
                  <a:pt x="65" y="299"/>
                </a:lnTo>
                <a:lnTo>
                  <a:pt x="65" y="282"/>
                </a:lnTo>
                <a:lnTo>
                  <a:pt x="65" y="299"/>
                </a:lnTo>
                <a:lnTo>
                  <a:pt x="81" y="299"/>
                </a:lnTo>
                <a:lnTo>
                  <a:pt x="97" y="316"/>
                </a:lnTo>
                <a:lnTo>
                  <a:pt x="114" y="299"/>
                </a:lnTo>
                <a:lnTo>
                  <a:pt x="114" y="282"/>
                </a:lnTo>
                <a:lnTo>
                  <a:pt x="114" y="265"/>
                </a:lnTo>
                <a:lnTo>
                  <a:pt x="130" y="249"/>
                </a:lnTo>
                <a:lnTo>
                  <a:pt x="130" y="232"/>
                </a:lnTo>
                <a:lnTo>
                  <a:pt x="130" y="215"/>
                </a:lnTo>
                <a:lnTo>
                  <a:pt x="147" y="199"/>
                </a:lnTo>
                <a:lnTo>
                  <a:pt x="147" y="183"/>
                </a:lnTo>
                <a:lnTo>
                  <a:pt x="147" y="166"/>
                </a:lnTo>
                <a:lnTo>
                  <a:pt x="130" y="132"/>
                </a:lnTo>
                <a:lnTo>
                  <a:pt x="130" y="100"/>
                </a:lnTo>
                <a:lnTo>
                  <a:pt x="114" y="100"/>
                </a:lnTo>
                <a:lnTo>
                  <a:pt x="114" y="83"/>
                </a:lnTo>
                <a:lnTo>
                  <a:pt x="114" y="66"/>
                </a:lnTo>
                <a:lnTo>
                  <a:pt x="114" y="50"/>
                </a:lnTo>
                <a:lnTo>
                  <a:pt x="114" y="33"/>
                </a:lnTo>
                <a:lnTo>
                  <a:pt x="97" y="33"/>
                </a:lnTo>
                <a:lnTo>
                  <a:pt x="81" y="33"/>
                </a:lnTo>
                <a:lnTo>
                  <a:pt x="65" y="16"/>
                </a:lnTo>
                <a:lnTo>
                  <a:pt x="65" y="0"/>
                </a:lnTo>
                <a:lnTo>
                  <a:pt x="49" y="0"/>
                </a:lnTo>
                <a:lnTo>
                  <a:pt x="32" y="0"/>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4" name="Freeform 11"/>
          <p:cNvSpPr>
            <a:spLocks/>
          </p:cNvSpPr>
          <p:nvPr/>
        </p:nvSpPr>
        <p:spPr bwMode="auto">
          <a:xfrm>
            <a:off x="8315328" y="1269207"/>
            <a:ext cx="288926" cy="197644"/>
          </a:xfrm>
          <a:custGeom>
            <a:avLst/>
            <a:gdLst>
              <a:gd name="T0" fmla="*/ 0 w 182"/>
              <a:gd name="T1" fmla="*/ 2147483647 h 166"/>
              <a:gd name="T2" fmla="*/ 0 w 182"/>
              <a:gd name="T3" fmla="*/ 2147483647 h 166"/>
              <a:gd name="T4" fmla="*/ 0 w 182"/>
              <a:gd name="T5" fmla="*/ 2147483647 h 166"/>
              <a:gd name="T6" fmla="*/ 0 w 182"/>
              <a:gd name="T7" fmla="*/ 2147483647 h 166"/>
              <a:gd name="T8" fmla="*/ 0 w 182"/>
              <a:gd name="T9" fmla="*/ 2147483647 h 166"/>
              <a:gd name="T10" fmla="*/ 2147483647 w 182"/>
              <a:gd name="T11" fmla="*/ 2147483647 h 166"/>
              <a:gd name="T12" fmla="*/ 2147483647 w 182"/>
              <a:gd name="T13" fmla="*/ 2147483647 h 166"/>
              <a:gd name="T14" fmla="*/ 2147483647 w 182"/>
              <a:gd name="T15" fmla="*/ 2147483647 h 166"/>
              <a:gd name="T16" fmla="*/ 2147483647 w 182"/>
              <a:gd name="T17" fmla="*/ 2147483647 h 166"/>
              <a:gd name="T18" fmla="*/ 2147483647 w 182"/>
              <a:gd name="T19" fmla="*/ 2147483647 h 166"/>
              <a:gd name="T20" fmla="*/ 2147483647 w 182"/>
              <a:gd name="T21" fmla="*/ 2147483647 h 166"/>
              <a:gd name="T22" fmla="*/ 2147483647 w 182"/>
              <a:gd name="T23" fmla="*/ 2147483647 h 166"/>
              <a:gd name="T24" fmla="*/ 2147483647 w 182"/>
              <a:gd name="T25" fmla="*/ 2147483647 h 166"/>
              <a:gd name="T26" fmla="*/ 2147483647 w 182"/>
              <a:gd name="T27" fmla="*/ 2147483647 h 166"/>
              <a:gd name="T28" fmla="*/ 2147483647 w 182"/>
              <a:gd name="T29" fmla="*/ 2147483647 h 166"/>
              <a:gd name="T30" fmla="*/ 2147483647 w 182"/>
              <a:gd name="T31" fmla="*/ 2147483647 h 166"/>
              <a:gd name="T32" fmla="*/ 2147483647 w 182"/>
              <a:gd name="T33" fmla="*/ 2147483647 h 166"/>
              <a:gd name="T34" fmla="*/ 2147483647 w 182"/>
              <a:gd name="T35" fmla="*/ 2147483647 h 166"/>
              <a:gd name="T36" fmla="*/ 2147483647 w 182"/>
              <a:gd name="T37" fmla="*/ 0 h 166"/>
              <a:gd name="T38" fmla="*/ 0 w 182"/>
              <a:gd name="T39" fmla="*/ 2147483647 h 1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2"/>
              <a:gd name="T61" fmla="*/ 0 h 166"/>
              <a:gd name="T62" fmla="*/ 182 w 182"/>
              <a:gd name="T63" fmla="*/ 166 h 1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2" h="166">
                <a:moveTo>
                  <a:pt x="0" y="49"/>
                </a:moveTo>
                <a:lnTo>
                  <a:pt x="0" y="66"/>
                </a:lnTo>
                <a:lnTo>
                  <a:pt x="0" y="98"/>
                </a:lnTo>
                <a:lnTo>
                  <a:pt x="0" y="115"/>
                </a:lnTo>
                <a:lnTo>
                  <a:pt x="0" y="149"/>
                </a:lnTo>
                <a:lnTo>
                  <a:pt x="16" y="165"/>
                </a:lnTo>
                <a:lnTo>
                  <a:pt x="33" y="149"/>
                </a:lnTo>
                <a:lnTo>
                  <a:pt x="49" y="165"/>
                </a:lnTo>
                <a:lnTo>
                  <a:pt x="66" y="149"/>
                </a:lnTo>
                <a:lnTo>
                  <a:pt x="66" y="132"/>
                </a:lnTo>
                <a:lnTo>
                  <a:pt x="82" y="115"/>
                </a:lnTo>
                <a:lnTo>
                  <a:pt x="98" y="115"/>
                </a:lnTo>
                <a:lnTo>
                  <a:pt x="114" y="98"/>
                </a:lnTo>
                <a:lnTo>
                  <a:pt x="131" y="98"/>
                </a:lnTo>
                <a:lnTo>
                  <a:pt x="147" y="98"/>
                </a:lnTo>
                <a:lnTo>
                  <a:pt x="164" y="83"/>
                </a:lnTo>
                <a:lnTo>
                  <a:pt x="181" y="83"/>
                </a:lnTo>
                <a:lnTo>
                  <a:pt x="181" y="66"/>
                </a:lnTo>
                <a:lnTo>
                  <a:pt x="181" y="0"/>
                </a:lnTo>
                <a:lnTo>
                  <a:pt x="0" y="49"/>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5" name="Freeform 12"/>
          <p:cNvSpPr>
            <a:spLocks/>
          </p:cNvSpPr>
          <p:nvPr/>
        </p:nvSpPr>
        <p:spPr bwMode="auto">
          <a:xfrm>
            <a:off x="8602669" y="1269221"/>
            <a:ext cx="103187" cy="79772"/>
          </a:xfrm>
          <a:custGeom>
            <a:avLst/>
            <a:gdLst>
              <a:gd name="T0" fmla="*/ 2147483647 w 65"/>
              <a:gd name="T1" fmla="*/ 2147483647 h 67"/>
              <a:gd name="T2" fmla="*/ 2147483647 w 65"/>
              <a:gd name="T3" fmla="*/ 2147483647 h 67"/>
              <a:gd name="T4" fmla="*/ 2147483647 w 65"/>
              <a:gd name="T5" fmla="*/ 0 h 67"/>
              <a:gd name="T6" fmla="*/ 2147483647 w 65"/>
              <a:gd name="T7" fmla="*/ 0 h 67"/>
              <a:gd name="T8" fmla="*/ 0 w 65"/>
              <a:gd name="T9" fmla="*/ 0 h 67"/>
              <a:gd name="T10" fmla="*/ 0 w 65"/>
              <a:gd name="T11" fmla="*/ 2147483647 h 67"/>
              <a:gd name="T12" fmla="*/ 2147483647 w 65"/>
              <a:gd name="T13" fmla="*/ 2147483647 h 67"/>
              <a:gd name="T14" fmla="*/ 2147483647 w 65"/>
              <a:gd name="T15" fmla="*/ 2147483647 h 67"/>
              <a:gd name="T16" fmla="*/ 2147483647 w 65"/>
              <a:gd name="T17" fmla="*/ 2147483647 h 67"/>
              <a:gd name="T18" fmla="*/ 2147483647 w 65"/>
              <a:gd name="T19" fmla="*/ 2147483647 h 67"/>
              <a:gd name="T20" fmla="*/ 2147483647 w 65"/>
              <a:gd name="T21" fmla="*/ 2147483647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
              <a:gd name="T34" fmla="*/ 0 h 67"/>
              <a:gd name="T35" fmla="*/ 65 w 65"/>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 h="67">
                <a:moveTo>
                  <a:pt x="64" y="33"/>
                </a:moveTo>
                <a:lnTo>
                  <a:pt x="31" y="16"/>
                </a:lnTo>
                <a:lnTo>
                  <a:pt x="31" y="0"/>
                </a:lnTo>
                <a:lnTo>
                  <a:pt x="16" y="0"/>
                </a:lnTo>
                <a:lnTo>
                  <a:pt x="0" y="0"/>
                </a:lnTo>
                <a:lnTo>
                  <a:pt x="0" y="66"/>
                </a:lnTo>
                <a:lnTo>
                  <a:pt x="16" y="66"/>
                </a:lnTo>
                <a:lnTo>
                  <a:pt x="31" y="66"/>
                </a:lnTo>
                <a:lnTo>
                  <a:pt x="31" y="33"/>
                </a:lnTo>
                <a:lnTo>
                  <a:pt x="47" y="49"/>
                </a:lnTo>
                <a:lnTo>
                  <a:pt x="64" y="33"/>
                </a:lnTo>
              </a:path>
            </a:pathLst>
          </a:custGeom>
          <a:no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6" name="Freeform 13"/>
          <p:cNvSpPr>
            <a:spLocks/>
          </p:cNvSpPr>
          <p:nvPr/>
        </p:nvSpPr>
        <p:spPr bwMode="auto">
          <a:xfrm>
            <a:off x="8289925" y="1112045"/>
            <a:ext cx="598488" cy="217885"/>
          </a:xfrm>
          <a:custGeom>
            <a:avLst/>
            <a:gdLst>
              <a:gd name="T0" fmla="*/ 2147483647 w 377"/>
              <a:gd name="T1" fmla="*/ 0 h 183"/>
              <a:gd name="T2" fmla="*/ 2147483647 w 377"/>
              <a:gd name="T3" fmla="*/ 0 h 183"/>
              <a:gd name="T4" fmla="*/ 2147483647 w 377"/>
              <a:gd name="T5" fmla="*/ 2147483647 h 183"/>
              <a:gd name="T6" fmla="*/ 2147483647 w 377"/>
              <a:gd name="T7" fmla="*/ 2147483647 h 183"/>
              <a:gd name="T8" fmla="*/ 2147483647 w 377"/>
              <a:gd name="T9" fmla="*/ 2147483647 h 183"/>
              <a:gd name="T10" fmla="*/ 2147483647 w 377"/>
              <a:gd name="T11" fmla="*/ 2147483647 h 183"/>
              <a:gd name="T12" fmla="*/ 0 w 377"/>
              <a:gd name="T13" fmla="*/ 2147483647 h 183"/>
              <a:gd name="T14" fmla="*/ 2147483647 w 377"/>
              <a:gd name="T15" fmla="*/ 2147483647 h 183"/>
              <a:gd name="T16" fmla="*/ 2147483647 w 377"/>
              <a:gd name="T17" fmla="*/ 2147483647 h 183"/>
              <a:gd name="T18" fmla="*/ 2147483647 w 377"/>
              <a:gd name="T19" fmla="*/ 2147483647 h 183"/>
              <a:gd name="T20" fmla="*/ 2147483647 w 377"/>
              <a:gd name="T21" fmla="*/ 2147483647 h 183"/>
              <a:gd name="T22" fmla="*/ 2147483647 w 377"/>
              <a:gd name="T23" fmla="*/ 2147483647 h 183"/>
              <a:gd name="T24" fmla="*/ 2147483647 w 377"/>
              <a:gd name="T25" fmla="*/ 2147483647 h 183"/>
              <a:gd name="T26" fmla="*/ 2147483647 w 377"/>
              <a:gd name="T27" fmla="*/ 2147483647 h 183"/>
              <a:gd name="T28" fmla="*/ 2147483647 w 377"/>
              <a:gd name="T29" fmla="*/ 2147483647 h 183"/>
              <a:gd name="T30" fmla="*/ 2147483647 w 377"/>
              <a:gd name="T31" fmla="*/ 2147483647 h 183"/>
              <a:gd name="T32" fmla="*/ 2147483647 w 377"/>
              <a:gd name="T33" fmla="*/ 2147483647 h 183"/>
              <a:gd name="T34" fmla="*/ 2147483647 w 377"/>
              <a:gd name="T35" fmla="*/ 2147483647 h 183"/>
              <a:gd name="T36" fmla="*/ 2147483647 w 377"/>
              <a:gd name="T37" fmla="*/ 2147483647 h 183"/>
              <a:gd name="T38" fmla="*/ 2147483647 w 377"/>
              <a:gd name="T39" fmla="*/ 2147483647 h 183"/>
              <a:gd name="T40" fmla="*/ 2147483647 w 377"/>
              <a:gd name="T41" fmla="*/ 2147483647 h 183"/>
              <a:gd name="T42" fmla="*/ 2147483647 w 377"/>
              <a:gd name="T43" fmla="*/ 2147483647 h 183"/>
              <a:gd name="T44" fmla="*/ 2147483647 w 377"/>
              <a:gd name="T45" fmla="*/ 2147483647 h 183"/>
              <a:gd name="T46" fmla="*/ 2147483647 w 377"/>
              <a:gd name="T47" fmla="*/ 2147483647 h 183"/>
              <a:gd name="T48" fmla="*/ 2147483647 w 377"/>
              <a:gd name="T49" fmla="*/ 2147483647 h 183"/>
              <a:gd name="T50" fmla="*/ 2147483647 w 377"/>
              <a:gd name="T51" fmla="*/ 2147483647 h 183"/>
              <a:gd name="T52" fmla="*/ 2147483647 w 377"/>
              <a:gd name="T53" fmla="*/ 2147483647 h 183"/>
              <a:gd name="T54" fmla="*/ 2147483647 w 377"/>
              <a:gd name="T55" fmla="*/ 2147483647 h 183"/>
              <a:gd name="T56" fmla="*/ 2147483647 w 377"/>
              <a:gd name="T57" fmla="*/ 2147483647 h 183"/>
              <a:gd name="T58" fmla="*/ 2147483647 w 377"/>
              <a:gd name="T59" fmla="*/ 2147483647 h 183"/>
              <a:gd name="T60" fmla="*/ 2147483647 w 377"/>
              <a:gd name="T61" fmla="*/ 2147483647 h 183"/>
              <a:gd name="T62" fmla="*/ 2147483647 w 377"/>
              <a:gd name="T63" fmla="*/ 2147483647 h 183"/>
              <a:gd name="T64" fmla="*/ 2147483647 w 377"/>
              <a:gd name="T65" fmla="*/ 2147483647 h 183"/>
              <a:gd name="T66" fmla="*/ 2147483647 w 377"/>
              <a:gd name="T67" fmla="*/ 2147483647 h 183"/>
              <a:gd name="T68" fmla="*/ 2147483647 w 377"/>
              <a:gd name="T69" fmla="*/ 2147483647 h 183"/>
              <a:gd name="T70" fmla="*/ 2147483647 w 377"/>
              <a:gd name="T71" fmla="*/ 2147483647 h 183"/>
              <a:gd name="T72" fmla="*/ 2147483647 w 377"/>
              <a:gd name="T73" fmla="*/ 2147483647 h 183"/>
              <a:gd name="T74" fmla="*/ 2147483647 w 377"/>
              <a:gd name="T75" fmla="*/ 2147483647 h 183"/>
              <a:gd name="T76" fmla="*/ 2147483647 w 377"/>
              <a:gd name="T77" fmla="*/ 2147483647 h 183"/>
              <a:gd name="T78" fmla="*/ 2147483647 w 377"/>
              <a:gd name="T79" fmla="*/ 2147483647 h 183"/>
              <a:gd name="T80" fmla="*/ 2147483647 w 377"/>
              <a:gd name="T81" fmla="*/ 2147483647 h 183"/>
              <a:gd name="T82" fmla="*/ 2147483647 w 377"/>
              <a:gd name="T83" fmla="*/ 0 h 183"/>
              <a:gd name="T84" fmla="*/ 2147483647 w 377"/>
              <a:gd name="T85" fmla="*/ 0 h 1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77"/>
              <a:gd name="T130" fmla="*/ 0 h 183"/>
              <a:gd name="T131" fmla="*/ 377 w 377"/>
              <a:gd name="T132" fmla="*/ 183 h 1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77" h="183">
                <a:moveTo>
                  <a:pt x="245" y="0"/>
                </a:moveTo>
                <a:lnTo>
                  <a:pt x="228" y="0"/>
                </a:lnTo>
                <a:lnTo>
                  <a:pt x="213" y="16"/>
                </a:lnTo>
                <a:lnTo>
                  <a:pt x="196" y="16"/>
                </a:lnTo>
                <a:lnTo>
                  <a:pt x="196" y="33"/>
                </a:lnTo>
                <a:lnTo>
                  <a:pt x="65" y="66"/>
                </a:lnTo>
                <a:lnTo>
                  <a:pt x="0" y="83"/>
                </a:lnTo>
                <a:lnTo>
                  <a:pt x="16" y="115"/>
                </a:lnTo>
                <a:lnTo>
                  <a:pt x="16" y="149"/>
                </a:lnTo>
                <a:lnTo>
                  <a:pt x="16" y="182"/>
                </a:lnTo>
                <a:lnTo>
                  <a:pt x="213" y="132"/>
                </a:lnTo>
                <a:lnTo>
                  <a:pt x="228" y="132"/>
                </a:lnTo>
                <a:lnTo>
                  <a:pt x="228" y="149"/>
                </a:lnTo>
                <a:lnTo>
                  <a:pt x="261" y="166"/>
                </a:lnTo>
                <a:lnTo>
                  <a:pt x="278" y="149"/>
                </a:lnTo>
                <a:lnTo>
                  <a:pt x="294" y="132"/>
                </a:lnTo>
                <a:lnTo>
                  <a:pt x="294" y="115"/>
                </a:lnTo>
                <a:lnTo>
                  <a:pt x="311" y="115"/>
                </a:lnTo>
                <a:lnTo>
                  <a:pt x="311" y="132"/>
                </a:lnTo>
                <a:lnTo>
                  <a:pt x="327" y="132"/>
                </a:lnTo>
                <a:lnTo>
                  <a:pt x="343" y="115"/>
                </a:lnTo>
                <a:lnTo>
                  <a:pt x="343" y="100"/>
                </a:lnTo>
                <a:lnTo>
                  <a:pt x="359" y="100"/>
                </a:lnTo>
                <a:lnTo>
                  <a:pt x="376" y="100"/>
                </a:lnTo>
                <a:lnTo>
                  <a:pt x="359" y="83"/>
                </a:lnTo>
                <a:lnTo>
                  <a:pt x="359" y="66"/>
                </a:lnTo>
                <a:lnTo>
                  <a:pt x="343" y="66"/>
                </a:lnTo>
                <a:lnTo>
                  <a:pt x="327" y="66"/>
                </a:lnTo>
                <a:lnTo>
                  <a:pt x="343" y="66"/>
                </a:lnTo>
                <a:lnTo>
                  <a:pt x="343" y="83"/>
                </a:lnTo>
                <a:lnTo>
                  <a:pt x="327" y="100"/>
                </a:lnTo>
                <a:lnTo>
                  <a:pt x="311" y="100"/>
                </a:lnTo>
                <a:lnTo>
                  <a:pt x="311" y="83"/>
                </a:lnTo>
                <a:lnTo>
                  <a:pt x="294" y="83"/>
                </a:lnTo>
                <a:lnTo>
                  <a:pt x="294" y="66"/>
                </a:lnTo>
                <a:lnTo>
                  <a:pt x="278" y="66"/>
                </a:lnTo>
                <a:lnTo>
                  <a:pt x="261" y="66"/>
                </a:lnTo>
                <a:lnTo>
                  <a:pt x="245" y="66"/>
                </a:lnTo>
                <a:lnTo>
                  <a:pt x="245" y="49"/>
                </a:lnTo>
                <a:lnTo>
                  <a:pt x="261" y="33"/>
                </a:lnTo>
                <a:lnTo>
                  <a:pt x="261" y="16"/>
                </a:lnTo>
                <a:lnTo>
                  <a:pt x="261" y="0"/>
                </a:lnTo>
                <a:lnTo>
                  <a:pt x="245" y="0"/>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7" name="Freeform 14"/>
          <p:cNvSpPr>
            <a:spLocks/>
          </p:cNvSpPr>
          <p:nvPr/>
        </p:nvSpPr>
        <p:spPr bwMode="auto">
          <a:xfrm>
            <a:off x="8367732" y="700087"/>
            <a:ext cx="312737" cy="491729"/>
          </a:xfrm>
          <a:custGeom>
            <a:avLst/>
            <a:gdLst>
              <a:gd name="T0" fmla="*/ 2147483647 w 197"/>
              <a:gd name="T1" fmla="*/ 2147483647 h 413"/>
              <a:gd name="T2" fmla="*/ 2147483647 w 197"/>
              <a:gd name="T3" fmla="*/ 0 h 413"/>
              <a:gd name="T4" fmla="*/ 2147483647 w 197"/>
              <a:gd name="T5" fmla="*/ 0 h 413"/>
              <a:gd name="T6" fmla="*/ 2147483647 w 197"/>
              <a:gd name="T7" fmla="*/ 2147483647 h 413"/>
              <a:gd name="T8" fmla="*/ 2147483647 w 197"/>
              <a:gd name="T9" fmla="*/ 2147483647 h 413"/>
              <a:gd name="T10" fmla="*/ 2147483647 w 197"/>
              <a:gd name="T11" fmla="*/ 2147483647 h 413"/>
              <a:gd name="T12" fmla="*/ 2147483647 w 197"/>
              <a:gd name="T13" fmla="*/ 2147483647 h 413"/>
              <a:gd name="T14" fmla="*/ 2147483647 w 197"/>
              <a:gd name="T15" fmla="*/ 2147483647 h 413"/>
              <a:gd name="T16" fmla="*/ 2147483647 w 197"/>
              <a:gd name="T17" fmla="*/ 2147483647 h 413"/>
              <a:gd name="T18" fmla="*/ 2147483647 w 197"/>
              <a:gd name="T19" fmla="*/ 2147483647 h 413"/>
              <a:gd name="T20" fmla="*/ 0 w 197"/>
              <a:gd name="T21" fmla="*/ 2147483647 h 413"/>
              <a:gd name="T22" fmla="*/ 2147483647 w 197"/>
              <a:gd name="T23" fmla="*/ 2147483647 h 413"/>
              <a:gd name="T24" fmla="*/ 2147483647 w 197"/>
              <a:gd name="T25" fmla="*/ 2147483647 h 413"/>
              <a:gd name="T26" fmla="*/ 0 w 197"/>
              <a:gd name="T27" fmla="*/ 2147483647 h 413"/>
              <a:gd name="T28" fmla="*/ 0 w 197"/>
              <a:gd name="T29" fmla="*/ 2147483647 h 413"/>
              <a:gd name="T30" fmla="*/ 2147483647 w 197"/>
              <a:gd name="T31" fmla="*/ 2147483647 h 413"/>
              <a:gd name="T32" fmla="*/ 2147483647 w 197"/>
              <a:gd name="T33" fmla="*/ 2147483647 h 413"/>
              <a:gd name="T34" fmla="*/ 2147483647 w 197"/>
              <a:gd name="T35" fmla="*/ 2147483647 h 413"/>
              <a:gd name="T36" fmla="*/ 2147483647 w 197"/>
              <a:gd name="T37" fmla="*/ 2147483647 h 413"/>
              <a:gd name="T38" fmla="*/ 2147483647 w 197"/>
              <a:gd name="T39" fmla="*/ 2147483647 h 413"/>
              <a:gd name="T40" fmla="*/ 2147483647 w 197"/>
              <a:gd name="T41" fmla="*/ 2147483647 h 413"/>
              <a:gd name="T42" fmla="*/ 2147483647 w 197"/>
              <a:gd name="T43" fmla="*/ 2147483647 h 413"/>
              <a:gd name="T44" fmla="*/ 2147483647 w 197"/>
              <a:gd name="T45" fmla="*/ 2147483647 h 413"/>
              <a:gd name="T46" fmla="*/ 2147483647 w 197"/>
              <a:gd name="T47" fmla="*/ 2147483647 h 413"/>
              <a:gd name="T48" fmla="*/ 2147483647 w 197"/>
              <a:gd name="T49" fmla="*/ 2147483647 h 413"/>
              <a:gd name="T50" fmla="*/ 2147483647 w 197"/>
              <a:gd name="T51" fmla="*/ 2147483647 h 413"/>
              <a:gd name="T52" fmla="*/ 2147483647 w 197"/>
              <a:gd name="T53" fmla="*/ 2147483647 h 41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7"/>
              <a:gd name="T82" fmla="*/ 0 h 413"/>
              <a:gd name="T83" fmla="*/ 197 w 197"/>
              <a:gd name="T84" fmla="*/ 413 h 41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7" h="413">
                <a:moveTo>
                  <a:pt x="147" y="263"/>
                </a:moveTo>
                <a:lnTo>
                  <a:pt x="49" y="0"/>
                </a:lnTo>
                <a:lnTo>
                  <a:pt x="33" y="0"/>
                </a:lnTo>
                <a:lnTo>
                  <a:pt x="16" y="15"/>
                </a:lnTo>
                <a:lnTo>
                  <a:pt x="16" y="66"/>
                </a:lnTo>
                <a:lnTo>
                  <a:pt x="16" y="81"/>
                </a:lnTo>
                <a:lnTo>
                  <a:pt x="33" y="98"/>
                </a:lnTo>
                <a:lnTo>
                  <a:pt x="33" y="130"/>
                </a:lnTo>
                <a:lnTo>
                  <a:pt x="33" y="147"/>
                </a:lnTo>
                <a:lnTo>
                  <a:pt x="33" y="164"/>
                </a:lnTo>
                <a:lnTo>
                  <a:pt x="0" y="196"/>
                </a:lnTo>
                <a:lnTo>
                  <a:pt x="16" y="196"/>
                </a:lnTo>
                <a:lnTo>
                  <a:pt x="16" y="213"/>
                </a:lnTo>
                <a:lnTo>
                  <a:pt x="0" y="263"/>
                </a:lnTo>
                <a:lnTo>
                  <a:pt x="0" y="329"/>
                </a:lnTo>
                <a:lnTo>
                  <a:pt x="16" y="362"/>
                </a:lnTo>
                <a:lnTo>
                  <a:pt x="16" y="412"/>
                </a:lnTo>
                <a:lnTo>
                  <a:pt x="147" y="379"/>
                </a:lnTo>
                <a:lnTo>
                  <a:pt x="147" y="362"/>
                </a:lnTo>
                <a:lnTo>
                  <a:pt x="164" y="362"/>
                </a:lnTo>
                <a:lnTo>
                  <a:pt x="179" y="345"/>
                </a:lnTo>
                <a:lnTo>
                  <a:pt x="196" y="345"/>
                </a:lnTo>
                <a:lnTo>
                  <a:pt x="196" y="296"/>
                </a:lnTo>
                <a:lnTo>
                  <a:pt x="179" y="296"/>
                </a:lnTo>
                <a:lnTo>
                  <a:pt x="164" y="279"/>
                </a:lnTo>
                <a:lnTo>
                  <a:pt x="164" y="263"/>
                </a:lnTo>
                <a:lnTo>
                  <a:pt x="147" y="263"/>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8" name="Freeform 15"/>
          <p:cNvSpPr>
            <a:spLocks/>
          </p:cNvSpPr>
          <p:nvPr/>
        </p:nvSpPr>
        <p:spPr bwMode="auto">
          <a:xfrm>
            <a:off x="8161340" y="777493"/>
            <a:ext cx="260350" cy="434578"/>
          </a:xfrm>
          <a:custGeom>
            <a:avLst/>
            <a:gdLst>
              <a:gd name="T0" fmla="*/ 2147483647 w 164"/>
              <a:gd name="T1" fmla="*/ 0 h 365"/>
              <a:gd name="T2" fmla="*/ 2147483647 w 164"/>
              <a:gd name="T3" fmla="*/ 2147483647 h 365"/>
              <a:gd name="T4" fmla="*/ 0 w 164"/>
              <a:gd name="T5" fmla="*/ 2147483647 h 365"/>
              <a:gd name="T6" fmla="*/ 2147483647 w 164"/>
              <a:gd name="T7" fmla="*/ 2147483647 h 365"/>
              <a:gd name="T8" fmla="*/ 0 w 164"/>
              <a:gd name="T9" fmla="*/ 2147483647 h 365"/>
              <a:gd name="T10" fmla="*/ 0 w 164"/>
              <a:gd name="T11" fmla="*/ 2147483647 h 365"/>
              <a:gd name="T12" fmla="*/ 2147483647 w 164"/>
              <a:gd name="T13" fmla="*/ 2147483647 h 365"/>
              <a:gd name="T14" fmla="*/ 2147483647 w 164"/>
              <a:gd name="T15" fmla="*/ 2147483647 h 365"/>
              <a:gd name="T16" fmla="*/ 2147483647 w 164"/>
              <a:gd name="T17" fmla="*/ 2147483647 h 365"/>
              <a:gd name="T18" fmla="*/ 2147483647 w 164"/>
              <a:gd name="T19" fmla="*/ 2147483647 h 365"/>
              <a:gd name="T20" fmla="*/ 2147483647 w 164"/>
              <a:gd name="T21" fmla="*/ 2147483647 h 365"/>
              <a:gd name="T22" fmla="*/ 2147483647 w 164"/>
              <a:gd name="T23" fmla="*/ 2147483647 h 365"/>
              <a:gd name="T24" fmla="*/ 2147483647 w 164"/>
              <a:gd name="T25" fmla="*/ 2147483647 h 365"/>
              <a:gd name="T26" fmla="*/ 2147483647 w 164"/>
              <a:gd name="T27" fmla="*/ 2147483647 h 365"/>
              <a:gd name="T28" fmla="*/ 2147483647 w 164"/>
              <a:gd name="T29" fmla="*/ 2147483647 h 365"/>
              <a:gd name="T30" fmla="*/ 2147483647 w 164"/>
              <a:gd name="T31" fmla="*/ 2147483647 h 365"/>
              <a:gd name="T32" fmla="*/ 2147483647 w 164"/>
              <a:gd name="T33" fmla="*/ 2147483647 h 365"/>
              <a:gd name="T34" fmla="*/ 2147483647 w 164"/>
              <a:gd name="T35" fmla="*/ 2147483647 h 365"/>
              <a:gd name="T36" fmla="*/ 2147483647 w 164"/>
              <a:gd name="T37" fmla="*/ 2147483647 h 365"/>
              <a:gd name="T38" fmla="*/ 2147483647 w 164"/>
              <a:gd name="T39" fmla="*/ 2147483647 h 365"/>
              <a:gd name="T40" fmla="*/ 2147483647 w 164"/>
              <a:gd name="T41" fmla="*/ 2147483647 h 365"/>
              <a:gd name="T42" fmla="*/ 2147483647 w 164"/>
              <a:gd name="T43" fmla="*/ 2147483647 h 365"/>
              <a:gd name="T44" fmla="*/ 2147483647 w 164"/>
              <a:gd name="T45" fmla="*/ 2147483647 h 365"/>
              <a:gd name="T46" fmla="*/ 2147483647 w 164"/>
              <a:gd name="T47" fmla="*/ 2147483647 h 365"/>
              <a:gd name="T48" fmla="*/ 2147483647 w 164"/>
              <a:gd name="T49" fmla="*/ 2147483647 h 365"/>
              <a:gd name="T50" fmla="*/ 2147483647 w 164"/>
              <a:gd name="T51" fmla="*/ 0 h 36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4"/>
              <a:gd name="T79" fmla="*/ 0 h 365"/>
              <a:gd name="T80" fmla="*/ 164 w 164"/>
              <a:gd name="T81" fmla="*/ 365 h 36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4" h="365">
                <a:moveTo>
                  <a:pt x="146" y="0"/>
                </a:moveTo>
                <a:lnTo>
                  <a:pt x="113" y="15"/>
                </a:lnTo>
                <a:lnTo>
                  <a:pt x="0" y="49"/>
                </a:lnTo>
                <a:lnTo>
                  <a:pt x="16" y="65"/>
                </a:lnTo>
                <a:lnTo>
                  <a:pt x="0" y="98"/>
                </a:lnTo>
                <a:lnTo>
                  <a:pt x="0" y="115"/>
                </a:lnTo>
                <a:lnTo>
                  <a:pt x="32" y="148"/>
                </a:lnTo>
                <a:lnTo>
                  <a:pt x="49" y="197"/>
                </a:lnTo>
                <a:lnTo>
                  <a:pt x="49" y="248"/>
                </a:lnTo>
                <a:lnTo>
                  <a:pt x="49" y="280"/>
                </a:lnTo>
                <a:lnTo>
                  <a:pt x="80" y="297"/>
                </a:lnTo>
                <a:lnTo>
                  <a:pt x="80" y="347"/>
                </a:lnTo>
                <a:lnTo>
                  <a:pt x="80" y="364"/>
                </a:lnTo>
                <a:lnTo>
                  <a:pt x="146" y="347"/>
                </a:lnTo>
                <a:lnTo>
                  <a:pt x="146" y="297"/>
                </a:lnTo>
                <a:lnTo>
                  <a:pt x="130" y="263"/>
                </a:lnTo>
                <a:lnTo>
                  <a:pt x="130" y="197"/>
                </a:lnTo>
                <a:lnTo>
                  <a:pt x="146" y="148"/>
                </a:lnTo>
                <a:lnTo>
                  <a:pt x="146" y="131"/>
                </a:lnTo>
                <a:lnTo>
                  <a:pt x="130" y="131"/>
                </a:lnTo>
                <a:lnTo>
                  <a:pt x="163" y="98"/>
                </a:lnTo>
                <a:lnTo>
                  <a:pt x="163" y="81"/>
                </a:lnTo>
                <a:lnTo>
                  <a:pt x="163" y="65"/>
                </a:lnTo>
                <a:lnTo>
                  <a:pt x="163" y="32"/>
                </a:lnTo>
                <a:lnTo>
                  <a:pt x="146" y="15"/>
                </a:lnTo>
                <a:lnTo>
                  <a:pt x="146" y="0"/>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89" name="Freeform 16"/>
          <p:cNvSpPr>
            <a:spLocks/>
          </p:cNvSpPr>
          <p:nvPr/>
        </p:nvSpPr>
        <p:spPr bwMode="auto">
          <a:xfrm>
            <a:off x="7227889" y="1387080"/>
            <a:ext cx="1003300" cy="511969"/>
          </a:xfrm>
          <a:custGeom>
            <a:avLst/>
            <a:gdLst>
              <a:gd name="T0" fmla="*/ 2147483647 w 632"/>
              <a:gd name="T1" fmla="*/ 2147483647 h 430"/>
              <a:gd name="T2" fmla="*/ 0 w 632"/>
              <a:gd name="T3" fmla="*/ 2147483647 h 430"/>
              <a:gd name="T4" fmla="*/ 2147483647 w 632"/>
              <a:gd name="T5" fmla="*/ 2147483647 h 430"/>
              <a:gd name="T6" fmla="*/ 2147483647 w 632"/>
              <a:gd name="T7" fmla="*/ 2147483647 h 430"/>
              <a:gd name="T8" fmla="*/ 2147483647 w 632"/>
              <a:gd name="T9" fmla="*/ 2147483647 h 430"/>
              <a:gd name="T10" fmla="*/ 2147483647 w 632"/>
              <a:gd name="T11" fmla="*/ 2147483647 h 430"/>
              <a:gd name="T12" fmla="*/ 2147483647 w 632"/>
              <a:gd name="T13" fmla="*/ 2147483647 h 430"/>
              <a:gd name="T14" fmla="*/ 2147483647 w 632"/>
              <a:gd name="T15" fmla="*/ 0 h 430"/>
              <a:gd name="T16" fmla="*/ 2147483647 w 632"/>
              <a:gd name="T17" fmla="*/ 2147483647 h 430"/>
              <a:gd name="T18" fmla="*/ 2147483647 w 632"/>
              <a:gd name="T19" fmla="*/ 2147483647 h 430"/>
              <a:gd name="T20" fmla="*/ 2147483647 w 632"/>
              <a:gd name="T21" fmla="*/ 2147483647 h 430"/>
              <a:gd name="T22" fmla="*/ 2147483647 w 632"/>
              <a:gd name="T23" fmla="*/ 2147483647 h 430"/>
              <a:gd name="T24" fmla="*/ 2147483647 w 632"/>
              <a:gd name="T25" fmla="*/ 2147483647 h 430"/>
              <a:gd name="T26" fmla="*/ 2147483647 w 632"/>
              <a:gd name="T27" fmla="*/ 2147483647 h 430"/>
              <a:gd name="T28" fmla="*/ 2147483647 w 632"/>
              <a:gd name="T29" fmla="*/ 2147483647 h 430"/>
              <a:gd name="T30" fmla="*/ 2147483647 w 632"/>
              <a:gd name="T31" fmla="*/ 2147483647 h 430"/>
              <a:gd name="T32" fmla="*/ 2147483647 w 632"/>
              <a:gd name="T33" fmla="*/ 2147483647 h 430"/>
              <a:gd name="T34" fmla="*/ 2147483647 w 632"/>
              <a:gd name="T35" fmla="*/ 2147483647 h 430"/>
              <a:gd name="T36" fmla="*/ 2147483647 w 632"/>
              <a:gd name="T37" fmla="*/ 2147483647 h 430"/>
              <a:gd name="T38" fmla="*/ 2147483647 w 632"/>
              <a:gd name="T39" fmla="*/ 2147483647 h 430"/>
              <a:gd name="T40" fmla="*/ 2147483647 w 632"/>
              <a:gd name="T41" fmla="*/ 2147483647 h 430"/>
              <a:gd name="T42" fmla="*/ 2147483647 w 632"/>
              <a:gd name="T43" fmla="*/ 2147483647 h 430"/>
              <a:gd name="T44" fmla="*/ 2147483647 w 632"/>
              <a:gd name="T45" fmla="*/ 2147483647 h 430"/>
              <a:gd name="T46" fmla="*/ 2147483647 w 632"/>
              <a:gd name="T47" fmla="*/ 2147483647 h 430"/>
              <a:gd name="T48" fmla="*/ 2147483647 w 632"/>
              <a:gd name="T49" fmla="*/ 2147483647 h 430"/>
              <a:gd name="T50" fmla="*/ 2147483647 w 632"/>
              <a:gd name="T51" fmla="*/ 2147483647 h 430"/>
              <a:gd name="T52" fmla="*/ 2147483647 w 632"/>
              <a:gd name="T53" fmla="*/ 2147483647 h 430"/>
              <a:gd name="T54" fmla="*/ 2147483647 w 632"/>
              <a:gd name="T55" fmla="*/ 2147483647 h 430"/>
              <a:gd name="T56" fmla="*/ 2147483647 w 632"/>
              <a:gd name="T57" fmla="*/ 2147483647 h 430"/>
              <a:gd name="T58" fmla="*/ 2147483647 w 632"/>
              <a:gd name="T59" fmla="*/ 2147483647 h 430"/>
              <a:gd name="T60" fmla="*/ 2147483647 w 632"/>
              <a:gd name="T61" fmla="*/ 2147483647 h 4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32"/>
              <a:gd name="T94" fmla="*/ 0 h 430"/>
              <a:gd name="T95" fmla="*/ 632 w 632"/>
              <a:gd name="T96" fmla="*/ 430 h 4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32" h="430">
                <a:moveTo>
                  <a:pt x="48" y="329"/>
                </a:moveTo>
                <a:lnTo>
                  <a:pt x="0" y="116"/>
                </a:lnTo>
                <a:lnTo>
                  <a:pt x="16" y="99"/>
                </a:lnTo>
                <a:lnTo>
                  <a:pt x="32" y="99"/>
                </a:lnTo>
                <a:lnTo>
                  <a:pt x="48" y="82"/>
                </a:lnTo>
                <a:lnTo>
                  <a:pt x="48" y="65"/>
                </a:lnTo>
                <a:lnTo>
                  <a:pt x="65" y="99"/>
                </a:lnTo>
                <a:lnTo>
                  <a:pt x="517" y="0"/>
                </a:lnTo>
                <a:lnTo>
                  <a:pt x="517" y="16"/>
                </a:lnTo>
                <a:lnTo>
                  <a:pt x="533" y="16"/>
                </a:lnTo>
                <a:lnTo>
                  <a:pt x="549" y="16"/>
                </a:lnTo>
                <a:lnTo>
                  <a:pt x="565" y="33"/>
                </a:lnTo>
                <a:lnTo>
                  <a:pt x="549" y="50"/>
                </a:lnTo>
                <a:lnTo>
                  <a:pt x="565" y="65"/>
                </a:lnTo>
                <a:lnTo>
                  <a:pt x="582" y="65"/>
                </a:lnTo>
                <a:lnTo>
                  <a:pt x="582" y="82"/>
                </a:lnTo>
                <a:lnTo>
                  <a:pt x="565" y="99"/>
                </a:lnTo>
                <a:lnTo>
                  <a:pt x="565" y="197"/>
                </a:lnTo>
                <a:lnTo>
                  <a:pt x="614" y="231"/>
                </a:lnTo>
                <a:lnTo>
                  <a:pt x="614" y="248"/>
                </a:lnTo>
                <a:lnTo>
                  <a:pt x="631" y="248"/>
                </a:lnTo>
                <a:lnTo>
                  <a:pt x="614" y="263"/>
                </a:lnTo>
                <a:lnTo>
                  <a:pt x="598" y="263"/>
                </a:lnTo>
                <a:lnTo>
                  <a:pt x="598" y="297"/>
                </a:lnTo>
                <a:lnTo>
                  <a:pt x="582" y="313"/>
                </a:lnTo>
                <a:lnTo>
                  <a:pt x="565" y="313"/>
                </a:lnTo>
                <a:lnTo>
                  <a:pt x="565" y="297"/>
                </a:lnTo>
                <a:lnTo>
                  <a:pt x="549" y="313"/>
                </a:lnTo>
                <a:lnTo>
                  <a:pt x="533" y="329"/>
                </a:lnTo>
                <a:lnTo>
                  <a:pt x="65" y="429"/>
                </a:lnTo>
                <a:lnTo>
                  <a:pt x="48" y="329"/>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0" name="Freeform 17"/>
          <p:cNvSpPr>
            <a:spLocks/>
          </p:cNvSpPr>
          <p:nvPr/>
        </p:nvSpPr>
        <p:spPr bwMode="auto">
          <a:xfrm>
            <a:off x="8081964" y="1741885"/>
            <a:ext cx="209550" cy="236934"/>
          </a:xfrm>
          <a:custGeom>
            <a:avLst/>
            <a:gdLst>
              <a:gd name="T0" fmla="*/ 0 w 132"/>
              <a:gd name="T1" fmla="*/ 2147483647 h 199"/>
              <a:gd name="T2" fmla="*/ 2147483647 w 132"/>
              <a:gd name="T3" fmla="*/ 2147483647 h 199"/>
              <a:gd name="T4" fmla="*/ 2147483647 w 132"/>
              <a:gd name="T5" fmla="*/ 2147483647 h 199"/>
              <a:gd name="T6" fmla="*/ 2147483647 w 132"/>
              <a:gd name="T7" fmla="*/ 2147483647 h 199"/>
              <a:gd name="T8" fmla="*/ 2147483647 w 132"/>
              <a:gd name="T9" fmla="*/ 2147483647 h 199"/>
              <a:gd name="T10" fmla="*/ 2147483647 w 132"/>
              <a:gd name="T11" fmla="*/ 2147483647 h 199"/>
              <a:gd name="T12" fmla="*/ 2147483647 w 132"/>
              <a:gd name="T13" fmla="*/ 2147483647 h 199"/>
              <a:gd name="T14" fmla="*/ 2147483647 w 132"/>
              <a:gd name="T15" fmla="*/ 2147483647 h 199"/>
              <a:gd name="T16" fmla="*/ 2147483647 w 132"/>
              <a:gd name="T17" fmla="*/ 2147483647 h 199"/>
              <a:gd name="T18" fmla="*/ 2147483647 w 132"/>
              <a:gd name="T19" fmla="*/ 2147483647 h 199"/>
              <a:gd name="T20" fmla="*/ 2147483647 w 132"/>
              <a:gd name="T21" fmla="*/ 2147483647 h 199"/>
              <a:gd name="T22" fmla="*/ 2147483647 w 132"/>
              <a:gd name="T23" fmla="*/ 2147483647 h 199"/>
              <a:gd name="T24" fmla="*/ 2147483647 w 132"/>
              <a:gd name="T25" fmla="*/ 2147483647 h 199"/>
              <a:gd name="T26" fmla="*/ 2147483647 w 132"/>
              <a:gd name="T27" fmla="*/ 0 h 199"/>
              <a:gd name="T28" fmla="*/ 2147483647 w 132"/>
              <a:gd name="T29" fmla="*/ 2147483647 h 199"/>
              <a:gd name="T30" fmla="*/ 0 w 132"/>
              <a:gd name="T31" fmla="*/ 2147483647 h 1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199"/>
              <a:gd name="T50" fmla="*/ 132 w 132"/>
              <a:gd name="T51" fmla="*/ 199 h 19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199">
                <a:moveTo>
                  <a:pt x="0" y="32"/>
                </a:moveTo>
                <a:lnTo>
                  <a:pt x="66" y="198"/>
                </a:lnTo>
                <a:lnTo>
                  <a:pt x="131" y="181"/>
                </a:lnTo>
                <a:lnTo>
                  <a:pt x="131" y="115"/>
                </a:lnTo>
                <a:lnTo>
                  <a:pt x="114" y="115"/>
                </a:lnTo>
                <a:lnTo>
                  <a:pt x="99" y="115"/>
                </a:lnTo>
                <a:lnTo>
                  <a:pt x="99" y="98"/>
                </a:lnTo>
                <a:lnTo>
                  <a:pt x="99" y="82"/>
                </a:lnTo>
                <a:lnTo>
                  <a:pt x="99" y="66"/>
                </a:lnTo>
                <a:lnTo>
                  <a:pt x="82" y="66"/>
                </a:lnTo>
                <a:lnTo>
                  <a:pt x="66" y="49"/>
                </a:lnTo>
                <a:lnTo>
                  <a:pt x="49" y="49"/>
                </a:lnTo>
                <a:lnTo>
                  <a:pt x="33" y="16"/>
                </a:lnTo>
                <a:lnTo>
                  <a:pt x="33" y="0"/>
                </a:lnTo>
                <a:lnTo>
                  <a:pt x="16" y="16"/>
                </a:lnTo>
                <a:lnTo>
                  <a:pt x="0" y="32"/>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1" name="Freeform 18"/>
          <p:cNvSpPr>
            <a:spLocks/>
          </p:cNvSpPr>
          <p:nvPr/>
        </p:nvSpPr>
        <p:spPr bwMode="auto">
          <a:xfrm>
            <a:off x="7486669" y="1780000"/>
            <a:ext cx="804863" cy="277415"/>
          </a:xfrm>
          <a:custGeom>
            <a:avLst/>
            <a:gdLst>
              <a:gd name="T0" fmla="*/ 0 w 507"/>
              <a:gd name="T1" fmla="*/ 2147483647 h 233"/>
              <a:gd name="T2" fmla="*/ 2147483647 w 507"/>
              <a:gd name="T3" fmla="*/ 2147483647 h 233"/>
              <a:gd name="T4" fmla="*/ 2147483647 w 507"/>
              <a:gd name="T5" fmla="*/ 2147483647 h 233"/>
              <a:gd name="T6" fmla="*/ 2147483647 w 507"/>
              <a:gd name="T7" fmla="*/ 2147483647 h 233"/>
              <a:gd name="T8" fmla="*/ 2147483647 w 507"/>
              <a:gd name="T9" fmla="*/ 2147483647 h 233"/>
              <a:gd name="T10" fmla="*/ 2147483647 w 507"/>
              <a:gd name="T11" fmla="*/ 2147483647 h 233"/>
              <a:gd name="T12" fmla="*/ 2147483647 w 507"/>
              <a:gd name="T13" fmla="*/ 2147483647 h 233"/>
              <a:gd name="T14" fmla="*/ 2147483647 w 507"/>
              <a:gd name="T15" fmla="*/ 2147483647 h 233"/>
              <a:gd name="T16" fmla="*/ 2147483647 w 507"/>
              <a:gd name="T17" fmla="*/ 2147483647 h 233"/>
              <a:gd name="T18" fmla="*/ 2147483647 w 507"/>
              <a:gd name="T19" fmla="*/ 2147483647 h 233"/>
              <a:gd name="T20" fmla="*/ 2147483647 w 507"/>
              <a:gd name="T21" fmla="*/ 2147483647 h 233"/>
              <a:gd name="T22" fmla="*/ 2147483647 w 507"/>
              <a:gd name="T23" fmla="*/ 2147483647 h 233"/>
              <a:gd name="T24" fmla="*/ 2147483647 w 507"/>
              <a:gd name="T25" fmla="*/ 2147483647 h 233"/>
              <a:gd name="T26" fmla="*/ 2147483647 w 507"/>
              <a:gd name="T27" fmla="*/ 2147483647 h 233"/>
              <a:gd name="T28" fmla="*/ 2147483647 w 507"/>
              <a:gd name="T29" fmla="*/ 2147483647 h 233"/>
              <a:gd name="T30" fmla="*/ 2147483647 w 507"/>
              <a:gd name="T31" fmla="*/ 2147483647 h 233"/>
              <a:gd name="T32" fmla="*/ 2147483647 w 507"/>
              <a:gd name="T33" fmla="*/ 2147483647 h 233"/>
              <a:gd name="T34" fmla="*/ 2147483647 w 507"/>
              <a:gd name="T35" fmla="*/ 2147483647 h 233"/>
              <a:gd name="T36" fmla="*/ 2147483647 w 507"/>
              <a:gd name="T37" fmla="*/ 2147483647 h 233"/>
              <a:gd name="T38" fmla="*/ 2147483647 w 507"/>
              <a:gd name="T39" fmla="*/ 2147483647 h 233"/>
              <a:gd name="T40" fmla="*/ 2147483647 w 507"/>
              <a:gd name="T41" fmla="*/ 2147483647 h 233"/>
              <a:gd name="T42" fmla="*/ 2147483647 w 507"/>
              <a:gd name="T43" fmla="*/ 2147483647 h 233"/>
              <a:gd name="T44" fmla="*/ 2147483647 w 507"/>
              <a:gd name="T45" fmla="*/ 2147483647 h 233"/>
              <a:gd name="T46" fmla="*/ 2147483647 w 507"/>
              <a:gd name="T47" fmla="*/ 2147483647 h 233"/>
              <a:gd name="T48" fmla="*/ 2147483647 w 507"/>
              <a:gd name="T49" fmla="*/ 2147483647 h 233"/>
              <a:gd name="T50" fmla="*/ 2147483647 w 507"/>
              <a:gd name="T51" fmla="*/ 2147483647 h 233"/>
              <a:gd name="T52" fmla="*/ 2147483647 w 507"/>
              <a:gd name="T53" fmla="*/ 2147483647 h 233"/>
              <a:gd name="T54" fmla="*/ 2147483647 w 507"/>
              <a:gd name="T55" fmla="*/ 2147483647 h 233"/>
              <a:gd name="T56" fmla="*/ 2147483647 w 507"/>
              <a:gd name="T57" fmla="*/ 2147483647 h 233"/>
              <a:gd name="T58" fmla="*/ 2147483647 w 507"/>
              <a:gd name="T59" fmla="*/ 2147483647 h 233"/>
              <a:gd name="T60" fmla="*/ 2147483647 w 507"/>
              <a:gd name="T61" fmla="*/ 2147483647 h 233"/>
              <a:gd name="T62" fmla="*/ 2147483647 w 507"/>
              <a:gd name="T63" fmla="*/ 2147483647 h 233"/>
              <a:gd name="T64" fmla="*/ 2147483647 w 507"/>
              <a:gd name="T65" fmla="*/ 2147483647 h 233"/>
              <a:gd name="T66" fmla="*/ 2147483647 w 507"/>
              <a:gd name="T67" fmla="*/ 2147483647 h 233"/>
              <a:gd name="T68" fmla="*/ 2147483647 w 507"/>
              <a:gd name="T69" fmla="*/ 2147483647 h 233"/>
              <a:gd name="T70" fmla="*/ 2147483647 w 507"/>
              <a:gd name="T71" fmla="*/ 2147483647 h 233"/>
              <a:gd name="T72" fmla="*/ 2147483647 w 507"/>
              <a:gd name="T73" fmla="*/ 2147483647 h 233"/>
              <a:gd name="T74" fmla="*/ 2147483647 w 507"/>
              <a:gd name="T75" fmla="*/ 2147483647 h 233"/>
              <a:gd name="T76" fmla="*/ 2147483647 w 507"/>
              <a:gd name="T77" fmla="*/ 2147483647 h 233"/>
              <a:gd name="T78" fmla="*/ 2147483647 w 507"/>
              <a:gd name="T79" fmla="*/ 2147483647 h 233"/>
              <a:gd name="T80" fmla="*/ 2147483647 w 507"/>
              <a:gd name="T81" fmla="*/ 2147483647 h 233"/>
              <a:gd name="T82" fmla="*/ 2147483647 w 507"/>
              <a:gd name="T83" fmla="*/ 2147483647 h 233"/>
              <a:gd name="T84" fmla="*/ 2147483647 w 507"/>
              <a:gd name="T85" fmla="*/ 2147483647 h 233"/>
              <a:gd name="T86" fmla="*/ 2147483647 w 507"/>
              <a:gd name="T87" fmla="*/ 2147483647 h 233"/>
              <a:gd name="T88" fmla="*/ 2147483647 w 507"/>
              <a:gd name="T89" fmla="*/ 2147483647 h 233"/>
              <a:gd name="T90" fmla="*/ 2147483647 w 507"/>
              <a:gd name="T91" fmla="*/ 2147483647 h 233"/>
              <a:gd name="T92" fmla="*/ 2147483647 w 507"/>
              <a:gd name="T93" fmla="*/ 2147483647 h 233"/>
              <a:gd name="T94" fmla="*/ 2147483647 w 507"/>
              <a:gd name="T95" fmla="*/ 2147483647 h 233"/>
              <a:gd name="T96" fmla="*/ 2147483647 w 507"/>
              <a:gd name="T97" fmla="*/ 2147483647 h 233"/>
              <a:gd name="T98" fmla="*/ 2147483647 w 507"/>
              <a:gd name="T99" fmla="*/ 2147483647 h 233"/>
              <a:gd name="T100" fmla="*/ 2147483647 w 507"/>
              <a:gd name="T101" fmla="*/ 2147483647 h 233"/>
              <a:gd name="T102" fmla="*/ 2147483647 w 507"/>
              <a:gd name="T103" fmla="*/ 2147483647 h 233"/>
              <a:gd name="T104" fmla="*/ 2147483647 w 507"/>
              <a:gd name="T105" fmla="*/ 2147483647 h 233"/>
              <a:gd name="T106" fmla="*/ 2147483647 w 507"/>
              <a:gd name="T107" fmla="*/ 2147483647 h 233"/>
              <a:gd name="T108" fmla="*/ 2147483647 w 507"/>
              <a:gd name="T109" fmla="*/ 2147483647 h 233"/>
              <a:gd name="T110" fmla="*/ 2147483647 w 507"/>
              <a:gd name="T111" fmla="*/ 2147483647 h 233"/>
              <a:gd name="T112" fmla="*/ 2147483647 w 507"/>
              <a:gd name="T113" fmla="*/ 2147483647 h 233"/>
              <a:gd name="T114" fmla="*/ 2147483647 w 507"/>
              <a:gd name="T115" fmla="*/ 0 h 233"/>
              <a:gd name="T116" fmla="*/ 0 w 507"/>
              <a:gd name="T117" fmla="*/ 2147483647 h 23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07"/>
              <a:gd name="T178" fmla="*/ 0 h 233"/>
              <a:gd name="T179" fmla="*/ 507 w 507"/>
              <a:gd name="T180" fmla="*/ 233 h 23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07" h="233">
                <a:moveTo>
                  <a:pt x="0" y="66"/>
                </a:moveTo>
                <a:lnTo>
                  <a:pt x="31" y="149"/>
                </a:lnTo>
                <a:lnTo>
                  <a:pt x="31" y="132"/>
                </a:lnTo>
                <a:lnTo>
                  <a:pt x="48" y="132"/>
                </a:lnTo>
                <a:lnTo>
                  <a:pt x="31" y="132"/>
                </a:lnTo>
                <a:lnTo>
                  <a:pt x="48" y="132"/>
                </a:lnTo>
                <a:lnTo>
                  <a:pt x="64" y="132"/>
                </a:lnTo>
                <a:lnTo>
                  <a:pt x="64" y="115"/>
                </a:lnTo>
                <a:lnTo>
                  <a:pt x="81" y="99"/>
                </a:lnTo>
                <a:lnTo>
                  <a:pt x="97" y="99"/>
                </a:lnTo>
                <a:lnTo>
                  <a:pt x="114" y="99"/>
                </a:lnTo>
                <a:lnTo>
                  <a:pt x="114" y="82"/>
                </a:lnTo>
                <a:lnTo>
                  <a:pt x="130" y="82"/>
                </a:lnTo>
                <a:lnTo>
                  <a:pt x="146" y="82"/>
                </a:lnTo>
                <a:lnTo>
                  <a:pt x="179" y="99"/>
                </a:lnTo>
                <a:lnTo>
                  <a:pt x="195" y="99"/>
                </a:lnTo>
                <a:lnTo>
                  <a:pt x="212" y="99"/>
                </a:lnTo>
                <a:lnTo>
                  <a:pt x="228" y="115"/>
                </a:lnTo>
                <a:lnTo>
                  <a:pt x="245" y="115"/>
                </a:lnTo>
                <a:lnTo>
                  <a:pt x="245" y="132"/>
                </a:lnTo>
                <a:lnTo>
                  <a:pt x="277" y="149"/>
                </a:lnTo>
                <a:lnTo>
                  <a:pt x="277" y="165"/>
                </a:lnTo>
                <a:lnTo>
                  <a:pt x="277" y="181"/>
                </a:lnTo>
                <a:lnTo>
                  <a:pt x="277" y="198"/>
                </a:lnTo>
                <a:lnTo>
                  <a:pt x="277" y="215"/>
                </a:lnTo>
                <a:lnTo>
                  <a:pt x="293" y="215"/>
                </a:lnTo>
                <a:lnTo>
                  <a:pt x="310" y="198"/>
                </a:lnTo>
                <a:lnTo>
                  <a:pt x="326" y="198"/>
                </a:lnTo>
                <a:lnTo>
                  <a:pt x="359" y="198"/>
                </a:lnTo>
                <a:lnTo>
                  <a:pt x="375" y="198"/>
                </a:lnTo>
                <a:lnTo>
                  <a:pt x="359" y="181"/>
                </a:lnTo>
                <a:lnTo>
                  <a:pt x="359" y="165"/>
                </a:lnTo>
                <a:lnTo>
                  <a:pt x="359" y="149"/>
                </a:lnTo>
                <a:lnTo>
                  <a:pt x="359" y="115"/>
                </a:lnTo>
                <a:lnTo>
                  <a:pt x="359" y="99"/>
                </a:lnTo>
                <a:lnTo>
                  <a:pt x="343" y="99"/>
                </a:lnTo>
                <a:lnTo>
                  <a:pt x="343" y="66"/>
                </a:lnTo>
                <a:lnTo>
                  <a:pt x="359" y="50"/>
                </a:lnTo>
                <a:lnTo>
                  <a:pt x="359" y="33"/>
                </a:lnTo>
                <a:lnTo>
                  <a:pt x="375" y="50"/>
                </a:lnTo>
                <a:lnTo>
                  <a:pt x="375" y="66"/>
                </a:lnTo>
                <a:lnTo>
                  <a:pt x="359" y="82"/>
                </a:lnTo>
                <a:lnTo>
                  <a:pt x="359" y="99"/>
                </a:lnTo>
                <a:lnTo>
                  <a:pt x="375" y="99"/>
                </a:lnTo>
                <a:lnTo>
                  <a:pt x="391" y="115"/>
                </a:lnTo>
                <a:lnTo>
                  <a:pt x="391" y="132"/>
                </a:lnTo>
                <a:lnTo>
                  <a:pt x="391" y="149"/>
                </a:lnTo>
                <a:lnTo>
                  <a:pt x="408" y="149"/>
                </a:lnTo>
                <a:lnTo>
                  <a:pt x="408" y="165"/>
                </a:lnTo>
                <a:lnTo>
                  <a:pt x="424" y="181"/>
                </a:lnTo>
                <a:lnTo>
                  <a:pt x="441" y="198"/>
                </a:lnTo>
                <a:lnTo>
                  <a:pt x="457" y="215"/>
                </a:lnTo>
                <a:lnTo>
                  <a:pt x="489" y="232"/>
                </a:lnTo>
                <a:lnTo>
                  <a:pt x="489" y="198"/>
                </a:lnTo>
                <a:lnTo>
                  <a:pt x="506" y="165"/>
                </a:lnTo>
                <a:lnTo>
                  <a:pt x="506" y="149"/>
                </a:lnTo>
                <a:lnTo>
                  <a:pt x="441" y="165"/>
                </a:lnTo>
                <a:lnTo>
                  <a:pt x="375" y="0"/>
                </a:lnTo>
                <a:lnTo>
                  <a:pt x="0" y="66"/>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2" name="Freeform 19"/>
          <p:cNvSpPr>
            <a:spLocks/>
          </p:cNvSpPr>
          <p:nvPr/>
        </p:nvSpPr>
        <p:spPr bwMode="auto">
          <a:xfrm>
            <a:off x="8213726" y="2037160"/>
            <a:ext cx="50800" cy="100013"/>
          </a:xfrm>
          <a:custGeom>
            <a:avLst/>
            <a:gdLst>
              <a:gd name="T0" fmla="*/ 2147483647 w 32"/>
              <a:gd name="T1" fmla="*/ 2147483647 h 84"/>
              <a:gd name="T2" fmla="*/ 2147483647 w 32"/>
              <a:gd name="T3" fmla="*/ 2147483647 h 84"/>
              <a:gd name="T4" fmla="*/ 2147483647 w 32"/>
              <a:gd name="T5" fmla="*/ 2147483647 h 84"/>
              <a:gd name="T6" fmla="*/ 2147483647 w 32"/>
              <a:gd name="T7" fmla="*/ 2147483647 h 84"/>
              <a:gd name="T8" fmla="*/ 2147483647 w 32"/>
              <a:gd name="T9" fmla="*/ 2147483647 h 84"/>
              <a:gd name="T10" fmla="*/ 0 w 32"/>
              <a:gd name="T11" fmla="*/ 2147483647 h 84"/>
              <a:gd name="T12" fmla="*/ 0 w 32"/>
              <a:gd name="T13" fmla="*/ 2147483647 h 84"/>
              <a:gd name="T14" fmla="*/ 0 w 32"/>
              <a:gd name="T15" fmla="*/ 0 h 84"/>
              <a:gd name="T16" fmla="*/ 2147483647 w 32"/>
              <a:gd name="T17" fmla="*/ 2147483647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84"/>
              <a:gd name="T29" fmla="*/ 32 w 32"/>
              <a:gd name="T30" fmla="*/ 84 h 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84">
                <a:moveTo>
                  <a:pt x="31" y="16"/>
                </a:moveTo>
                <a:lnTo>
                  <a:pt x="31" y="32"/>
                </a:lnTo>
                <a:lnTo>
                  <a:pt x="31" y="49"/>
                </a:lnTo>
                <a:lnTo>
                  <a:pt x="31" y="66"/>
                </a:lnTo>
                <a:lnTo>
                  <a:pt x="16" y="83"/>
                </a:lnTo>
                <a:lnTo>
                  <a:pt x="0" y="49"/>
                </a:lnTo>
                <a:lnTo>
                  <a:pt x="0" y="16"/>
                </a:lnTo>
                <a:lnTo>
                  <a:pt x="0" y="0"/>
                </a:lnTo>
                <a:lnTo>
                  <a:pt x="31" y="16"/>
                </a:lnTo>
              </a:path>
            </a:pathLst>
          </a:custGeom>
          <a:no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3" name="Freeform 20"/>
          <p:cNvSpPr>
            <a:spLocks/>
          </p:cNvSpPr>
          <p:nvPr/>
        </p:nvSpPr>
        <p:spPr bwMode="auto">
          <a:xfrm>
            <a:off x="7031057" y="2686065"/>
            <a:ext cx="909637" cy="492919"/>
          </a:xfrm>
          <a:custGeom>
            <a:avLst/>
            <a:gdLst>
              <a:gd name="T0" fmla="*/ 2147483647 w 573"/>
              <a:gd name="T1" fmla="*/ 2147483647 h 414"/>
              <a:gd name="T2" fmla="*/ 2147483647 w 573"/>
              <a:gd name="T3" fmla="*/ 2147483647 h 414"/>
              <a:gd name="T4" fmla="*/ 2147483647 w 573"/>
              <a:gd name="T5" fmla="*/ 2147483647 h 414"/>
              <a:gd name="T6" fmla="*/ 2147483647 w 573"/>
              <a:gd name="T7" fmla="*/ 0 h 414"/>
              <a:gd name="T8" fmla="*/ 2147483647 w 573"/>
              <a:gd name="T9" fmla="*/ 2147483647 h 414"/>
              <a:gd name="T10" fmla="*/ 2147483647 w 573"/>
              <a:gd name="T11" fmla="*/ 0 h 414"/>
              <a:gd name="T12" fmla="*/ 2147483647 w 573"/>
              <a:gd name="T13" fmla="*/ 2147483647 h 414"/>
              <a:gd name="T14" fmla="*/ 2147483647 w 573"/>
              <a:gd name="T15" fmla="*/ 2147483647 h 414"/>
              <a:gd name="T16" fmla="*/ 2147483647 w 573"/>
              <a:gd name="T17" fmla="*/ 2147483647 h 414"/>
              <a:gd name="T18" fmla="*/ 2147483647 w 573"/>
              <a:gd name="T19" fmla="*/ 2147483647 h 414"/>
              <a:gd name="T20" fmla="*/ 2147483647 w 573"/>
              <a:gd name="T21" fmla="*/ 2147483647 h 414"/>
              <a:gd name="T22" fmla="*/ 0 w 573"/>
              <a:gd name="T23" fmla="*/ 2147483647 h 414"/>
              <a:gd name="T24" fmla="*/ 2147483647 w 573"/>
              <a:gd name="T25" fmla="*/ 2147483647 h 414"/>
              <a:gd name="T26" fmla="*/ 2147483647 w 573"/>
              <a:gd name="T27" fmla="*/ 2147483647 h 414"/>
              <a:gd name="T28" fmla="*/ 2147483647 w 573"/>
              <a:gd name="T29" fmla="*/ 2147483647 h 414"/>
              <a:gd name="T30" fmla="*/ 2147483647 w 573"/>
              <a:gd name="T31" fmla="*/ 2147483647 h 414"/>
              <a:gd name="T32" fmla="*/ 2147483647 w 573"/>
              <a:gd name="T33" fmla="*/ 2147483647 h 414"/>
              <a:gd name="T34" fmla="*/ 2147483647 w 573"/>
              <a:gd name="T35" fmla="*/ 2147483647 h 414"/>
              <a:gd name="T36" fmla="*/ 2147483647 w 573"/>
              <a:gd name="T37" fmla="*/ 2147483647 h 414"/>
              <a:gd name="T38" fmla="*/ 2147483647 w 573"/>
              <a:gd name="T39" fmla="*/ 2147483647 h 414"/>
              <a:gd name="T40" fmla="*/ 2147483647 w 573"/>
              <a:gd name="T41" fmla="*/ 2147483647 h 414"/>
              <a:gd name="T42" fmla="*/ 2147483647 w 573"/>
              <a:gd name="T43" fmla="*/ 2147483647 h 414"/>
              <a:gd name="T44" fmla="*/ 2147483647 w 573"/>
              <a:gd name="T45" fmla="*/ 2147483647 h 414"/>
              <a:gd name="T46" fmla="*/ 2147483647 w 573"/>
              <a:gd name="T47" fmla="*/ 2147483647 h 414"/>
              <a:gd name="T48" fmla="*/ 2147483647 w 573"/>
              <a:gd name="T49" fmla="*/ 2147483647 h 414"/>
              <a:gd name="T50" fmla="*/ 2147483647 w 573"/>
              <a:gd name="T51" fmla="*/ 2147483647 h 414"/>
              <a:gd name="T52" fmla="*/ 2147483647 w 573"/>
              <a:gd name="T53" fmla="*/ 2147483647 h 414"/>
              <a:gd name="T54" fmla="*/ 2147483647 w 573"/>
              <a:gd name="T55" fmla="*/ 2147483647 h 414"/>
              <a:gd name="T56" fmla="*/ 2147483647 w 573"/>
              <a:gd name="T57" fmla="*/ 2147483647 h 414"/>
              <a:gd name="T58" fmla="*/ 2147483647 w 573"/>
              <a:gd name="T59" fmla="*/ 2147483647 h 414"/>
              <a:gd name="T60" fmla="*/ 2147483647 w 573"/>
              <a:gd name="T61" fmla="*/ 2147483647 h 414"/>
              <a:gd name="T62" fmla="*/ 2147483647 w 573"/>
              <a:gd name="T63" fmla="*/ 2147483647 h 414"/>
              <a:gd name="T64" fmla="*/ 2147483647 w 573"/>
              <a:gd name="T65" fmla="*/ 2147483647 h 414"/>
              <a:gd name="T66" fmla="*/ 2147483647 w 573"/>
              <a:gd name="T67" fmla="*/ 2147483647 h 414"/>
              <a:gd name="T68" fmla="*/ 2147483647 w 573"/>
              <a:gd name="T69" fmla="*/ 2147483647 h 414"/>
              <a:gd name="T70" fmla="*/ 2147483647 w 573"/>
              <a:gd name="T71" fmla="*/ 2147483647 h 414"/>
              <a:gd name="T72" fmla="*/ 2147483647 w 573"/>
              <a:gd name="T73" fmla="*/ 2147483647 h 414"/>
              <a:gd name="T74" fmla="*/ 2147483647 w 573"/>
              <a:gd name="T75" fmla="*/ 2147483647 h 414"/>
              <a:gd name="T76" fmla="*/ 2147483647 w 573"/>
              <a:gd name="T77" fmla="*/ 2147483647 h 414"/>
              <a:gd name="T78" fmla="*/ 2147483647 w 573"/>
              <a:gd name="T79" fmla="*/ 2147483647 h 414"/>
              <a:gd name="T80" fmla="*/ 2147483647 w 573"/>
              <a:gd name="T81" fmla="*/ 2147483647 h 414"/>
              <a:gd name="T82" fmla="*/ 2147483647 w 573"/>
              <a:gd name="T83" fmla="*/ 2147483647 h 414"/>
              <a:gd name="T84" fmla="*/ 2147483647 w 573"/>
              <a:gd name="T85" fmla="*/ 2147483647 h 414"/>
              <a:gd name="T86" fmla="*/ 2147483647 w 573"/>
              <a:gd name="T87" fmla="*/ 2147483647 h 414"/>
              <a:gd name="T88" fmla="*/ 2147483647 w 573"/>
              <a:gd name="T89" fmla="*/ 2147483647 h 4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3"/>
              <a:gd name="T136" fmla="*/ 0 h 414"/>
              <a:gd name="T137" fmla="*/ 573 w 573"/>
              <a:gd name="T138" fmla="*/ 414 h 4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3" h="414">
                <a:moveTo>
                  <a:pt x="572" y="99"/>
                </a:moveTo>
                <a:lnTo>
                  <a:pt x="555" y="99"/>
                </a:lnTo>
                <a:lnTo>
                  <a:pt x="457" y="50"/>
                </a:lnTo>
                <a:lnTo>
                  <a:pt x="409" y="0"/>
                </a:lnTo>
                <a:lnTo>
                  <a:pt x="310" y="33"/>
                </a:lnTo>
                <a:lnTo>
                  <a:pt x="278" y="0"/>
                </a:lnTo>
                <a:lnTo>
                  <a:pt x="81" y="33"/>
                </a:lnTo>
                <a:lnTo>
                  <a:pt x="65" y="33"/>
                </a:lnTo>
                <a:lnTo>
                  <a:pt x="49" y="50"/>
                </a:lnTo>
                <a:lnTo>
                  <a:pt x="49" y="66"/>
                </a:lnTo>
                <a:lnTo>
                  <a:pt x="32" y="66"/>
                </a:lnTo>
                <a:lnTo>
                  <a:pt x="0" y="50"/>
                </a:lnTo>
                <a:lnTo>
                  <a:pt x="32" y="82"/>
                </a:lnTo>
                <a:lnTo>
                  <a:pt x="32" y="99"/>
                </a:lnTo>
                <a:lnTo>
                  <a:pt x="65" y="99"/>
                </a:lnTo>
                <a:lnTo>
                  <a:pt x="97" y="148"/>
                </a:lnTo>
                <a:lnTo>
                  <a:pt x="114" y="182"/>
                </a:lnTo>
                <a:lnTo>
                  <a:pt x="147" y="198"/>
                </a:lnTo>
                <a:lnTo>
                  <a:pt x="147" y="214"/>
                </a:lnTo>
                <a:lnTo>
                  <a:pt x="180" y="247"/>
                </a:lnTo>
                <a:lnTo>
                  <a:pt x="228" y="264"/>
                </a:lnTo>
                <a:lnTo>
                  <a:pt x="245" y="297"/>
                </a:lnTo>
                <a:lnTo>
                  <a:pt x="261" y="297"/>
                </a:lnTo>
                <a:lnTo>
                  <a:pt x="310" y="346"/>
                </a:lnTo>
                <a:lnTo>
                  <a:pt x="310" y="363"/>
                </a:lnTo>
                <a:lnTo>
                  <a:pt x="326" y="363"/>
                </a:lnTo>
                <a:lnTo>
                  <a:pt x="343" y="396"/>
                </a:lnTo>
                <a:lnTo>
                  <a:pt x="359" y="413"/>
                </a:lnTo>
                <a:lnTo>
                  <a:pt x="376" y="413"/>
                </a:lnTo>
                <a:lnTo>
                  <a:pt x="392" y="379"/>
                </a:lnTo>
                <a:lnTo>
                  <a:pt x="392" y="363"/>
                </a:lnTo>
                <a:lnTo>
                  <a:pt x="392" y="330"/>
                </a:lnTo>
                <a:lnTo>
                  <a:pt x="392" y="313"/>
                </a:lnTo>
                <a:lnTo>
                  <a:pt x="424" y="313"/>
                </a:lnTo>
                <a:lnTo>
                  <a:pt x="441" y="313"/>
                </a:lnTo>
                <a:lnTo>
                  <a:pt x="457" y="297"/>
                </a:lnTo>
                <a:lnTo>
                  <a:pt x="457" y="280"/>
                </a:lnTo>
                <a:lnTo>
                  <a:pt x="490" y="247"/>
                </a:lnTo>
                <a:lnTo>
                  <a:pt x="490" y="231"/>
                </a:lnTo>
                <a:lnTo>
                  <a:pt x="507" y="214"/>
                </a:lnTo>
                <a:lnTo>
                  <a:pt x="523" y="182"/>
                </a:lnTo>
                <a:lnTo>
                  <a:pt x="523" y="165"/>
                </a:lnTo>
                <a:lnTo>
                  <a:pt x="523" y="148"/>
                </a:lnTo>
                <a:lnTo>
                  <a:pt x="539" y="132"/>
                </a:lnTo>
                <a:lnTo>
                  <a:pt x="572" y="99"/>
                </a:lnTo>
              </a:path>
            </a:pathLst>
          </a:custGeom>
          <a:solidFill>
            <a:srgbClr val="00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4" name="Freeform 21"/>
          <p:cNvSpPr>
            <a:spLocks/>
          </p:cNvSpPr>
          <p:nvPr/>
        </p:nvSpPr>
        <p:spPr bwMode="auto">
          <a:xfrm>
            <a:off x="6683375" y="2744392"/>
            <a:ext cx="960438" cy="767953"/>
          </a:xfrm>
          <a:custGeom>
            <a:avLst/>
            <a:gdLst>
              <a:gd name="T0" fmla="*/ 2147483647 w 605"/>
              <a:gd name="T1" fmla="*/ 2147483647 h 645"/>
              <a:gd name="T2" fmla="*/ 2147483647 w 605"/>
              <a:gd name="T3" fmla="*/ 2147483647 h 645"/>
              <a:gd name="T4" fmla="*/ 2147483647 w 605"/>
              <a:gd name="T5" fmla="*/ 2147483647 h 645"/>
              <a:gd name="T6" fmla="*/ 0 w 605"/>
              <a:gd name="T7" fmla="*/ 2147483647 h 645"/>
              <a:gd name="T8" fmla="*/ 2147483647 w 605"/>
              <a:gd name="T9" fmla="*/ 2147483647 h 645"/>
              <a:gd name="T10" fmla="*/ 2147483647 w 605"/>
              <a:gd name="T11" fmla="*/ 2147483647 h 645"/>
              <a:gd name="T12" fmla="*/ 2147483647 w 605"/>
              <a:gd name="T13" fmla="*/ 2147483647 h 645"/>
              <a:gd name="T14" fmla="*/ 2147483647 w 605"/>
              <a:gd name="T15" fmla="*/ 2147483647 h 645"/>
              <a:gd name="T16" fmla="*/ 2147483647 w 605"/>
              <a:gd name="T17" fmla="*/ 2147483647 h 645"/>
              <a:gd name="T18" fmla="*/ 2147483647 w 605"/>
              <a:gd name="T19" fmla="*/ 2147483647 h 645"/>
              <a:gd name="T20" fmla="*/ 2147483647 w 605"/>
              <a:gd name="T21" fmla="*/ 2147483647 h 645"/>
              <a:gd name="T22" fmla="*/ 2147483647 w 605"/>
              <a:gd name="T23" fmla="*/ 2147483647 h 645"/>
              <a:gd name="T24" fmla="*/ 2147483647 w 605"/>
              <a:gd name="T25" fmla="*/ 2147483647 h 645"/>
              <a:gd name="T26" fmla="*/ 2147483647 w 605"/>
              <a:gd name="T27" fmla="*/ 2147483647 h 645"/>
              <a:gd name="T28" fmla="*/ 2147483647 w 605"/>
              <a:gd name="T29" fmla="*/ 2147483647 h 645"/>
              <a:gd name="T30" fmla="*/ 2147483647 w 605"/>
              <a:gd name="T31" fmla="*/ 2147483647 h 645"/>
              <a:gd name="T32" fmla="*/ 2147483647 w 605"/>
              <a:gd name="T33" fmla="*/ 2147483647 h 645"/>
              <a:gd name="T34" fmla="*/ 2147483647 w 605"/>
              <a:gd name="T35" fmla="*/ 2147483647 h 645"/>
              <a:gd name="T36" fmla="*/ 2147483647 w 605"/>
              <a:gd name="T37" fmla="*/ 2147483647 h 645"/>
              <a:gd name="T38" fmla="*/ 2147483647 w 605"/>
              <a:gd name="T39" fmla="*/ 2147483647 h 645"/>
              <a:gd name="T40" fmla="*/ 2147483647 w 605"/>
              <a:gd name="T41" fmla="*/ 2147483647 h 645"/>
              <a:gd name="T42" fmla="*/ 2147483647 w 605"/>
              <a:gd name="T43" fmla="*/ 2147483647 h 645"/>
              <a:gd name="T44" fmla="*/ 2147483647 w 605"/>
              <a:gd name="T45" fmla="*/ 2147483647 h 645"/>
              <a:gd name="T46" fmla="*/ 2147483647 w 605"/>
              <a:gd name="T47" fmla="*/ 2147483647 h 645"/>
              <a:gd name="T48" fmla="*/ 2147483647 w 605"/>
              <a:gd name="T49" fmla="*/ 2147483647 h 645"/>
              <a:gd name="T50" fmla="*/ 2147483647 w 605"/>
              <a:gd name="T51" fmla="*/ 2147483647 h 645"/>
              <a:gd name="T52" fmla="*/ 2147483647 w 605"/>
              <a:gd name="T53" fmla="*/ 2147483647 h 645"/>
              <a:gd name="T54" fmla="*/ 2147483647 w 605"/>
              <a:gd name="T55" fmla="*/ 2147483647 h 645"/>
              <a:gd name="T56" fmla="*/ 2147483647 w 605"/>
              <a:gd name="T57" fmla="*/ 2147483647 h 645"/>
              <a:gd name="T58" fmla="*/ 2147483647 w 605"/>
              <a:gd name="T59" fmla="*/ 2147483647 h 645"/>
              <a:gd name="T60" fmla="*/ 2147483647 w 605"/>
              <a:gd name="T61" fmla="*/ 2147483647 h 645"/>
              <a:gd name="T62" fmla="*/ 2147483647 w 605"/>
              <a:gd name="T63" fmla="*/ 2147483647 h 645"/>
              <a:gd name="T64" fmla="*/ 2147483647 w 605"/>
              <a:gd name="T65" fmla="*/ 2147483647 h 645"/>
              <a:gd name="T66" fmla="*/ 2147483647 w 605"/>
              <a:gd name="T67" fmla="*/ 2147483647 h 645"/>
              <a:gd name="T68" fmla="*/ 2147483647 w 605"/>
              <a:gd name="T69" fmla="*/ 2147483647 h 645"/>
              <a:gd name="T70" fmla="*/ 2147483647 w 605"/>
              <a:gd name="T71" fmla="*/ 2147483647 h 645"/>
              <a:gd name="T72" fmla="*/ 2147483647 w 605"/>
              <a:gd name="T73" fmla="*/ 2147483647 h 645"/>
              <a:gd name="T74" fmla="*/ 2147483647 w 605"/>
              <a:gd name="T75" fmla="*/ 2147483647 h 645"/>
              <a:gd name="T76" fmla="*/ 2147483647 w 605"/>
              <a:gd name="T77" fmla="*/ 2147483647 h 645"/>
              <a:gd name="T78" fmla="*/ 2147483647 w 605"/>
              <a:gd name="T79" fmla="*/ 2147483647 h 645"/>
              <a:gd name="T80" fmla="*/ 2147483647 w 605"/>
              <a:gd name="T81" fmla="*/ 2147483647 h 645"/>
              <a:gd name="T82" fmla="*/ 2147483647 w 605"/>
              <a:gd name="T83" fmla="*/ 2147483647 h 645"/>
              <a:gd name="T84" fmla="*/ 2147483647 w 605"/>
              <a:gd name="T85" fmla="*/ 2147483647 h 645"/>
              <a:gd name="T86" fmla="*/ 2147483647 w 605"/>
              <a:gd name="T87" fmla="*/ 2147483647 h 645"/>
              <a:gd name="T88" fmla="*/ 2147483647 w 605"/>
              <a:gd name="T89" fmla="*/ 2147483647 h 645"/>
              <a:gd name="T90" fmla="*/ 2147483647 w 605"/>
              <a:gd name="T91" fmla="*/ 2147483647 h 645"/>
              <a:gd name="T92" fmla="*/ 2147483647 w 605"/>
              <a:gd name="T93" fmla="*/ 2147483647 h 645"/>
              <a:gd name="T94" fmla="*/ 2147483647 w 605"/>
              <a:gd name="T95" fmla="*/ 0 h 645"/>
              <a:gd name="T96" fmla="*/ 2147483647 w 605"/>
              <a:gd name="T97" fmla="*/ 2147483647 h 645"/>
              <a:gd name="T98" fmla="*/ 2147483647 w 605"/>
              <a:gd name="T99" fmla="*/ 2147483647 h 64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5"/>
              <a:gd name="T151" fmla="*/ 0 h 645"/>
              <a:gd name="T152" fmla="*/ 605 w 605"/>
              <a:gd name="T153" fmla="*/ 645 h 64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5" h="645">
                <a:moveTo>
                  <a:pt x="180" y="15"/>
                </a:moveTo>
                <a:lnTo>
                  <a:pt x="163" y="32"/>
                </a:lnTo>
                <a:lnTo>
                  <a:pt x="130" y="32"/>
                </a:lnTo>
                <a:lnTo>
                  <a:pt x="0" y="49"/>
                </a:lnTo>
                <a:lnTo>
                  <a:pt x="97" y="363"/>
                </a:lnTo>
                <a:lnTo>
                  <a:pt x="114" y="363"/>
                </a:lnTo>
                <a:lnTo>
                  <a:pt x="147" y="412"/>
                </a:lnTo>
                <a:lnTo>
                  <a:pt x="147" y="462"/>
                </a:lnTo>
                <a:lnTo>
                  <a:pt x="130" y="479"/>
                </a:lnTo>
                <a:lnTo>
                  <a:pt x="163" y="578"/>
                </a:lnTo>
                <a:lnTo>
                  <a:pt x="163" y="594"/>
                </a:lnTo>
                <a:lnTo>
                  <a:pt x="180" y="628"/>
                </a:lnTo>
                <a:lnTo>
                  <a:pt x="473" y="594"/>
                </a:lnTo>
                <a:lnTo>
                  <a:pt x="456" y="628"/>
                </a:lnTo>
                <a:lnTo>
                  <a:pt x="506" y="628"/>
                </a:lnTo>
                <a:lnTo>
                  <a:pt x="522" y="644"/>
                </a:lnTo>
                <a:lnTo>
                  <a:pt x="506" y="611"/>
                </a:lnTo>
                <a:lnTo>
                  <a:pt x="522" y="594"/>
                </a:lnTo>
                <a:lnTo>
                  <a:pt x="538" y="594"/>
                </a:lnTo>
                <a:lnTo>
                  <a:pt x="554" y="578"/>
                </a:lnTo>
                <a:lnTo>
                  <a:pt x="571" y="562"/>
                </a:lnTo>
                <a:lnTo>
                  <a:pt x="587" y="562"/>
                </a:lnTo>
                <a:lnTo>
                  <a:pt x="587" y="495"/>
                </a:lnTo>
                <a:lnTo>
                  <a:pt x="571" y="495"/>
                </a:lnTo>
                <a:lnTo>
                  <a:pt x="571" y="462"/>
                </a:lnTo>
                <a:lnTo>
                  <a:pt x="587" y="462"/>
                </a:lnTo>
                <a:lnTo>
                  <a:pt x="587" y="429"/>
                </a:lnTo>
                <a:lnTo>
                  <a:pt x="604" y="412"/>
                </a:lnTo>
                <a:lnTo>
                  <a:pt x="587" y="412"/>
                </a:lnTo>
                <a:lnTo>
                  <a:pt x="587" y="396"/>
                </a:lnTo>
                <a:lnTo>
                  <a:pt x="587" y="380"/>
                </a:lnTo>
                <a:lnTo>
                  <a:pt x="587" y="363"/>
                </a:lnTo>
                <a:lnTo>
                  <a:pt x="571" y="346"/>
                </a:lnTo>
                <a:lnTo>
                  <a:pt x="554" y="314"/>
                </a:lnTo>
                <a:lnTo>
                  <a:pt x="538" y="314"/>
                </a:lnTo>
                <a:lnTo>
                  <a:pt x="538" y="297"/>
                </a:lnTo>
                <a:lnTo>
                  <a:pt x="489" y="247"/>
                </a:lnTo>
                <a:lnTo>
                  <a:pt x="473" y="247"/>
                </a:lnTo>
                <a:lnTo>
                  <a:pt x="456" y="214"/>
                </a:lnTo>
                <a:lnTo>
                  <a:pt x="408" y="197"/>
                </a:lnTo>
                <a:lnTo>
                  <a:pt x="375" y="164"/>
                </a:lnTo>
                <a:lnTo>
                  <a:pt x="375" y="148"/>
                </a:lnTo>
                <a:lnTo>
                  <a:pt x="342" y="132"/>
                </a:lnTo>
                <a:lnTo>
                  <a:pt x="326" y="98"/>
                </a:lnTo>
                <a:lnTo>
                  <a:pt x="294" y="49"/>
                </a:lnTo>
                <a:lnTo>
                  <a:pt x="261" y="49"/>
                </a:lnTo>
                <a:lnTo>
                  <a:pt x="261" y="32"/>
                </a:lnTo>
                <a:lnTo>
                  <a:pt x="228" y="0"/>
                </a:lnTo>
                <a:lnTo>
                  <a:pt x="211" y="15"/>
                </a:lnTo>
                <a:lnTo>
                  <a:pt x="180" y="15"/>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5" name="Freeform 22"/>
          <p:cNvSpPr>
            <a:spLocks/>
          </p:cNvSpPr>
          <p:nvPr/>
        </p:nvSpPr>
        <p:spPr bwMode="auto">
          <a:xfrm>
            <a:off x="6242069" y="2803922"/>
            <a:ext cx="728663" cy="827484"/>
          </a:xfrm>
          <a:custGeom>
            <a:avLst/>
            <a:gdLst>
              <a:gd name="T0" fmla="*/ 2147483647 w 459"/>
              <a:gd name="T1" fmla="*/ 0 h 695"/>
              <a:gd name="T2" fmla="*/ 0 w 459"/>
              <a:gd name="T3" fmla="*/ 2147483647 h 695"/>
              <a:gd name="T4" fmla="*/ 2147483647 w 459"/>
              <a:gd name="T5" fmla="*/ 2147483647 h 695"/>
              <a:gd name="T6" fmla="*/ 2147483647 w 459"/>
              <a:gd name="T7" fmla="*/ 2147483647 h 695"/>
              <a:gd name="T8" fmla="*/ 2147483647 w 459"/>
              <a:gd name="T9" fmla="*/ 2147483647 h 695"/>
              <a:gd name="T10" fmla="*/ 2147483647 w 459"/>
              <a:gd name="T11" fmla="*/ 2147483647 h 695"/>
              <a:gd name="T12" fmla="*/ 2147483647 w 459"/>
              <a:gd name="T13" fmla="*/ 2147483647 h 695"/>
              <a:gd name="T14" fmla="*/ 2147483647 w 459"/>
              <a:gd name="T15" fmla="*/ 2147483647 h 695"/>
              <a:gd name="T16" fmla="*/ 2147483647 w 459"/>
              <a:gd name="T17" fmla="*/ 2147483647 h 695"/>
              <a:gd name="T18" fmla="*/ 2147483647 w 459"/>
              <a:gd name="T19" fmla="*/ 2147483647 h 695"/>
              <a:gd name="T20" fmla="*/ 2147483647 w 459"/>
              <a:gd name="T21" fmla="*/ 2147483647 h 695"/>
              <a:gd name="T22" fmla="*/ 2147483647 w 459"/>
              <a:gd name="T23" fmla="*/ 2147483647 h 695"/>
              <a:gd name="T24" fmla="*/ 2147483647 w 459"/>
              <a:gd name="T25" fmla="*/ 2147483647 h 695"/>
              <a:gd name="T26" fmla="*/ 2147483647 w 459"/>
              <a:gd name="T27" fmla="*/ 2147483647 h 695"/>
              <a:gd name="T28" fmla="*/ 2147483647 w 459"/>
              <a:gd name="T29" fmla="*/ 2147483647 h 695"/>
              <a:gd name="T30" fmla="*/ 2147483647 w 459"/>
              <a:gd name="T31" fmla="*/ 2147483647 h 695"/>
              <a:gd name="T32" fmla="*/ 2147483647 w 459"/>
              <a:gd name="T33" fmla="*/ 2147483647 h 695"/>
              <a:gd name="T34" fmla="*/ 2147483647 w 459"/>
              <a:gd name="T35" fmla="*/ 2147483647 h 695"/>
              <a:gd name="T36" fmla="*/ 2147483647 w 459"/>
              <a:gd name="T37" fmla="*/ 2147483647 h 695"/>
              <a:gd name="T38" fmla="*/ 2147483647 w 459"/>
              <a:gd name="T39" fmla="*/ 2147483647 h 695"/>
              <a:gd name="T40" fmla="*/ 2147483647 w 459"/>
              <a:gd name="T41" fmla="*/ 2147483647 h 695"/>
              <a:gd name="T42" fmla="*/ 2147483647 w 459"/>
              <a:gd name="T43" fmla="*/ 2147483647 h 695"/>
              <a:gd name="T44" fmla="*/ 2147483647 w 459"/>
              <a:gd name="T45" fmla="*/ 2147483647 h 695"/>
              <a:gd name="T46" fmla="*/ 2147483647 w 459"/>
              <a:gd name="T47" fmla="*/ 0 h 69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9"/>
              <a:gd name="T73" fmla="*/ 0 h 695"/>
              <a:gd name="T74" fmla="*/ 459 w 459"/>
              <a:gd name="T75" fmla="*/ 695 h 69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9" h="695">
                <a:moveTo>
                  <a:pt x="277" y="0"/>
                </a:moveTo>
                <a:lnTo>
                  <a:pt x="0" y="49"/>
                </a:lnTo>
                <a:lnTo>
                  <a:pt x="16" y="495"/>
                </a:lnTo>
                <a:lnTo>
                  <a:pt x="49" y="677"/>
                </a:lnTo>
                <a:lnTo>
                  <a:pt x="82" y="677"/>
                </a:lnTo>
                <a:lnTo>
                  <a:pt x="98" y="644"/>
                </a:lnTo>
                <a:lnTo>
                  <a:pt x="114" y="644"/>
                </a:lnTo>
                <a:lnTo>
                  <a:pt x="130" y="644"/>
                </a:lnTo>
                <a:lnTo>
                  <a:pt x="114" y="660"/>
                </a:lnTo>
                <a:lnTo>
                  <a:pt x="130" y="677"/>
                </a:lnTo>
                <a:lnTo>
                  <a:pt x="147" y="694"/>
                </a:lnTo>
                <a:lnTo>
                  <a:pt x="163" y="677"/>
                </a:lnTo>
                <a:lnTo>
                  <a:pt x="163" y="644"/>
                </a:lnTo>
                <a:lnTo>
                  <a:pt x="147" y="611"/>
                </a:lnTo>
                <a:lnTo>
                  <a:pt x="147" y="594"/>
                </a:lnTo>
                <a:lnTo>
                  <a:pt x="458" y="578"/>
                </a:lnTo>
                <a:lnTo>
                  <a:pt x="441" y="544"/>
                </a:lnTo>
                <a:lnTo>
                  <a:pt x="441" y="529"/>
                </a:lnTo>
                <a:lnTo>
                  <a:pt x="408" y="429"/>
                </a:lnTo>
                <a:lnTo>
                  <a:pt x="425" y="412"/>
                </a:lnTo>
                <a:lnTo>
                  <a:pt x="425" y="363"/>
                </a:lnTo>
                <a:lnTo>
                  <a:pt x="392" y="313"/>
                </a:lnTo>
                <a:lnTo>
                  <a:pt x="375" y="313"/>
                </a:lnTo>
                <a:lnTo>
                  <a:pt x="277" y="0"/>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6" name="Freeform 23"/>
          <p:cNvSpPr>
            <a:spLocks/>
          </p:cNvSpPr>
          <p:nvPr/>
        </p:nvSpPr>
        <p:spPr bwMode="auto">
          <a:xfrm>
            <a:off x="5153044" y="2667015"/>
            <a:ext cx="779463" cy="570310"/>
          </a:xfrm>
          <a:custGeom>
            <a:avLst/>
            <a:gdLst>
              <a:gd name="T0" fmla="*/ 0 w 491"/>
              <a:gd name="T1" fmla="*/ 2147483647 h 479"/>
              <a:gd name="T2" fmla="*/ 0 w 491"/>
              <a:gd name="T3" fmla="*/ 2147483647 h 479"/>
              <a:gd name="T4" fmla="*/ 0 w 491"/>
              <a:gd name="T5" fmla="*/ 2147483647 h 479"/>
              <a:gd name="T6" fmla="*/ 2147483647 w 491"/>
              <a:gd name="T7" fmla="*/ 2147483647 h 479"/>
              <a:gd name="T8" fmla="*/ 2147483647 w 491"/>
              <a:gd name="T9" fmla="*/ 0 h 479"/>
              <a:gd name="T10" fmla="*/ 2147483647 w 491"/>
              <a:gd name="T11" fmla="*/ 2147483647 h 479"/>
              <a:gd name="T12" fmla="*/ 2147483647 w 491"/>
              <a:gd name="T13" fmla="*/ 2147483647 h 479"/>
              <a:gd name="T14" fmla="*/ 2147483647 w 491"/>
              <a:gd name="T15" fmla="*/ 2147483647 h 479"/>
              <a:gd name="T16" fmla="*/ 2147483647 w 491"/>
              <a:gd name="T17" fmla="*/ 2147483647 h 479"/>
              <a:gd name="T18" fmla="*/ 2147483647 w 491"/>
              <a:gd name="T19" fmla="*/ 2147483647 h 479"/>
              <a:gd name="T20" fmla="*/ 2147483647 w 491"/>
              <a:gd name="T21" fmla="*/ 2147483647 h 479"/>
              <a:gd name="T22" fmla="*/ 2147483647 w 491"/>
              <a:gd name="T23" fmla="*/ 2147483647 h 479"/>
              <a:gd name="T24" fmla="*/ 2147483647 w 491"/>
              <a:gd name="T25" fmla="*/ 2147483647 h 479"/>
              <a:gd name="T26" fmla="*/ 2147483647 w 491"/>
              <a:gd name="T27" fmla="*/ 2147483647 h 479"/>
              <a:gd name="T28" fmla="*/ 2147483647 w 491"/>
              <a:gd name="T29" fmla="*/ 2147483647 h 479"/>
              <a:gd name="T30" fmla="*/ 2147483647 w 491"/>
              <a:gd name="T31" fmla="*/ 2147483647 h 479"/>
              <a:gd name="T32" fmla="*/ 2147483647 w 491"/>
              <a:gd name="T33" fmla="*/ 2147483647 h 479"/>
              <a:gd name="T34" fmla="*/ 2147483647 w 491"/>
              <a:gd name="T35" fmla="*/ 2147483647 h 479"/>
              <a:gd name="T36" fmla="*/ 2147483647 w 491"/>
              <a:gd name="T37" fmla="*/ 2147483647 h 479"/>
              <a:gd name="T38" fmla="*/ 2147483647 w 491"/>
              <a:gd name="T39" fmla="*/ 2147483647 h 479"/>
              <a:gd name="T40" fmla="*/ 2147483647 w 491"/>
              <a:gd name="T41" fmla="*/ 2147483647 h 479"/>
              <a:gd name="T42" fmla="*/ 2147483647 w 491"/>
              <a:gd name="T43" fmla="*/ 2147483647 h 479"/>
              <a:gd name="T44" fmla="*/ 2147483647 w 491"/>
              <a:gd name="T45" fmla="*/ 2147483647 h 479"/>
              <a:gd name="T46" fmla="*/ 2147483647 w 491"/>
              <a:gd name="T47" fmla="*/ 2147483647 h 479"/>
              <a:gd name="T48" fmla="*/ 2147483647 w 491"/>
              <a:gd name="T49" fmla="*/ 2147483647 h 479"/>
              <a:gd name="T50" fmla="*/ 2147483647 w 491"/>
              <a:gd name="T51" fmla="*/ 2147483647 h 479"/>
              <a:gd name="T52" fmla="*/ 2147483647 w 491"/>
              <a:gd name="T53" fmla="*/ 2147483647 h 479"/>
              <a:gd name="T54" fmla="*/ 2147483647 w 491"/>
              <a:gd name="T55" fmla="*/ 2147483647 h 479"/>
              <a:gd name="T56" fmla="*/ 2147483647 w 491"/>
              <a:gd name="T57" fmla="*/ 2147483647 h 479"/>
              <a:gd name="T58" fmla="*/ 2147483647 w 491"/>
              <a:gd name="T59" fmla="*/ 2147483647 h 479"/>
              <a:gd name="T60" fmla="*/ 2147483647 w 491"/>
              <a:gd name="T61" fmla="*/ 2147483647 h 479"/>
              <a:gd name="T62" fmla="*/ 2147483647 w 491"/>
              <a:gd name="T63" fmla="*/ 2147483647 h 479"/>
              <a:gd name="T64" fmla="*/ 2147483647 w 491"/>
              <a:gd name="T65" fmla="*/ 2147483647 h 479"/>
              <a:gd name="T66" fmla="*/ 2147483647 w 491"/>
              <a:gd name="T67" fmla="*/ 2147483647 h 479"/>
              <a:gd name="T68" fmla="*/ 2147483647 w 491"/>
              <a:gd name="T69" fmla="*/ 2147483647 h 479"/>
              <a:gd name="T70" fmla="*/ 2147483647 w 491"/>
              <a:gd name="T71" fmla="*/ 2147483647 h 479"/>
              <a:gd name="T72" fmla="*/ 2147483647 w 491"/>
              <a:gd name="T73" fmla="*/ 2147483647 h 479"/>
              <a:gd name="T74" fmla="*/ 0 w 491"/>
              <a:gd name="T75" fmla="*/ 2147483647 h 47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1"/>
              <a:gd name="T115" fmla="*/ 0 h 479"/>
              <a:gd name="T116" fmla="*/ 491 w 491"/>
              <a:gd name="T117" fmla="*/ 479 h 47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1" h="479">
                <a:moveTo>
                  <a:pt x="0" y="115"/>
                </a:moveTo>
                <a:lnTo>
                  <a:pt x="0" y="98"/>
                </a:lnTo>
                <a:lnTo>
                  <a:pt x="0" y="32"/>
                </a:lnTo>
                <a:lnTo>
                  <a:pt x="327" y="15"/>
                </a:lnTo>
                <a:lnTo>
                  <a:pt x="425" y="0"/>
                </a:lnTo>
                <a:lnTo>
                  <a:pt x="441" y="15"/>
                </a:lnTo>
                <a:lnTo>
                  <a:pt x="425" y="32"/>
                </a:lnTo>
                <a:lnTo>
                  <a:pt x="425" y="49"/>
                </a:lnTo>
                <a:lnTo>
                  <a:pt x="441" y="49"/>
                </a:lnTo>
                <a:lnTo>
                  <a:pt x="473" y="49"/>
                </a:lnTo>
                <a:lnTo>
                  <a:pt x="490" y="49"/>
                </a:lnTo>
                <a:lnTo>
                  <a:pt x="490" y="66"/>
                </a:lnTo>
                <a:lnTo>
                  <a:pt x="490" y="98"/>
                </a:lnTo>
                <a:lnTo>
                  <a:pt x="473" y="98"/>
                </a:lnTo>
                <a:lnTo>
                  <a:pt x="457" y="115"/>
                </a:lnTo>
                <a:lnTo>
                  <a:pt x="457" y="147"/>
                </a:lnTo>
                <a:lnTo>
                  <a:pt x="473" y="147"/>
                </a:lnTo>
                <a:lnTo>
                  <a:pt x="473" y="181"/>
                </a:lnTo>
                <a:lnTo>
                  <a:pt x="441" y="198"/>
                </a:lnTo>
                <a:lnTo>
                  <a:pt x="441" y="213"/>
                </a:lnTo>
                <a:lnTo>
                  <a:pt x="425" y="247"/>
                </a:lnTo>
                <a:lnTo>
                  <a:pt x="425" y="296"/>
                </a:lnTo>
                <a:lnTo>
                  <a:pt x="408" y="296"/>
                </a:lnTo>
                <a:lnTo>
                  <a:pt x="392" y="345"/>
                </a:lnTo>
                <a:lnTo>
                  <a:pt x="375" y="428"/>
                </a:lnTo>
                <a:lnTo>
                  <a:pt x="392" y="478"/>
                </a:lnTo>
                <a:lnTo>
                  <a:pt x="375" y="478"/>
                </a:lnTo>
                <a:lnTo>
                  <a:pt x="82" y="478"/>
                </a:lnTo>
                <a:lnTo>
                  <a:pt x="375" y="478"/>
                </a:lnTo>
                <a:lnTo>
                  <a:pt x="82" y="478"/>
                </a:lnTo>
                <a:lnTo>
                  <a:pt x="65" y="428"/>
                </a:lnTo>
                <a:lnTo>
                  <a:pt x="16" y="411"/>
                </a:lnTo>
                <a:lnTo>
                  <a:pt x="16" y="395"/>
                </a:lnTo>
                <a:lnTo>
                  <a:pt x="16" y="362"/>
                </a:lnTo>
                <a:lnTo>
                  <a:pt x="16" y="296"/>
                </a:lnTo>
                <a:lnTo>
                  <a:pt x="16" y="230"/>
                </a:lnTo>
                <a:lnTo>
                  <a:pt x="16" y="181"/>
                </a:lnTo>
                <a:lnTo>
                  <a:pt x="0" y="115"/>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7" name="Freeform 24"/>
          <p:cNvSpPr>
            <a:spLocks/>
          </p:cNvSpPr>
          <p:nvPr/>
        </p:nvSpPr>
        <p:spPr bwMode="auto">
          <a:xfrm>
            <a:off x="5284790" y="3236134"/>
            <a:ext cx="984250" cy="651272"/>
          </a:xfrm>
          <a:custGeom>
            <a:avLst/>
            <a:gdLst>
              <a:gd name="T0" fmla="*/ 2147483647 w 620"/>
              <a:gd name="T1" fmla="*/ 2147483647 h 547"/>
              <a:gd name="T2" fmla="*/ 2147483647 w 620"/>
              <a:gd name="T3" fmla="*/ 2147483647 h 547"/>
              <a:gd name="T4" fmla="*/ 2147483647 w 620"/>
              <a:gd name="T5" fmla="*/ 2147483647 h 547"/>
              <a:gd name="T6" fmla="*/ 2147483647 w 620"/>
              <a:gd name="T7" fmla="*/ 2147483647 h 547"/>
              <a:gd name="T8" fmla="*/ 0 w 620"/>
              <a:gd name="T9" fmla="*/ 2147483647 h 547"/>
              <a:gd name="T10" fmla="*/ 0 w 620"/>
              <a:gd name="T11" fmla="*/ 2147483647 h 547"/>
              <a:gd name="T12" fmla="*/ 0 w 620"/>
              <a:gd name="T13" fmla="*/ 0 h 547"/>
              <a:gd name="T14" fmla="*/ 2147483647 w 620"/>
              <a:gd name="T15" fmla="*/ 0 h 547"/>
              <a:gd name="T16" fmla="*/ 2147483647 w 620"/>
              <a:gd name="T17" fmla="*/ 2147483647 h 547"/>
              <a:gd name="T18" fmla="*/ 2147483647 w 620"/>
              <a:gd name="T19" fmla="*/ 2147483647 h 547"/>
              <a:gd name="T20" fmla="*/ 2147483647 w 620"/>
              <a:gd name="T21" fmla="*/ 2147483647 h 547"/>
              <a:gd name="T22" fmla="*/ 2147483647 w 620"/>
              <a:gd name="T23" fmla="*/ 2147483647 h 547"/>
              <a:gd name="T24" fmla="*/ 2147483647 w 620"/>
              <a:gd name="T25" fmla="*/ 2147483647 h 547"/>
              <a:gd name="T26" fmla="*/ 2147483647 w 620"/>
              <a:gd name="T27" fmla="*/ 2147483647 h 547"/>
              <a:gd name="T28" fmla="*/ 2147483647 w 620"/>
              <a:gd name="T29" fmla="*/ 2147483647 h 547"/>
              <a:gd name="T30" fmla="*/ 2147483647 w 620"/>
              <a:gd name="T31" fmla="*/ 2147483647 h 547"/>
              <a:gd name="T32" fmla="*/ 2147483647 w 620"/>
              <a:gd name="T33" fmla="*/ 2147483647 h 547"/>
              <a:gd name="T34" fmla="*/ 2147483647 w 620"/>
              <a:gd name="T35" fmla="*/ 2147483647 h 547"/>
              <a:gd name="T36" fmla="*/ 2147483647 w 620"/>
              <a:gd name="T37" fmla="*/ 2147483647 h 547"/>
              <a:gd name="T38" fmla="*/ 2147483647 w 620"/>
              <a:gd name="T39" fmla="*/ 2147483647 h 547"/>
              <a:gd name="T40" fmla="*/ 2147483647 w 620"/>
              <a:gd name="T41" fmla="*/ 2147483647 h 547"/>
              <a:gd name="T42" fmla="*/ 2147483647 w 620"/>
              <a:gd name="T43" fmla="*/ 2147483647 h 547"/>
              <a:gd name="T44" fmla="*/ 2147483647 w 620"/>
              <a:gd name="T45" fmla="*/ 2147483647 h 547"/>
              <a:gd name="T46" fmla="*/ 2147483647 w 620"/>
              <a:gd name="T47" fmla="*/ 2147483647 h 547"/>
              <a:gd name="T48" fmla="*/ 2147483647 w 620"/>
              <a:gd name="T49" fmla="*/ 2147483647 h 547"/>
              <a:gd name="T50" fmla="*/ 2147483647 w 620"/>
              <a:gd name="T51" fmla="*/ 2147483647 h 547"/>
              <a:gd name="T52" fmla="*/ 2147483647 w 620"/>
              <a:gd name="T53" fmla="*/ 2147483647 h 547"/>
              <a:gd name="T54" fmla="*/ 2147483647 w 620"/>
              <a:gd name="T55" fmla="*/ 2147483647 h 547"/>
              <a:gd name="T56" fmla="*/ 2147483647 w 620"/>
              <a:gd name="T57" fmla="*/ 2147483647 h 547"/>
              <a:gd name="T58" fmla="*/ 2147483647 w 620"/>
              <a:gd name="T59" fmla="*/ 2147483647 h 547"/>
              <a:gd name="T60" fmla="*/ 2147483647 w 620"/>
              <a:gd name="T61" fmla="*/ 2147483647 h 547"/>
              <a:gd name="T62" fmla="*/ 2147483647 w 620"/>
              <a:gd name="T63" fmla="*/ 2147483647 h 547"/>
              <a:gd name="T64" fmla="*/ 2147483647 w 620"/>
              <a:gd name="T65" fmla="*/ 2147483647 h 547"/>
              <a:gd name="T66" fmla="*/ 2147483647 w 620"/>
              <a:gd name="T67" fmla="*/ 2147483647 h 547"/>
              <a:gd name="T68" fmla="*/ 2147483647 w 620"/>
              <a:gd name="T69" fmla="*/ 2147483647 h 547"/>
              <a:gd name="T70" fmla="*/ 2147483647 w 620"/>
              <a:gd name="T71" fmla="*/ 2147483647 h 547"/>
              <a:gd name="T72" fmla="*/ 2147483647 w 620"/>
              <a:gd name="T73" fmla="*/ 2147483647 h 547"/>
              <a:gd name="T74" fmla="*/ 2147483647 w 620"/>
              <a:gd name="T75" fmla="*/ 2147483647 h 547"/>
              <a:gd name="T76" fmla="*/ 2147483647 w 620"/>
              <a:gd name="T77" fmla="*/ 2147483647 h 5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20"/>
              <a:gd name="T118" fmla="*/ 0 h 547"/>
              <a:gd name="T119" fmla="*/ 620 w 620"/>
              <a:gd name="T120" fmla="*/ 547 h 5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20" h="547">
                <a:moveTo>
                  <a:pt x="48" y="347"/>
                </a:moveTo>
                <a:lnTo>
                  <a:pt x="48" y="330"/>
                </a:lnTo>
                <a:lnTo>
                  <a:pt x="48" y="313"/>
                </a:lnTo>
                <a:lnTo>
                  <a:pt x="48" y="297"/>
                </a:lnTo>
                <a:lnTo>
                  <a:pt x="48" y="281"/>
                </a:lnTo>
                <a:lnTo>
                  <a:pt x="48" y="247"/>
                </a:lnTo>
                <a:lnTo>
                  <a:pt x="31" y="230"/>
                </a:lnTo>
                <a:lnTo>
                  <a:pt x="31" y="215"/>
                </a:lnTo>
                <a:lnTo>
                  <a:pt x="15" y="198"/>
                </a:lnTo>
                <a:lnTo>
                  <a:pt x="0" y="181"/>
                </a:lnTo>
                <a:lnTo>
                  <a:pt x="0" y="165"/>
                </a:lnTo>
                <a:lnTo>
                  <a:pt x="0" y="132"/>
                </a:lnTo>
                <a:lnTo>
                  <a:pt x="0" y="33"/>
                </a:lnTo>
                <a:lnTo>
                  <a:pt x="0" y="0"/>
                </a:lnTo>
                <a:lnTo>
                  <a:pt x="293" y="0"/>
                </a:lnTo>
                <a:lnTo>
                  <a:pt x="309" y="0"/>
                </a:lnTo>
                <a:lnTo>
                  <a:pt x="309" y="49"/>
                </a:lnTo>
                <a:lnTo>
                  <a:pt x="309" y="82"/>
                </a:lnTo>
                <a:lnTo>
                  <a:pt x="325" y="99"/>
                </a:lnTo>
                <a:lnTo>
                  <a:pt x="309" y="132"/>
                </a:lnTo>
                <a:lnTo>
                  <a:pt x="309" y="165"/>
                </a:lnTo>
                <a:lnTo>
                  <a:pt x="293" y="181"/>
                </a:lnTo>
                <a:lnTo>
                  <a:pt x="276" y="230"/>
                </a:lnTo>
                <a:lnTo>
                  <a:pt x="276" y="264"/>
                </a:lnTo>
                <a:lnTo>
                  <a:pt x="276" y="281"/>
                </a:lnTo>
                <a:lnTo>
                  <a:pt x="456" y="281"/>
                </a:lnTo>
                <a:lnTo>
                  <a:pt x="472" y="313"/>
                </a:lnTo>
                <a:lnTo>
                  <a:pt x="504" y="347"/>
                </a:lnTo>
                <a:lnTo>
                  <a:pt x="521" y="363"/>
                </a:lnTo>
                <a:lnTo>
                  <a:pt x="472" y="363"/>
                </a:lnTo>
                <a:lnTo>
                  <a:pt x="456" y="347"/>
                </a:lnTo>
                <a:lnTo>
                  <a:pt x="423" y="363"/>
                </a:lnTo>
                <a:lnTo>
                  <a:pt x="407" y="363"/>
                </a:lnTo>
                <a:lnTo>
                  <a:pt x="440" y="396"/>
                </a:lnTo>
                <a:lnTo>
                  <a:pt x="456" y="380"/>
                </a:lnTo>
                <a:lnTo>
                  <a:pt x="472" y="363"/>
                </a:lnTo>
                <a:lnTo>
                  <a:pt x="504" y="396"/>
                </a:lnTo>
                <a:lnTo>
                  <a:pt x="521" y="413"/>
                </a:lnTo>
                <a:lnTo>
                  <a:pt x="554" y="380"/>
                </a:lnTo>
                <a:lnTo>
                  <a:pt x="570" y="396"/>
                </a:lnTo>
                <a:lnTo>
                  <a:pt x="537" y="429"/>
                </a:lnTo>
                <a:lnTo>
                  <a:pt x="521" y="446"/>
                </a:lnTo>
                <a:lnTo>
                  <a:pt x="554" y="463"/>
                </a:lnTo>
                <a:lnTo>
                  <a:pt x="587" y="463"/>
                </a:lnTo>
                <a:lnTo>
                  <a:pt x="619" y="479"/>
                </a:lnTo>
                <a:lnTo>
                  <a:pt x="619" y="512"/>
                </a:lnTo>
                <a:lnTo>
                  <a:pt x="602" y="512"/>
                </a:lnTo>
                <a:lnTo>
                  <a:pt x="570" y="512"/>
                </a:lnTo>
                <a:lnTo>
                  <a:pt x="554" y="512"/>
                </a:lnTo>
                <a:lnTo>
                  <a:pt x="521" y="479"/>
                </a:lnTo>
                <a:lnTo>
                  <a:pt x="488" y="479"/>
                </a:lnTo>
                <a:lnTo>
                  <a:pt x="488" y="512"/>
                </a:lnTo>
                <a:lnTo>
                  <a:pt x="472" y="512"/>
                </a:lnTo>
                <a:lnTo>
                  <a:pt x="456" y="512"/>
                </a:lnTo>
                <a:lnTo>
                  <a:pt x="456" y="495"/>
                </a:lnTo>
                <a:lnTo>
                  <a:pt x="423" y="529"/>
                </a:lnTo>
                <a:lnTo>
                  <a:pt x="407" y="546"/>
                </a:lnTo>
                <a:lnTo>
                  <a:pt x="374" y="546"/>
                </a:lnTo>
                <a:lnTo>
                  <a:pt x="342" y="529"/>
                </a:lnTo>
                <a:lnTo>
                  <a:pt x="342" y="495"/>
                </a:lnTo>
                <a:lnTo>
                  <a:pt x="342" y="463"/>
                </a:lnTo>
                <a:lnTo>
                  <a:pt x="276" y="463"/>
                </a:lnTo>
                <a:lnTo>
                  <a:pt x="244" y="463"/>
                </a:lnTo>
                <a:lnTo>
                  <a:pt x="276" y="495"/>
                </a:lnTo>
                <a:lnTo>
                  <a:pt x="260" y="479"/>
                </a:lnTo>
                <a:lnTo>
                  <a:pt x="228" y="495"/>
                </a:lnTo>
                <a:lnTo>
                  <a:pt x="195" y="479"/>
                </a:lnTo>
                <a:lnTo>
                  <a:pt x="162" y="479"/>
                </a:lnTo>
                <a:lnTo>
                  <a:pt x="130" y="463"/>
                </a:lnTo>
                <a:lnTo>
                  <a:pt x="114" y="479"/>
                </a:lnTo>
                <a:lnTo>
                  <a:pt x="64" y="463"/>
                </a:lnTo>
                <a:lnTo>
                  <a:pt x="48" y="495"/>
                </a:lnTo>
                <a:lnTo>
                  <a:pt x="31" y="463"/>
                </a:lnTo>
                <a:lnTo>
                  <a:pt x="31" y="446"/>
                </a:lnTo>
                <a:lnTo>
                  <a:pt x="48" y="413"/>
                </a:lnTo>
                <a:lnTo>
                  <a:pt x="48" y="396"/>
                </a:lnTo>
                <a:lnTo>
                  <a:pt x="48" y="363"/>
                </a:lnTo>
                <a:lnTo>
                  <a:pt x="48" y="347"/>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8" name="Freeform 25"/>
          <p:cNvSpPr>
            <a:spLocks/>
          </p:cNvSpPr>
          <p:nvPr/>
        </p:nvSpPr>
        <p:spPr bwMode="auto">
          <a:xfrm>
            <a:off x="5722940" y="2863468"/>
            <a:ext cx="598487" cy="807244"/>
          </a:xfrm>
          <a:custGeom>
            <a:avLst/>
            <a:gdLst>
              <a:gd name="T0" fmla="*/ 2147483647 w 377"/>
              <a:gd name="T1" fmla="*/ 2147483647 h 678"/>
              <a:gd name="T2" fmla="*/ 2147483647 w 377"/>
              <a:gd name="T3" fmla="*/ 2147483647 h 678"/>
              <a:gd name="T4" fmla="*/ 2147483647 w 377"/>
              <a:gd name="T5" fmla="*/ 2147483647 h 678"/>
              <a:gd name="T6" fmla="*/ 2147483647 w 377"/>
              <a:gd name="T7" fmla="*/ 2147483647 h 678"/>
              <a:gd name="T8" fmla="*/ 2147483647 w 377"/>
              <a:gd name="T9" fmla="*/ 2147483647 h 678"/>
              <a:gd name="T10" fmla="*/ 2147483647 w 377"/>
              <a:gd name="T11" fmla="*/ 2147483647 h 678"/>
              <a:gd name="T12" fmla="*/ 2147483647 w 377"/>
              <a:gd name="T13" fmla="*/ 2147483647 h 678"/>
              <a:gd name="T14" fmla="*/ 2147483647 w 377"/>
              <a:gd name="T15" fmla="*/ 2147483647 h 678"/>
              <a:gd name="T16" fmla="*/ 2147483647 w 377"/>
              <a:gd name="T17" fmla="*/ 2147483647 h 678"/>
              <a:gd name="T18" fmla="*/ 2147483647 w 377"/>
              <a:gd name="T19" fmla="*/ 2147483647 h 678"/>
              <a:gd name="T20" fmla="*/ 2147483647 w 377"/>
              <a:gd name="T21" fmla="*/ 2147483647 h 678"/>
              <a:gd name="T22" fmla="*/ 2147483647 w 377"/>
              <a:gd name="T23" fmla="*/ 2147483647 h 678"/>
              <a:gd name="T24" fmla="*/ 2147483647 w 377"/>
              <a:gd name="T25" fmla="*/ 2147483647 h 678"/>
              <a:gd name="T26" fmla="*/ 2147483647 w 377"/>
              <a:gd name="T27" fmla="*/ 2147483647 h 678"/>
              <a:gd name="T28" fmla="*/ 0 w 377"/>
              <a:gd name="T29" fmla="*/ 2147483647 h 678"/>
              <a:gd name="T30" fmla="*/ 0 w 377"/>
              <a:gd name="T31" fmla="*/ 2147483647 h 678"/>
              <a:gd name="T32" fmla="*/ 0 w 377"/>
              <a:gd name="T33" fmla="*/ 2147483647 h 678"/>
              <a:gd name="T34" fmla="*/ 2147483647 w 377"/>
              <a:gd name="T35" fmla="*/ 2147483647 h 678"/>
              <a:gd name="T36" fmla="*/ 2147483647 w 377"/>
              <a:gd name="T37" fmla="*/ 2147483647 h 678"/>
              <a:gd name="T38" fmla="*/ 2147483647 w 377"/>
              <a:gd name="T39" fmla="*/ 2147483647 h 678"/>
              <a:gd name="T40" fmla="*/ 2147483647 w 377"/>
              <a:gd name="T41" fmla="*/ 2147483647 h 678"/>
              <a:gd name="T42" fmla="*/ 2147483647 w 377"/>
              <a:gd name="T43" fmla="*/ 2147483647 h 678"/>
              <a:gd name="T44" fmla="*/ 2147483647 w 377"/>
              <a:gd name="T45" fmla="*/ 2147483647 h 678"/>
              <a:gd name="T46" fmla="*/ 2147483647 w 377"/>
              <a:gd name="T47" fmla="*/ 2147483647 h 678"/>
              <a:gd name="T48" fmla="*/ 2147483647 w 377"/>
              <a:gd name="T49" fmla="*/ 2147483647 h 678"/>
              <a:gd name="T50" fmla="*/ 2147483647 w 377"/>
              <a:gd name="T51" fmla="*/ 2147483647 h 678"/>
              <a:gd name="T52" fmla="*/ 2147483647 w 377"/>
              <a:gd name="T53" fmla="*/ 2147483647 h 678"/>
              <a:gd name="T54" fmla="*/ 2147483647 w 377"/>
              <a:gd name="T55" fmla="*/ 2147483647 h 678"/>
              <a:gd name="T56" fmla="*/ 2147483647 w 377"/>
              <a:gd name="T57" fmla="*/ 2147483647 h 678"/>
              <a:gd name="T58" fmla="*/ 2147483647 w 377"/>
              <a:gd name="T59" fmla="*/ 0 h 678"/>
              <a:gd name="T60" fmla="*/ 2147483647 w 377"/>
              <a:gd name="T61" fmla="*/ 2147483647 h 678"/>
              <a:gd name="T62" fmla="*/ 2147483647 w 377"/>
              <a:gd name="T63" fmla="*/ 2147483647 h 6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7"/>
              <a:gd name="T97" fmla="*/ 0 h 678"/>
              <a:gd name="T98" fmla="*/ 377 w 377"/>
              <a:gd name="T99" fmla="*/ 678 h 67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7" h="678">
                <a:moveTo>
                  <a:pt x="82" y="33"/>
                </a:moveTo>
                <a:lnTo>
                  <a:pt x="82" y="49"/>
                </a:lnTo>
                <a:lnTo>
                  <a:pt x="65" y="82"/>
                </a:lnTo>
                <a:lnTo>
                  <a:pt x="65" y="132"/>
                </a:lnTo>
                <a:lnTo>
                  <a:pt x="49" y="132"/>
                </a:lnTo>
                <a:lnTo>
                  <a:pt x="32" y="181"/>
                </a:lnTo>
                <a:lnTo>
                  <a:pt x="16" y="264"/>
                </a:lnTo>
                <a:lnTo>
                  <a:pt x="32" y="313"/>
                </a:lnTo>
                <a:lnTo>
                  <a:pt x="32" y="363"/>
                </a:lnTo>
                <a:lnTo>
                  <a:pt x="32" y="396"/>
                </a:lnTo>
                <a:lnTo>
                  <a:pt x="49" y="413"/>
                </a:lnTo>
                <a:lnTo>
                  <a:pt x="32" y="446"/>
                </a:lnTo>
                <a:lnTo>
                  <a:pt x="32" y="479"/>
                </a:lnTo>
                <a:lnTo>
                  <a:pt x="16" y="495"/>
                </a:lnTo>
                <a:lnTo>
                  <a:pt x="0" y="544"/>
                </a:lnTo>
                <a:lnTo>
                  <a:pt x="0" y="578"/>
                </a:lnTo>
                <a:lnTo>
                  <a:pt x="0" y="595"/>
                </a:lnTo>
                <a:lnTo>
                  <a:pt x="180" y="595"/>
                </a:lnTo>
                <a:lnTo>
                  <a:pt x="196" y="627"/>
                </a:lnTo>
                <a:lnTo>
                  <a:pt x="228" y="661"/>
                </a:lnTo>
                <a:lnTo>
                  <a:pt x="245" y="677"/>
                </a:lnTo>
                <a:lnTo>
                  <a:pt x="278" y="677"/>
                </a:lnTo>
                <a:lnTo>
                  <a:pt x="278" y="661"/>
                </a:lnTo>
                <a:lnTo>
                  <a:pt x="294" y="644"/>
                </a:lnTo>
                <a:lnTo>
                  <a:pt x="311" y="644"/>
                </a:lnTo>
                <a:lnTo>
                  <a:pt x="326" y="644"/>
                </a:lnTo>
                <a:lnTo>
                  <a:pt x="359" y="627"/>
                </a:lnTo>
                <a:lnTo>
                  <a:pt x="376" y="627"/>
                </a:lnTo>
                <a:lnTo>
                  <a:pt x="343" y="446"/>
                </a:lnTo>
                <a:lnTo>
                  <a:pt x="326" y="0"/>
                </a:lnTo>
                <a:lnTo>
                  <a:pt x="114" y="16"/>
                </a:lnTo>
                <a:lnTo>
                  <a:pt x="82" y="33"/>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099" name="Freeform 26"/>
          <p:cNvSpPr>
            <a:spLocks/>
          </p:cNvSpPr>
          <p:nvPr/>
        </p:nvSpPr>
        <p:spPr bwMode="auto">
          <a:xfrm>
            <a:off x="5878513" y="2449130"/>
            <a:ext cx="1479550" cy="434578"/>
          </a:xfrm>
          <a:custGeom>
            <a:avLst/>
            <a:gdLst>
              <a:gd name="T0" fmla="*/ 2147483647 w 932"/>
              <a:gd name="T1" fmla="*/ 2147483647 h 365"/>
              <a:gd name="T2" fmla="*/ 2147483647 w 932"/>
              <a:gd name="T3" fmla="*/ 2147483647 h 365"/>
              <a:gd name="T4" fmla="*/ 2147483647 w 932"/>
              <a:gd name="T5" fmla="*/ 2147483647 h 365"/>
              <a:gd name="T6" fmla="*/ 2147483647 w 932"/>
              <a:gd name="T7" fmla="*/ 2147483647 h 365"/>
              <a:gd name="T8" fmla="*/ 2147483647 w 932"/>
              <a:gd name="T9" fmla="*/ 2147483647 h 365"/>
              <a:gd name="T10" fmla="*/ 2147483647 w 932"/>
              <a:gd name="T11" fmla="*/ 2147483647 h 365"/>
              <a:gd name="T12" fmla="*/ 2147483647 w 932"/>
              <a:gd name="T13" fmla="*/ 2147483647 h 365"/>
              <a:gd name="T14" fmla="*/ 2147483647 w 932"/>
              <a:gd name="T15" fmla="*/ 2147483647 h 365"/>
              <a:gd name="T16" fmla="*/ 2147483647 w 932"/>
              <a:gd name="T17" fmla="*/ 2147483647 h 365"/>
              <a:gd name="T18" fmla="*/ 2147483647 w 932"/>
              <a:gd name="T19" fmla="*/ 2147483647 h 365"/>
              <a:gd name="T20" fmla="*/ 2147483647 w 932"/>
              <a:gd name="T21" fmla="*/ 2147483647 h 365"/>
              <a:gd name="T22" fmla="*/ 0 w 932"/>
              <a:gd name="T23" fmla="*/ 2147483647 h 365"/>
              <a:gd name="T24" fmla="*/ 0 w 932"/>
              <a:gd name="T25" fmla="*/ 2147483647 h 365"/>
              <a:gd name="T26" fmla="*/ 2147483647 w 932"/>
              <a:gd name="T27" fmla="*/ 2147483647 h 365"/>
              <a:gd name="T28" fmla="*/ 2147483647 w 932"/>
              <a:gd name="T29" fmla="*/ 2147483647 h 365"/>
              <a:gd name="T30" fmla="*/ 2147483647 w 932"/>
              <a:gd name="T31" fmla="*/ 2147483647 h 365"/>
              <a:gd name="T32" fmla="*/ 2147483647 w 932"/>
              <a:gd name="T33" fmla="*/ 2147483647 h 365"/>
              <a:gd name="T34" fmla="*/ 2147483647 w 932"/>
              <a:gd name="T35" fmla="*/ 2147483647 h 365"/>
              <a:gd name="T36" fmla="*/ 2147483647 w 932"/>
              <a:gd name="T37" fmla="*/ 2147483647 h 365"/>
              <a:gd name="T38" fmla="*/ 2147483647 w 932"/>
              <a:gd name="T39" fmla="*/ 2147483647 h 365"/>
              <a:gd name="T40" fmla="*/ 2147483647 w 932"/>
              <a:gd name="T41" fmla="*/ 2147483647 h 365"/>
              <a:gd name="T42" fmla="*/ 2147483647 w 932"/>
              <a:gd name="T43" fmla="*/ 2147483647 h 365"/>
              <a:gd name="T44" fmla="*/ 2147483647 w 932"/>
              <a:gd name="T45" fmla="*/ 2147483647 h 365"/>
              <a:gd name="T46" fmla="*/ 2147483647 w 932"/>
              <a:gd name="T47" fmla="*/ 2147483647 h 365"/>
              <a:gd name="T48" fmla="*/ 2147483647 w 932"/>
              <a:gd name="T49" fmla="*/ 2147483647 h 365"/>
              <a:gd name="T50" fmla="*/ 2147483647 w 932"/>
              <a:gd name="T51" fmla="*/ 2147483647 h 365"/>
              <a:gd name="T52" fmla="*/ 2147483647 w 932"/>
              <a:gd name="T53" fmla="*/ 2147483647 h 365"/>
              <a:gd name="T54" fmla="*/ 2147483647 w 932"/>
              <a:gd name="T55" fmla="*/ 2147483647 h 365"/>
              <a:gd name="T56" fmla="*/ 2147483647 w 932"/>
              <a:gd name="T57" fmla="*/ 2147483647 h 365"/>
              <a:gd name="T58" fmla="*/ 2147483647 w 932"/>
              <a:gd name="T59" fmla="*/ 2147483647 h 365"/>
              <a:gd name="T60" fmla="*/ 2147483647 w 932"/>
              <a:gd name="T61" fmla="*/ 0 h 365"/>
              <a:gd name="T62" fmla="*/ 2147483647 w 932"/>
              <a:gd name="T63" fmla="*/ 0 h 365"/>
              <a:gd name="T64" fmla="*/ 2147483647 w 932"/>
              <a:gd name="T65" fmla="*/ 2147483647 h 365"/>
              <a:gd name="T66" fmla="*/ 2147483647 w 932"/>
              <a:gd name="T67" fmla="*/ 2147483647 h 365"/>
              <a:gd name="T68" fmla="*/ 2147483647 w 932"/>
              <a:gd name="T69" fmla="*/ 2147483647 h 3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32"/>
              <a:gd name="T106" fmla="*/ 0 h 365"/>
              <a:gd name="T107" fmla="*/ 932 w 932"/>
              <a:gd name="T108" fmla="*/ 365 h 3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32" h="365">
                <a:moveTo>
                  <a:pt x="473" y="99"/>
                </a:moveTo>
                <a:lnTo>
                  <a:pt x="342" y="116"/>
                </a:lnTo>
                <a:lnTo>
                  <a:pt x="245" y="116"/>
                </a:lnTo>
                <a:lnTo>
                  <a:pt x="196" y="148"/>
                </a:lnTo>
                <a:lnTo>
                  <a:pt x="49" y="165"/>
                </a:lnTo>
                <a:lnTo>
                  <a:pt x="32" y="182"/>
                </a:lnTo>
                <a:lnTo>
                  <a:pt x="32" y="198"/>
                </a:lnTo>
                <a:lnTo>
                  <a:pt x="32" y="231"/>
                </a:lnTo>
                <a:lnTo>
                  <a:pt x="32" y="248"/>
                </a:lnTo>
                <a:lnTo>
                  <a:pt x="32" y="281"/>
                </a:lnTo>
                <a:lnTo>
                  <a:pt x="16" y="281"/>
                </a:lnTo>
                <a:lnTo>
                  <a:pt x="0" y="297"/>
                </a:lnTo>
                <a:lnTo>
                  <a:pt x="0" y="330"/>
                </a:lnTo>
                <a:lnTo>
                  <a:pt x="16" y="330"/>
                </a:lnTo>
                <a:lnTo>
                  <a:pt x="16" y="364"/>
                </a:lnTo>
                <a:lnTo>
                  <a:pt x="228" y="347"/>
                </a:lnTo>
                <a:lnTo>
                  <a:pt x="473" y="314"/>
                </a:lnTo>
                <a:lnTo>
                  <a:pt x="637" y="281"/>
                </a:lnTo>
                <a:lnTo>
                  <a:pt x="670" y="231"/>
                </a:lnTo>
                <a:lnTo>
                  <a:pt x="702" y="198"/>
                </a:lnTo>
                <a:lnTo>
                  <a:pt x="718" y="198"/>
                </a:lnTo>
                <a:lnTo>
                  <a:pt x="735" y="198"/>
                </a:lnTo>
                <a:lnTo>
                  <a:pt x="751" y="165"/>
                </a:lnTo>
                <a:lnTo>
                  <a:pt x="784" y="148"/>
                </a:lnTo>
                <a:lnTo>
                  <a:pt x="784" y="116"/>
                </a:lnTo>
                <a:lnTo>
                  <a:pt x="833" y="99"/>
                </a:lnTo>
                <a:lnTo>
                  <a:pt x="849" y="82"/>
                </a:lnTo>
                <a:lnTo>
                  <a:pt x="866" y="66"/>
                </a:lnTo>
                <a:lnTo>
                  <a:pt x="866" y="50"/>
                </a:lnTo>
                <a:lnTo>
                  <a:pt x="882" y="50"/>
                </a:lnTo>
                <a:lnTo>
                  <a:pt x="931" y="0"/>
                </a:lnTo>
                <a:lnTo>
                  <a:pt x="882" y="0"/>
                </a:lnTo>
                <a:lnTo>
                  <a:pt x="702" y="50"/>
                </a:lnTo>
                <a:lnTo>
                  <a:pt x="604" y="82"/>
                </a:lnTo>
                <a:lnTo>
                  <a:pt x="473" y="99"/>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0" name="Freeform 27"/>
          <p:cNvSpPr>
            <a:spLocks/>
          </p:cNvSpPr>
          <p:nvPr/>
        </p:nvSpPr>
        <p:spPr bwMode="auto">
          <a:xfrm>
            <a:off x="6891341" y="2291954"/>
            <a:ext cx="1504950" cy="513159"/>
          </a:xfrm>
          <a:custGeom>
            <a:avLst/>
            <a:gdLst>
              <a:gd name="T0" fmla="*/ 2147483647 w 948"/>
              <a:gd name="T1" fmla="*/ 2147483647 h 431"/>
              <a:gd name="T2" fmla="*/ 2147483647 w 948"/>
              <a:gd name="T3" fmla="*/ 0 h 431"/>
              <a:gd name="T4" fmla="*/ 2147483647 w 948"/>
              <a:gd name="T5" fmla="*/ 2147483647 h 431"/>
              <a:gd name="T6" fmla="*/ 2147483647 w 948"/>
              <a:gd name="T7" fmla="*/ 2147483647 h 431"/>
              <a:gd name="T8" fmla="*/ 2147483647 w 948"/>
              <a:gd name="T9" fmla="*/ 2147483647 h 431"/>
              <a:gd name="T10" fmla="*/ 2147483647 w 948"/>
              <a:gd name="T11" fmla="*/ 2147483647 h 431"/>
              <a:gd name="T12" fmla="*/ 2147483647 w 948"/>
              <a:gd name="T13" fmla="*/ 2147483647 h 431"/>
              <a:gd name="T14" fmla="*/ 2147483647 w 948"/>
              <a:gd name="T15" fmla="*/ 2147483647 h 431"/>
              <a:gd name="T16" fmla="*/ 2147483647 w 948"/>
              <a:gd name="T17" fmla="*/ 2147483647 h 431"/>
              <a:gd name="T18" fmla="*/ 2147483647 w 948"/>
              <a:gd name="T19" fmla="*/ 2147483647 h 431"/>
              <a:gd name="T20" fmla="*/ 2147483647 w 948"/>
              <a:gd name="T21" fmla="*/ 2147483647 h 431"/>
              <a:gd name="T22" fmla="*/ 2147483647 w 948"/>
              <a:gd name="T23" fmla="*/ 2147483647 h 431"/>
              <a:gd name="T24" fmla="*/ 2147483647 w 948"/>
              <a:gd name="T25" fmla="*/ 2147483647 h 431"/>
              <a:gd name="T26" fmla="*/ 2147483647 w 948"/>
              <a:gd name="T27" fmla="*/ 2147483647 h 431"/>
              <a:gd name="T28" fmla="*/ 2147483647 w 948"/>
              <a:gd name="T29" fmla="*/ 2147483647 h 431"/>
              <a:gd name="T30" fmla="*/ 2147483647 w 948"/>
              <a:gd name="T31" fmla="*/ 2147483647 h 431"/>
              <a:gd name="T32" fmla="*/ 2147483647 w 948"/>
              <a:gd name="T33" fmla="*/ 2147483647 h 431"/>
              <a:gd name="T34" fmla="*/ 2147483647 w 948"/>
              <a:gd name="T35" fmla="*/ 2147483647 h 431"/>
              <a:gd name="T36" fmla="*/ 2147483647 w 948"/>
              <a:gd name="T37" fmla="*/ 2147483647 h 431"/>
              <a:gd name="T38" fmla="*/ 2147483647 w 948"/>
              <a:gd name="T39" fmla="*/ 2147483647 h 431"/>
              <a:gd name="T40" fmla="*/ 2147483647 w 948"/>
              <a:gd name="T41" fmla="*/ 2147483647 h 431"/>
              <a:gd name="T42" fmla="*/ 2147483647 w 948"/>
              <a:gd name="T43" fmla="*/ 2147483647 h 431"/>
              <a:gd name="T44" fmla="*/ 2147483647 w 948"/>
              <a:gd name="T45" fmla="*/ 2147483647 h 431"/>
              <a:gd name="T46" fmla="*/ 2147483647 w 948"/>
              <a:gd name="T47" fmla="*/ 2147483647 h 431"/>
              <a:gd name="T48" fmla="*/ 2147483647 w 948"/>
              <a:gd name="T49" fmla="*/ 2147483647 h 431"/>
              <a:gd name="T50" fmla="*/ 2147483647 w 948"/>
              <a:gd name="T51" fmla="*/ 2147483647 h 431"/>
              <a:gd name="T52" fmla="*/ 2147483647 w 948"/>
              <a:gd name="T53" fmla="*/ 2147483647 h 431"/>
              <a:gd name="T54" fmla="*/ 2147483647 w 948"/>
              <a:gd name="T55" fmla="*/ 2147483647 h 431"/>
              <a:gd name="T56" fmla="*/ 2147483647 w 948"/>
              <a:gd name="T57" fmla="*/ 2147483647 h 431"/>
              <a:gd name="T58" fmla="*/ 2147483647 w 948"/>
              <a:gd name="T59" fmla="*/ 2147483647 h 431"/>
              <a:gd name="T60" fmla="*/ 0 w 948"/>
              <a:gd name="T61" fmla="*/ 2147483647 h 431"/>
              <a:gd name="T62" fmla="*/ 2147483647 w 948"/>
              <a:gd name="T63" fmla="*/ 2147483647 h 431"/>
              <a:gd name="T64" fmla="*/ 2147483647 w 948"/>
              <a:gd name="T65" fmla="*/ 2147483647 h 431"/>
              <a:gd name="T66" fmla="*/ 2147483647 w 948"/>
              <a:gd name="T67" fmla="*/ 2147483647 h 431"/>
              <a:gd name="T68" fmla="*/ 2147483647 w 948"/>
              <a:gd name="T69" fmla="*/ 2147483647 h 431"/>
              <a:gd name="T70" fmla="*/ 2147483647 w 948"/>
              <a:gd name="T71" fmla="*/ 2147483647 h 431"/>
              <a:gd name="T72" fmla="*/ 2147483647 w 948"/>
              <a:gd name="T73" fmla="*/ 2147483647 h 431"/>
              <a:gd name="T74" fmla="*/ 2147483647 w 948"/>
              <a:gd name="T75" fmla="*/ 2147483647 h 43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48"/>
              <a:gd name="T115" fmla="*/ 0 h 431"/>
              <a:gd name="T116" fmla="*/ 948 w 948"/>
              <a:gd name="T117" fmla="*/ 431 h 43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48" h="431">
                <a:moveTo>
                  <a:pt x="506" y="98"/>
                </a:moveTo>
                <a:lnTo>
                  <a:pt x="750" y="49"/>
                </a:lnTo>
                <a:lnTo>
                  <a:pt x="849" y="15"/>
                </a:lnTo>
                <a:lnTo>
                  <a:pt x="881" y="0"/>
                </a:lnTo>
                <a:lnTo>
                  <a:pt x="881" y="15"/>
                </a:lnTo>
                <a:lnTo>
                  <a:pt x="849" y="49"/>
                </a:lnTo>
                <a:lnTo>
                  <a:pt x="816" y="49"/>
                </a:lnTo>
                <a:lnTo>
                  <a:pt x="799" y="49"/>
                </a:lnTo>
                <a:lnTo>
                  <a:pt x="783" y="66"/>
                </a:lnTo>
                <a:lnTo>
                  <a:pt x="832" y="81"/>
                </a:lnTo>
                <a:lnTo>
                  <a:pt x="881" y="49"/>
                </a:lnTo>
                <a:lnTo>
                  <a:pt x="897" y="49"/>
                </a:lnTo>
                <a:lnTo>
                  <a:pt x="897" y="66"/>
                </a:lnTo>
                <a:lnTo>
                  <a:pt x="897" y="98"/>
                </a:lnTo>
                <a:lnTo>
                  <a:pt x="897" y="115"/>
                </a:lnTo>
                <a:lnTo>
                  <a:pt x="897" y="131"/>
                </a:lnTo>
                <a:lnTo>
                  <a:pt x="881" y="148"/>
                </a:lnTo>
                <a:lnTo>
                  <a:pt x="849" y="131"/>
                </a:lnTo>
                <a:lnTo>
                  <a:pt x="816" y="148"/>
                </a:lnTo>
                <a:lnTo>
                  <a:pt x="849" y="148"/>
                </a:lnTo>
                <a:lnTo>
                  <a:pt x="849" y="181"/>
                </a:lnTo>
                <a:lnTo>
                  <a:pt x="816" y="197"/>
                </a:lnTo>
                <a:lnTo>
                  <a:pt x="783" y="231"/>
                </a:lnTo>
                <a:lnTo>
                  <a:pt x="832" y="231"/>
                </a:lnTo>
                <a:lnTo>
                  <a:pt x="849" y="197"/>
                </a:lnTo>
                <a:lnTo>
                  <a:pt x="864" y="214"/>
                </a:lnTo>
                <a:lnTo>
                  <a:pt x="881" y="181"/>
                </a:lnTo>
                <a:lnTo>
                  <a:pt x="897" y="181"/>
                </a:lnTo>
                <a:lnTo>
                  <a:pt x="914" y="131"/>
                </a:lnTo>
                <a:lnTo>
                  <a:pt x="930" y="131"/>
                </a:lnTo>
                <a:lnTo>
                  <a:pt x="947" y="98"/>
                </a:lnTo>
                <a:lnTo>
                  <a:pt x="947" y="115"/>
                </a:lnTo>
                <a:lnTo>
                  <a:pt x="947" y="131"/>
                </a:lnTo>
                <a:lnTo>
                  <a:pt x="914" y="181"/>
                </a:lnTo>
                <a:lnTo>
                  <a:pt x="897" y="214"/>
                </a:lnTo>
                <a:lnTo>
                  <a:pt x="881" y="231"/>
                </a:lnTo>
                <a:lnTo>
                  <a:pt x="881" y="263"/>
                </a:lnTo>
                <a:lnTo>
                  <a:pt x="849" y="263"/>
                </a:lnTo>
                <a:lnTo>
                  <a:pt x="799" y="280"/>
                </a:lnTo>
                <a:lnTo>
                  <a:pt x="783" y="314"/>
                </a:lnTo>
                <a:lnTo>
                  <a:pt x="783" y="330"/>
                </a:lnTo>
                <a:lnTo>
                  <a:pt x="750" y="346"/>
                </a:lnTo>
                <a:lnTo>
                  <a:pt x="734" y="363"/>
                </a:lnTo>
                <a:lnTo>
                  <a:pt x="750" y="380"/>
                </a:lnTo>
                <a:lnTo>
                  <a:pt x="718" y="413"/>
                </a:lnTo>
                <a:lnTo>
                  <a:pt x="685" y="413"/>
                </a:lnTo>
                <a:lnTo>
                  <a:pt x="669" y="430"/>
                </a:lnTo>
                <a:lnTo>
                  <a:pt x="652" y="430"/>
                </a:lnTo>
                <a:lnTo>
                  <a:pt x="554" y="380"/>
                </a:lnTo>
                <a:lnTo>
                  <a:pt x="506" y="330"/>
                </a:lnTo>
                <a:lnTo>
                  <a:pt x="407" y="363"/>
                </a:lnTo>
                <a:lnTo>
                  <a:pt x="375" y="330"/>
                </a:lnTo>
                <a:lnTo>
                  <a:pt x="179" y="363"/>
                </a:lnTo>
                <a:lnTo>
                  <a:pt x="163" y="363"/>
                </a:lnTo>
                <a:lnTo>
                  <a:pt x="147" y="380"/>
                </a:lnTo>
                <a:lnTo>
                  <a:pt x="147" y="396"/>
                </a:lnTo>
                <a:lnTo>
                  <a:pt x="130" y="396"/>
                </a:lnTo>
                <a:lnTo>
                  <a:pt x="97" y="380"/>
                </a:lnTo>
                <a:lnTo>
                  <a:pt x="81" y="396"/>
                </a:lnTo>
                <a:lnTo>
                  <a:pt x="49" y="396"/>
                </a:lnTo>
                <a:lnTo>
                  <a:pt x="32" y="413"/>
                </a:lnTo>
                <a:lnTo>
                  <a:pt x="0" y="413"/>
                </a:lnTo>
                <a:lnTo>
                  <a:pt x="32" y="363"/>
                </a:lnTo>
                <a:lnTo>
                  <a:pt x="64" y="330"/>
                </a:lnTo>
                <a:lnTo>
                  <a:pt x="81" y="330"/>
                </a:lnTo>
                <a:lnTo>
                  <a:pt x="97" y="330"/>
                </a:lnTo>
                <a:lnTo>
                  <a:pt x="114" y="297"/>
                </a:lnTo>
                <a:lnTo>
                  <a:pt x="147" y="280"/>
                </a:lnTo>
                <a:lnTo>
                  <a:pt x="147" y="248"/>
                </a:lnTo>
                <a:lnTo>
                  <a:pt x="195" y="231"/>
                </a:lnTo>
                <a:lnTo>
                  <a:pt x="212" y="214"/>
                </a:lnTo>
                <a:lnTo>
                  <a:pt x="228" y="197"/>
                </a:lnTo>
                <a:lnTo>
                  <a:pt x="228" y="181"/>
                </a:lnTo>
                <a:lnTo>
                  <a:pt x="244" y="181"/>
                </a:lnTo>
                <a:lnTo>
                  <a:pt x="277" y="148"/>
                </a:lnTo>
                <a:lnTo>
                  <a:pt x="506" y="98"/>
                </a:lnTo>
              </a:path>
            </a:pathLst>
          </a:custGeom>
          <a:solidFill>
            <a:srgbClr val="00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1" name="Freeform 28"/>
          <p:cNvSpPr>
            <a:spLocks/>
          </p:cNvSpPr>
          <p:nvPr/>
        </p:nvSpPr>
        <p:spPr bwMode="auto">
          <a:xfrm>
            <a:off x="6580207" y="1526381"/>
            <a:ext cx="727075" cy="648891"/>
          </a:xfrm>
          <a:custGeom>
            <a:avLst/>
            <a:gdLst>
              <a:gd name="T0" fmla="*/ 2147483647 w 458"/>
              <a:gd name="T1" fmla="*/ 2147483647 h 545"/>
              <a:gd name="T2" fmla="*/ 2147483647 w 458"/>
              <a:gd name="T3" fmla="*/ 2147483647 h 545"/>
              <a:gd name="T4" fmla="*/ 2147483647 w 458"/>
              <a:gd name="T5" fmla="*/ 2147483647 h 545"/>
              <a:gd name="T6" fmla="*/ 2147483647 w 458"/>
              <a:gd name="T7" fmla="*/ 2147483647 h 545"/>
              <a:gd name="T8" fmla="*/ 2147483647 w 458"/>
              <a:gd name="T9" fmla="*/ 2147483647 h 545"/>
              <a:gd name="T10" fmla="*/ 2147483647 w 458"/>
              <a:gd name="T11" fmla="*/ 2147483647 h 545"/>
              <a:gd name="T12" fmla="*/ 2147483647 w 458"/>
              <a:gd name="T13" fmla="*/ 2147483647 h 545"/>
              <a:gd name="T14" fmla="*/ 2147483647 w 458"/>
              <a:gd name="T15" fmla="*/ 2147483647 h 545"/>
              <a:gd name="T16" fmla="*/ 2147483647 w 458"/>
              <a:gd name="T17" fmla="*/ 2147483647 h 545"/>
              <a:gd name="T18" fmla="*/ 2147483647 w 458"/>
              <a:gd name="T19" fmla="*/ 2147483647 h 545"/>
              <a:gd name="T20" fmla="*/ 2147483647 w 458"/>
              <a:gd name="T21" fmla="*/ 2147483647 h 545"/>
              <a:gd name="T22" fmla="*/ 2147483647 w 458"/>
              <a:gd name="T23" fmla="*/ 2147483647 h 545"/>
              <a:gd name="T24" fmla="*/ 2147483647 w 458"/>
              <a:gd name="T25" fmla="*/ 2147483647 h 545"/>
              <a:gd name="T26" fmla="*/ 2147483647 w 458"/>
              <a:gd name="T27" fmla="*/ 2147483647 h 545"/>
              <a:gd name="T28" fmla="*/ 2147483647 w 458"/>
              <a:gd name="T29" fmla="*/ 2147483647 h 545"/>
              <a:gd name="T30" fmla="*/ 2147483647 w 458"/>
              <a:gd name="T31" fmla="*/ 2147483647 h 545"/>
              <a:gd name="T32" fmla="*/ 2147483647 w 458"/>
              <a:gd name="T33" fmla="*/ 2147483647 h 545"/>
              <a:gd name="T34" fmla="*/ 2147483647 w 458"/>
              <a:gd name="T35" fmla="*/ 2147483647 h 545"/>
              <a:gd name="T36" fmla="*/ 2147483647 w 458"/>
              <a:gd name="T37" fmla="*/ 2147483647 h 545"/>
              <a:gd name="T38" fmla="*/ 2147483647 w 458"/>
              <a:gd name="T39" fmla="*/ 2147483647 h 545"/>
              <a:gd name="T40" fmla="*/ 2147483647 w 458"/>
              <a:gd name="T41" fmla="*/ 2147483647 h 545"/>
              <a:gd name="T42" fmla="*/ 2147483647 w 458"/>
              <a:gd name="T43" fmla="*/ 2147483647 h 545"/>
              <a:gd name="T44" fmla="*/ 2147483647 w 458"/>
              <a:gd name="T45" fmla="*/ 2147483647 h 545"/>
              <a:gd name="T46" fmla="*/ 0 w 458"/>
              <a:gd name="T47" fmla="*/ 2147483647 h 545"/>
              <a:gd name="T48" fmla="*/ 2147483647 w 458"/>
              <a:gd name="T49" fmla="*/ 2147483647 h 545"/>
              <a:gd name="T50" fmla="*/ 2147483647 w 458"/>
              <a:gd name="T51" fmla="*/ 2147483647 h 545"/>
              <a:gd name="T52" fmla="*/ 2147483647 w 458"/>
              <a:gd name="T53" fmla="*/ 2147483647 h 545"/>
              <a:gd name="T54" fmla="*/ 2147483647 w 458"/>
              <a:gd name="T55" fmla="*/ 2147483647 h 545"/>
              <a:gd name="T56" fmla="*/ 2147483647 w 458"/>
              <a:gd name="T57" fmla="*/ 2147483647 h 545"/>
              <a:gd name="T58" fmla="*/ 2147483647 w 458"/>
              <a:gd name="T59" fmla="*/ 0 h 545"/>
              <a:gd name="T60" fmla="*/ 2147483647 w 458"/>
              <a:gd name="T61" fmla="*/ 2147483647 h 5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8"/>
              <a:gd name="T94" fmla="*/ 0 h 545"/>
              <a:gd name="T95" fmla="*/ 458 w 458"/>
              <a:gd name="T96" fmla="*/ 545 h 54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8" h="545">
                <a:moveTo>
                  <a:pt x="457" y="213"/>
                </a:moveTo>
                <a:lnTo>
                  <a:pt x="440" y="230"/>
                </a:lnTo>
                <a:lnTo>
                  <a:pt x="440" y="362"/>
                </a:lnTo>
                <a:lnTo>
                  <a:pt x="424" y="379"/>
                </a:lnTo>
                <a:lnTo>
                  <a:pt x="391" y="379"/>
                </a:lnTo>
                <a:lnTo>
                  <a:pt x="391" y="411"/>
                </a:lnTo>
                <a:lnTo>
                  <a:pt x="374" y="411"/>
                </a:lnTo>
                <a:lnTo>
                  <a:pt x="374" y="461"/>
                </a:lnTo>
                <a:lnTo>
                  <a:pt x="342" y="461"/>
                </a:lnTo>
                <a:lnTo>
                  <a:pt x="342" y="494"/>
                </a:lnTo>
                <a:lnTo>
                  <a:pt x="342" y="511"/>
                </a:lnTo>
                <a:lnTo>
                  <a:pt x="342" y="527"/>
                </a:lnTo>
                <a:lnTo>
                  <a:pt x="326" y="544"/>
                </a:lnTo>
                <a:lnTo>
                  <a:pt x="342" y="527"/>
                </a:lnTo>
                <a:lnTo>
                  <a:pt x="326" y="544"/>
                </a:lnTo>
                <a:lnTo>
                  <a:pt x="276" y="527"/>
                </a:lnTo>
                <a:lnTo>
                  <a:pt x="276" y="511"/>
                </a:lnTo>
                <a:lnTo>
                  <a:pt x="244" y="527"/>
                </a:lnTo>
                <a:lnTo>
                  <a:pt x="228" y="527"/>
                </a:lnTo>
                <a:lnTo>
                  <a:pt x="179" y="527"/>
                </a:lnTo>
                <a:lnTo>
                  <a:pt x="162" y="527"/>
                </a:lnTo>
                <a:lnTo>
                  <a:pt x="114" y="494"/>
                </a:lnTo>
                <a:lnTo>
                  <a:pt x="48" y="494"/>
                </a:lnTo>
                <a:lnTo>
                  <a:pt x="0" y="147"/>
                </a:lnTo>
                <a:lnTo>
                  <a:pt x="179" y="115"/>
                </a:lnTo>
                <a:lnTo>
                  <a:pt x="228" y="132"/>
                </a:lnTo>
                <a:lnTo>
                  <a:pt x="293" y="115"/>
                </a:lnTo>
                <a:lnTo>
                  <a:pt x="342" y="81"/>
                </a:lnTo>
                <a:lnTo>
                  <a:pt x="359" y="32"/>
                </a:lnTo>
                <a:lnTo>
                  <a:pt x="407" y="0"/>
                </a:lnTo>
                <a:lnTo>
                  <a:pt x="457" y="213"/>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2" name="Freeform 29"/>
          <p:cNvSpPr>
            <a:spLocks/>
          </p:cNvSpPr>
          <p:nvPr/>
        </p:nvSpPr>
        <p:spPr bwMode="auto">
          <a:xfrm>
            <a:off x="6992940" y="1897871"/>
            <a:ext cx="1271587" cy="613172"/>
          </a:xfrm>
          <a:custGeom>
            <a:avLst/>
            <a:gdLst>
              <a:gd name="T0" fmla="*/ 2147483647 w 801"/>
              <a:gd name="T1" fmla="*/ 2147483647 h 515"/>
              <a:gd name="T2" fmla="*/ 2147483647 w 801"/>
              <a:gd name="T3" fmla="*/ 2147483647 h 515"/>
              <a:gd name="T4" fmla="*/ 2147483647 w 801"/>
              <a:gd name="T5" fmla="*/ 2147483647 h 515"/>
              <a:gd name="T6" fmla="*/ 2147483647 w 801"/>
              <a:gd name="T7" fmla="*/ 2147483647 h 515"/>
              <a:gd name="T8" fmla="*/ 2147483647 w 801"/>
              <a:gd name="T9" fmla="*/ 2147483647 h 515"/>
              <a:gd name="T10" fmla="*/ 2147483647 w 801"/>
              <a:gd name="T11" fmla="*/ 2147483647 h 515"/>
              <a:gd name="T12" fmla="*/ 2147483647 w 801"/>
              <a:gd name="T13" fmla="*/ 0 h 515"/>
              <a:gd name="T14" fmla="*/ 2147483647 w 801"/>
              <a:gd name="T15" fmla="*/ 0 h 515"/>
              <a:gd name="T16" fmla="*/ 2147483647 w 801"/>
              <a:gd name="T17" fmla="*/ 0 h 515"/>
              <a:gd name="T18" fmla="*/ 2147483647 w 801"/>
              <a:gd name="T19" fmla="*/ 2147483647 h 515"/>
              <a:gd name="T20" fmla="*/ 2147483647 w 801"/>
              <a:gd name="T21" fmla="*/ 2147483647 h 515"/>
              <a:gd name="T22" fmla="*/ 2147483647 w 801"/>
              <a:gd name="T23" fmla="*/ 2147483647 h 515"/>
              <a:gd name="T24" fmla="*/ 2147483647 w 801"/>
              <a:gd name="T25" fmla="*/ 2147483647 h 515"/>
              <a:gd name="T26" fmla="*/ 2147483647 w 801"/>
              <a:gd name="T27" fmla="*/ 2147483647 h 515"/>
              <a:gd name="T28" fmla="*/ 2147483647 w 801"/>
              <a:gd name="T29" fmla="*/ 2147483647 h 515"/>
              <a:gd name="T30" fmla="*/ 2147483647 w 801"/>
              <a:gd name="T31" fmla="*/ 2147483647 h 515"/>
              <a:gd name="T32" fmla="*/ 2147483647 w 801"/>
              <a:gd name="T33" fmla="*/ 2147483647 h 515"/>
              <a:gd name="T34" fmla="*/ 2147483647 w 801"/>
              <a:gd name="T35" fmla="*/ 2147483647 h 515"/>
              <a:gd name="T36" fmla="*/ 2147483647 w 801"/>
              <a:gd name="T37" fmla="*/ 2147483647 h 515"/>
              <a:gd name="T38" fmla="*/ 2147483647 w 801"/>
              <a:gd name="T39" fmla="*/ 2147483647 h 515"/>
              <a:gd name="T40" fmla="*/ 2147483647 w 801"/>
              <a:gd name="T41" fmla="*/ 2147483647 h 515"/>
              <a:gd name="T42" fmla="*/ 2147483647 w 801"/>
              <a:gd name="T43" fmla="*/ 2147483647 h 515"/>
              <a:gd name="T44" fmla="*/ 2147483647 w 801"/>
              <a:gd name="T45" fmla="*/ 2147483647 h 515"/>
              <a:gd name="T46" fmla="*/ 2147483647 w 801"/>
              <a:gd name="T47" fmla="*/ 2147483647 h 515"/>
              <a:gd name="T48" fmla="*/ 0 w 801"/>
              <a:gd name="T49" fmla="*/ 2147483647 h 515"/>
              <a:gd name="T50" fmla="*/ 2147483647 w 801"/>
              <a:gd name="T51" fmla="*/ 2147483647 h 515"/>
              <a:gd name="T52" fmla="*/ 2147483647 w 801"/>
              <a:gd name="T53" fmla="*/ 2147483647 h 515"/>
              <a:gd name="T54" fmla="*/ 2147483647 w 801"/>
              <a:gd name="T55" fmla="*/ 2147483647 h 515"/>
              <a:gd name="T56" fmla="*/ 2147483647 w 801"/>
              <a:gd name="T57" fmla="*/ 2147483647 h 515"/>
              <a:gd name="T58" fmla="*/ 2147483647 w 801"/>
              <a:gd name="T59" fmla="*/ 2147483647 h 515"/>
              <a:gd name="T60" fmla="*/ 2147483647 w 801"/>
              <a:gd name="T61" fmla="*/ 2147483647 h 515"/>
              <a:gd name="T62" fmla="*/ 2147483647 w 801"/>
              <a:gd name="T63" fmla="*/ 2147483647 h 515"/>
              <a:gd name="T64" fmla="*/ 2147483647 w 801"/>
              <a:gd name="T65" fmla="*/ 2147483647 h 515"/>
              <a:gd name="T66" fmla="*/ 2147483647 w 801"/>
              <a:gd name="T67" fmla="*/ 2147483647 h 515"/>
              <a:gd name="T68" fmla="*/ 2147483647 w 801"/>
              <a:gd name="T69" fmla="*/ 2147483647 h 515"/>
              <a:gd name="T70" fmla="*/ 2147483647 w 801"/>
              <a:gd name="T71" fmla="*/ 2147483647 h 515"/>
              <a:gd name="T72" fmla="*/ 2147483647 w 801"/>
              <a:gd name="T73" fmla="*/ 2147483647 h 5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1"/>
              <a:gd name="T112" fmla="*/ 0 h 515"/>
              <a:gd name="T113" fmla="*/ 801 w 801"/>
              <a:gd name="T114" fmla="*/ 515 h 5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1" h="515">
                <a:moveTo>
                  <a:pt x="327" y="231"/>
                </a:moveTo>
                <a:lnTo>
                  <a:pt x="342" y="214"/>
                </a:lnTo>
                <a:lnTo>
                  <a:pt x="359" y="165"/>
                </a:lnTo>
                <a:lnTo>
                  <a:pt x="375" y="165"/>
                </a:lnTo>
                <a:lnTo>
                  <a:pt x="392" y="148"/>
                </a:lnTo>
                <a:lnTo>
                  <a:pt x="408" y="148"/>
                </a:lnTo>
                <a:lnTo>
                  <a:pt x="408" y="115"/>
                </a:lnTo>
                <a:lnTo>
                  <a:pt x="408" y="98"/>
                </a:lnTo>
                <a:lnTo>
                  <a:pt x="425" y="98"/>
                </a:lnTo>
                <a:lnTo>
                  <a:pt x="425" y="66"/>
                </a:lnTo>
                <a:lnTo>
                  <a:pt x="441" y="49"/>
                </a:lnTo>
                <a:lnTo>
                  <a:pt x="441" y="32"/>
                </a:lnTo>
                <a:lnTo>
                  <a:pt x="441" y="15"/>
                </a:lnTo>
                <a:lnTo>
                  <a:pt x="457" y="0"/>
                </a:lnTo>
                <a:lnTo>
                  <a:pt x="473" y="15"/>
                </a:lnTo>
                <a:lnTo>
                  <a:pt x="490" y="0"/>
                </a:lnTo>
                <a:lnTo>
                  <a:pt x="506" y="0"/>
                </a:lnTo>
                <a:lnTo>
                  <a:pt x="523" y="0"/>
                </a:lnTo>
                <a:lnTo>
                  <a:pt x="539" y="15"/>
                </a:lnTo>
                <a:lnTo>
                  <a:pt x="555" y="15"/>
                </a:lnTo>
                <a:lnTo>
                  <a:pt x="555" y="32"/>
                </a:lnTo>
                <a:lnTo>
                  <a:pt x="587" y="49"/>
                </a:lnTo>
                <a:lnTo>
                  <a:pt x="587" y="66"/>
                </a:lnTo>
                <a:lnTo>
                  <a:pt x="587" y="82"/>
                </a:lnTo>
                <a:lnTo>
                  <a:pt x="587" y="98"/>
                </a:lnTo>
                <a:lnTo>
                  <a:pt x="587" y="115"/>
                </a:lnTo>
                <a:lnTo>
                  <a:pt x="604" y="115"/>
                </a:lnTo>
                <a:lnTo>
                  <a:pt x="620" y="98"/>
                </a:lnTo>
                <a:lnTo>
                  <a:pt x="637" y="98"/>
                </a:lnTo>
                <a:lnTo>
                  <a:pt x="670" y="98"/>
                </a:lnTo>
                <a:lnTo>
                  <a:pt x="653" y="115"/>
                </a:lnTo>
                <a:lnTo>
                  <a:pt x="702" y="148"/>
                </a:lnTo>
                <a:lnTo>
                  <a:pt x="718" y="148"/>
                </a:lnTo>
                <a:lnTo>
                  <a:pt x="718" y="165"/>
                </a:lnTo>
                <a:lnTo>
                  <a:pt x="718" y="182"/>
                </a:lnTo>
                <a:lnTo>
                  <a:pt x="718" y="199"/>
                </a:lnTo>
                <a:lnTo>
                  <a:pt x="718" y="231"/>
                </a:lnTo>
                <a:lnTo>
                  <a:pt x="735" y="231"/>
                </a:lnTo>
                <a:lnTo>
                  <a:pt x="735" y="248"/>
                </a:lnTo>
                <a:lnTo>
                  <a:pt x="718" y="281"/>
                </a:lnTo>
                <a:lnTo>
                  <a:pt x="735" y="281"/>
                </a:lnTo>
                <a:lnTo>
                  <a:pt x="751" y="281"/>
                </a:lnTo>
                <a:lnTo>
                  <a:pt x="768" y="265"/>
                </a:lnTo>
                <a:lnTo>
                  <a:pt x="784" y="281"/>
                </a:lnTo>
                <a:lnTo>
                  <a:pt x="800" y="298"/>
                </a:lnTo>
                <a:lnTo>
                  <a:pt x="784" y="347"/>
                </a:lnTo>
                <a:lnTo>
                  <a:pt x="685" y="381"/>
                </a:lnTo>
                <a:lnTo>
                  <a:pt x="441" y="430"/>
                </a:lnTo>
                <a:lnTo>
                  <a:pt x="213" y="480"/>
                </a:lnTo>
                <a:lnTo>
                  <a:pt x="0" y="514"/>
                </a:lnTo>
                <a:lnTo>
                  <a:pt x="16" y="497"/>
                </a:lnTo>
                <a:lnTo>
                  <a:pt x="16" y="480"/>
                </a:lnTo>
                <a:lnTo>
                  <a:pt x="32" y="463"/>
                </a:lnTo>
                <a:lnTo>
                  <a:pt x="49" y="463"/>
                </a:lnTo>
                <a:lnTo>
                  <a:pt x="49" y="430"/>
                </a:lnTo>
                <a:lnTo>
                  <a:pt x="65" y="430"/>
                </a:lnTo>
                <a:lnTo>
                  <a:pt x="65" y="398"/>
                </a:lnTo>
                <a:lnTo>
                  <a:pt x="82" y="398"/>
                </a:lnTo>
                <a:lnTo>
                  <a:pt x="98" y="381"/>
                </a:lnTo>
                <a:lnTo>
                  <a:pt x="114" y="364"/>
                </a:lnTo>
                <a:lnTo>
                  <a:pt x="130" y="347"/>
                </a:lnTo>
                <a:lnTo>
                  <a:pt x="130" y="364"/>
                </a:lnTo>
                <a:lnTo>
                  <a:pt x="147" y="381"/>
                </a:lnTo>
                <a:lnTo>
                  <a:pt x="180" y="381"/>
                </a:lnTo>
                <a:lnTo>
                  <a:pt x="180" y="364"/>
                </a:lnTo>
                <a:lnTo>
                  <a:pt x="196" y="364"/>
                </a:lnTo>
                <a:lnTo>
                  <a:pt x="213" y="364"/>
                </a:lnTo>
                <a:lnTo>
                  <a:pt x="228" y="364"/>
                </a:lnTo>
                <a:lnTo>
                  <a:pt x="245" y="331"/>
                </a:lnTo>
                <a:lnTo>
                  <a:pt x="261" y="331"/>
                </a:lnTo>
                <a:lnTo>
                  <a:pt x="277" y="331"/>
                </a:lnTo>
                <a:lnTo>
                  <a:pt x="310" y="314"/>
                </a:lnTo>
                <a:lnTo>
                  <a:pt x="310" y="281"/>
                </a:lnTo>
                <a:lnTo>
                  <a:pt x="310" y="265"/>
                </a:lnTo>
                <a:lnTo>
                  <a:pt x="327" y="231"/>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3" name="Freeform 30"/>
          <p:cNvSpPr>
            <a:spLocks/>
          </p:cNvSpPr>
          <p:nvPr/>
        </p:nvSpPr>
        <p:spPr bwMode="auto">
          <a:xfrm>
            <a:off x="7072330" y="1780000"/>
            <a:ext cx="701676" cy="572690"/>
          </a:xfrm>
          <a:custGeom>
            <a:avLst/>
            <a:gdLst>
              <a:gd name="T0" fmla="*/ 2147483647 w 442"/>
              <a:gd name="T1" fmla="*/ 2147483647 h 481"/>
              <a:gd name="T2" fmla="*/ 2147483647 w 442"/>
              <a:gd name="T3" fmla="*/ 2147483647 h 481"/>
              <a:gd name="T4" fmla="*/ 2147483647 w 442"/>
              <a:gd name="T5" fmla="*/ 2147483647 h 481"/>
              <a:gd name="T6" fmla="*/ 2147483647 w 442"/>
              <a:gd name="T7" fmla="*/ 2147483647 h 481"/>
              <a:gd name="T8" fmla="*/ 2147483647 w 442"/>
              <a:gd name="T9" fmla="*/ 2147483647 h 481"/>
              <a:gd name="T10" fmla="*/ 2147483647 w 442"/>
              <a:gd name="T11" fmla="*/ 2147483647 h 481"/>
              <a:gd name="T12" fmla="*/ 0 w 442"/>
              <a:gd name="T13" fmla="*/ 2147483647 h 481"/>
              <a:gd name="T14" fmla="*/ 2147483647 w 442"/>
              <a:gd name="T15" fmla="*/ 2147483647 h 481"/>
              <a:gd name="T16" fmla="*/ 2147483647 w 442"/>
              <a:gd name="T17" fmla="*/ 2147483647 h 481"/>
              <a:gd name="T18" fmla="*/ 2147483647 w 442"/>
              <a:gd name="T19" fmla="*/ 2147483647 h 481"/>
              <a:gd name="T20" fmla="*/ 2147483647 w 442"/>
              <a:gd name="T21" fmla="*/ 2147483647 h 481"/>
              <a:gd name="T22" fmla="*/ 2147483647 w 442"/>
              <a:gd name="T23" fmla="*/ 2147483647 h 481"/>
              <a:gd name="T24" fmla="*/ 2147483647 w 442"/>
              <a:gd name="T25" fmla="*/ 2147483647 h 481"/>
              <a:gd name="T26" fmla="*/ 2147483647 w 442"/>
              <a:gd name="T27" fmla="*/ 2147483647 h 481"/>
              <a:gd name="T28" fmla="*/ 2147483647 w 442"/>
              <a:gd name="T29" fmla="*/ 2147483647 h 481"/>
              <a:gd name="T30" fmla="*/ 2147483647 w 442"/>
              <a:gd name="T31" fmla="*/ 2147483647 h 481"/>
              <a:gd name="T32" fmla="*/ 2147483647 w 442"/>
              <a:gd name="T33" fmla="*/ 2147483647 h 481"/>
              <a:gd name="T34" fmla="*/ 2147483647 w 442"/>
              <a:gd name="T35" fmla="*/ 2147483647 h 481"/>
              <a:gd name="T36" fmla="*/ 2147483647 w 442"/>
              <a:gd name="T37" fmla="*/ 2147483647 h 481"/>
              <a:gd name="T38" fmla="*/ 2147483647 w 442"/>
              <a:gd name="T39" fmla="*/ 2147483647 h 481"/>
              <a:gd name="T40" fmla="*/ 2147483647 w 442"/>
              <a:gd name="T41" fmla="*/ 2147483647 h 481"/>
              <a:gd name="T42" fmla="*/ 2147483647 w 442"/>
              <a:gd name="T43" fmla="*/ 2147483647 h 481"/>
              <a:gd name="T44" fmla="*/ 2147483647 w 442"/>
              <a:gd name="T45" fmla="*/ 2147483647 h 481"/>
              <a:gd name="T46" fmla="*/ 2147483647 w 442"/>
              <a:gd name="T47" fmla="*/ 2147483647 h 481"/>
              <a:gd name="T48" fmla="*/ 2147483647 w 442"/>
              <a:gd name="T49" fmla="*/ 2147483647 h 481"/>
              <a:gd name="T50" fmla="*/ 2147483647 w 442"/>
              <a:gd name="T51" fmla="*/ 2147483647 h 481"/>
              <a:gd name="T52" fmla="*/ 2147483647 w 442"/>
              <a:gd name="T53" fmla="*/ 2147483647 h 481"/>
              <a:gd name="T54" fmla="*/ 2147483647 w 442"/>
              <a:gd name="T55" fmla="*/ 2147483647 h 481"/>
              <a:gd name="T56" fmla="*/ 2147483647 w 442"/>
              <a:gd name="T57" fmla="*/ 2147483647 h 481"/>
              <a:gd name="T58" fmla="*/ 2147483647 w 442"/>
              <a:gd name="T59" fmla="*/ 2147483647 h 481"/>
              <a:gd name="T60" fmla="*/ 2147483647 w 442"/>
              <a:gd name="T61" fmla="*/ 2147483647 h 481"/>
              <a:gd name="T62" fmla="*/ 2147483647 w 442"/>
              <a:gd name="T63" fmla="*/ 2147483647 h 4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2"/>
              <a:gd name="T97" fmla="*/ 0 h 481"/>
              <a:gd name="T98" fmla="*/ 442 w 442"/>
              <a:gd name="T99" fmla="*/ 481 h 4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2" h="481">
                <a:moveTo>
                  <a:pt x="147" y="0"/>
                </a:moveTo>
                <a:lnTo>
                  <a:pt x="130" y="16"/>
                </a:lnTo>
                <a:lnTo>
                  <a:pt x="130" y="149"/>
                </a:lnTo>
                <a:lnTo>
                  <a:pt x="114" y="166"/>
                </a:lnTo>
                <a:lnTo>
                  <a:pt x="81" y="166"/>
                </a:lnTo>
                <a:lnTo>
                  <a:pt x="81" y="198"/>
                </a:lnTo>
                <a:lnTo>
                  <a:pt x="64" y="198"/>
                </a:lnTo>
                <a:lnTo>
                  <a:pt x="64" y="247"/>
                </a:lnTo>
                <a:lnTo>
                  <a:pt x="32" y="247"/>
                </a:lnTo>
                <a:lnTo>
                  <a:pt x="32" y="281"/>
                </a:lnTo>
                <a:lnTo>
                  <a:pt x="32" y="298"/>
                </a:lnTo>
                <a:lnTo>
                  <a:pt x="32" y="313"/>
                </a:lnTo>
                <a:lnTo>
                  <a:pt x="16" y="330"/>
                </a:lnTo>
                <a:lnTo>
                  <a:pt x="0" y="364"/>
                </a:lnTo>
                <a:lnTo>
                  <a:pt x="0" y="380"/>
                </a:lnTo>
                <a:lnTo>
                  <a:pt x="16" y="413"/>
                </a:lnTo>
                <a:lnTo>
                  <a:pt x="49" y="430"/>
                </a:lnTo>
                <a:lnTo>
                  <a:pt x="81" y="446"/>
                </a:lnTo>
                <a:lnTo>
                  <a:pt x="64" y="463"/>
                </a:lnTo>
                <a:lnTo>
                  <a:pt x="81" y="463"/>
                </a:lnTo>
                <a:lnTo>
                  <a:pt x="97" y="480"/>
                </a:lnTo>
                <a:lnTo>
                  <a:pt x="130" y="480"/>
                </a:lnTo>
                <a:lnTo>
                  <a:pt x="130" y="463"/>
                </a:lnTo>
                <a:lnTo>
                  <a:pt x="147" y="463"/>
                </a:lnTo>
                <a:lnTo>
                  <a:pt x="163" y="463"/>
                </a:lnTo>
                <a:lnTo>
                  <a:pt x="179" y="463"/>
                </a:lnTo>
                <a:lnTo>
                  <a:pt x="195" y="430"/>
                </a:lnTo>
                <a:lnTo>
                  <a:pt x="212" y="430"/>
                </a:lnTo>
                <a:lnTo>
                  <a:pt x="228" y="430"/>
                </a:lnTo>
                <a:lnTo>
                  <a:pt x="261" y="413"/>
                </a:lnTo>
                <a:lnTo>
                  <a:pt x="261" y="380"/>
                </a:lnTo>
                <a:lnTo>
                  <a:pt x="261" y="364"/>
                </a:lnTo>
                <a:lnTo>
                  <a:pt x="278" y="330"/>
                </a:lnTo>
                <a:lnTo>
                  <a:pt x="293" y="313"/>
                </a:lnTo>
                <a:lnTo>
                  <a:pt x="310" y="264"/>
                </a:lnTo>
                <a:lnTo>
                  <a:pt x="326" y="264"/>
                </a:lnTo>
                <a:lnTo>
                  <a:pt x="343" y="247"/>
                </a:lnTo>
                <a:lnTo>
                  <a:pt x="359" y="247"/>
                </a:lnTo>
                <a:lnTo>
                  <a:pt x="359" y="215"/>
                </a:lnTo>
                <a:lnTo>
                  <a:pt x="359" y="198"/>
                </a:lnTo>
                <a:lnTo>
                  <a:pt x="376" y="198"/>
                </a:lnTo>
                <a:lnTo>
                  <a:pt x="376" y="166"/>
                </a:lnTo>
                <a:lnTo>
                  <a:pt x="392" y="149"/>
                </a:lnTo>
                <a:lnTo>
                  <a:pt x="392" y="132"/>
                </a:lnTo>
                <a:lnTo>
                  <a:pt x="392" y="115"/>
                </a:lnTo>
                <a:lnTo>
                  <a:pt x="408" y="99"/>
                </a:lnTo>
                <a:lnTo>
                  <a:pt x="424" y="115"/>
                </a:lnTo>
                <a:lnTo>
                  <a:pt x="441" y="99"/>
                </a:lnTo>
                <a:lnTo>
                  <a:pt x="408" y="83"/>
                </a:lnTo>
                <a:lnTo>
                  <a:pt x="392" y="83"/>
                </a:lnTo>
                <a:lnTo>
                  <a:pt x="376" y="83"/>
                </a:lnTo>
                <a:lnTo>
                  <a:pt x="376" y="99"/>
                </a:lnTo>
                <a:lnTo>
                  <a:pt x="359" y="99"/>
                </a:lnTo>
                <a:lnTo>
                  <a:pt x="343" y="99"/>
                </a:lnTo>
                <a:lnTo>
                  <a:pt x="326" y="115"/>
                </a:lnTo>
                <a:lnTo>
                  <a:pt x="326" y="132"/>
                </a:lnTo>
                <a:lnTo>
                  <a:pt x="310" y="132"/>
                </a:lnTo>
                <a:lnTo>
                  <a:pt x="293" y="132"/>
                </a:lnTo>
                <a:lnTo>
                  <a:pt x="310" y="132"/>
                </a:lnTo>
                <a:lnTo>
                  <a:pt x="293" y="132"/>
                </a:lnTo>
                <a:lnTo>
                  <a:pt x="293" y="149"/>
                </a:lnTo>
                <a:lnTo>
                  <a:pt x="278" y="83"/>
                </a:lnTo>
                <a:lnTo>
                  <a:pt x="278" y="66"/>
                </a:lnTo>
                <a:lnTo>
                  <a:pt x="163" y="83"/>
                </a:lnTo>
                <a:lnTo>
                  <a:pt x="147" y="0"/>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4" name="Freeform 31"/>
          <p:cNvSpPr>
            <a:spLocks/>
          </p:cNvSpPr>
          <p:nvPr/>
        </p:nvSpPr>
        <p:spPr bwMode="auto">
          <a:xfrm>
            <a:off x="4868863" y="1996681"/>
            <a:ext cx="1143000" cy="731044"/>
          </a:xfrm>
          <a:custGeom>
            <a:avLst/>
            <a:gdLst>
              <a:gd name="T0" fmla="*/ 2147483647 w 720"/>
              <a:gd name="T1" fmla="*/ 2147483647 h 614"/>
              <a:gd name="T2" fmla="*/ 2147483647 w 720"/>
              <a:gd name="T3" fmla="*/ 2147483647 h 614"/>
              <a:gd name="T4" fmla="*/ 2147483647 w 720"/>
              <a:gd name="T5" fmla="*/ 2147483647 h 614"/>
              <a:gd name="T6" fmla="*/ 2147483647 w 720"/>
              <a:gd name="T7" fmla="*/ 2147483647 h 614"/>
              <a:gd name="T8" fmla="*/ 2147483647 w 720"/>
              <a:gd name="T9" fmla="*/ 2147483647 h 614"/>
              <a:gd name="T10" fmla="*/ 2147483647 w 720"/>
              <a:gd name="T11" fmla="*/ 2147483647 h 614"/>
              <a:gd name="T12" fmla="*/ 2147483647 w 720"/>
              <a:gd name="T13" fmla="*/ 2147483647 h 614"/>
              <a:gd name="T14" fmla="*/ 2147483647 w 720"/>
              <a:gd name="T15" fmla="*/ 2147483647 h 614"/>
              <a:gd name="T16" fmla="*/ 2147483647 w 720"/>
              <a:gd name="T17" fmla="*/ 2147483647 h 614"/>
              <a:gd name="T18" fmla="*/ 2147483647 w 720"/>
              <a:gd name="T19" fmla="*/ 2147483647 h 614"/>
              <a:gd name="T20" fmla="*/ 2147483647 w 720"/>
              <a:gd name="T21" fmla="*/ 2147483647 h 614"/>
              <a:gd name="T22" fmla="*/ 2147483647 w 720"/>
              <a:gd name="T23" fmla="*/ 2147483647 h 614"/>
              <a:gd name="T24" fmla="*/ 2147483647 w 720"/>
              <a:gd name="T25" fmla="*/ 2147483647 h 614"/>
              <a:gd name="T26" fmla="*/ 2147483647 w 720"/>
              <a:gd name="T27" fmla="*/ 2147483647 h 614"/>
              <a:gd name="T28" fmla="*/ 2147483647 w 720"/>
              <a:gd name="T29" fmla="*/ 2147483647 h 614"/>
              <a:gd name="T30" fmla="*/ 2147483647 w 720"/>
              <a:gd name="T31" fmla="*/ 2147483647 h 614"/>
              <a:gd name="T32" fmla="*/ 2147483647 w 720"/>
              <a:gd name="T33" fmla="*/ 2147483647 h 614"/>
              <a:gd name="T34" fmla="*/ 2147483647 w 720"/>
              <a:gd name="T35" fmla="*/ 2147483647 h 614"/>
              <a:gd name="T36" fmla="*/ 2147483647 w 720"/>
              <a:gd name="T37" fmla="*/ 2147483647 h 614"/>
              <a:gd name="T38" fmla="*/ 2147483647 w 720"/>
              <a:gd name="T39" fmla="*/ 2147483647 h 614"/>
              <a:gd name="T40" fmla="*/ 2147483647 w 720"/>
              <a:gd name="T41" fmla="*/ 2147483647 h 614"/>
              <a:gd name="T42" fmla="*/ 2147483647 w 720"/>
              <a:gd name="T43" fmla="*/ 2147483647 h 614"/>
              <a:gd name="T44" fmla="*/ 2147483647 w 720"/>
              <a:gd name="T45" fmla="*/ 0 h 614"/>
              <a:gd name="T46" fmla="*/ 2147483647 w 720"/>
              <a:gd name="T47" fmla="*/ 0 h 614"/>
              <a:gd name="T48" fmla="*/ 2147483647 w 720"/>
              <a:gd name="T49" fmla="*/ 2147483647 h 614"/>
              <a:gd name="T50" fmla="*/ 2147483647 w 720"/>
              <a:gd name="T51" fmla="*/ 2147483647 h 614"/>
              <a:gd name="T52" fmla="*/ 0 w 720"/>
              <a:gd name="T53" fmla="*/ 2147483647 h 614"/>
              <a:gd name="T54" fmla="*/ 2147483647 w 720"/>
              <a:gd name="T55" fmla="*/ 2147483647 h 614"/>
              <a:gd name="T56" fmla="*/ 2147483647 w 720"/>
              <a:gd name="T57" fmla="*/ 2147483647 h 614"/>
              <a:gd name="T58" fmla="*/ 2147483647 w 720"/>
              <a:gd name="T59" fmla="*/ 2147483647 h 614"/>
              <a:gd name="T60" fmla="*/ 2147483647 w 720"/>
              <a:gd name="T61" fmla="*/ 2147483647 h 614"/>
              <a:gd name="T62" fmla="*/ 2147483647 w 720"/>
              <a:gd name="T63" fmla="*/ 2147483647 h 614"/>
              <a:gd name="T64" fmla="*/ 2147483647 w 720"/>
              <a:gd name="T65" fmla="*/ 2147483647 h 6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0"/>
              <a:gd name="T100" fmla="*/ 0 h 614"/>
              <a:gd name="T101" fmla="*/ 720 w 720"/>
              <a:gd name="T102" fmla="*/ 614 h 6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0" h="614">
                <a:moveTo>
                  <a:pt x="179" y="596"/>
                </a:moveTo>
                <a:lnTo>
                  <a:pt x="506" y="579"/>
                </a:lnTo>
                <a:lnTo>
                  <a:pt x="604" y="563"/>
                </a:lnTo>
                <a:lnTo>
                  <a:pt x="621" y="579"/>
                </a:lnTo>
                <a:lnTo>
                  <a:pt x="604" y="596"/>
                </a:lnTo>
                <a:lnTo>
                  <a:pt x="604" y="613"/>
                </a:lnTo>
                <a:lnTo>
                  <a:pt x="621" y="613"/>
                </a:lnTo>
                <a:lnTo>
                  <a:pt x="653" y="613"/>
                </a:lnTo>
                <a:lnTo>
                  <a:pt x="669" y="613"/>
                </a:lnTo>
                <a:lnTo>
                  <a:pt x="669" y="579"/>
                </a:lnTo>
                <a:lnTo>
                  <a:pt x="669" y="563"/>
                </a:lnTo>
                <a:lnTo>
                  <a:pt x="686" y="546"/>
                </a:lnTo>
                <a:lnTo>
                  <a:pt x="702" y="529"/>
                </a:lnTo>
                <a:lnTo>
                  <a:pt x="719" y="497"/>
                </a:lnTo>
                <a:lnTo>
                  <a:pt x="719" y="480"/>
                </a:lnTo>
                <a:lnTo>
                  <a:pt x="719" y="446"/>
                </a:lnTo>
                <a:lnTo>
                  <a:pt x="669" y="431"/>
                </a:lnTo>
                <a:lnTo>
                  <a:pt x="669" y="414"/>
                </a:lnTo>
                <a:lnTo>
                  <a:pt x="669" y="380"/>
                </a:lnTo>
                <a:lnTo>
                  <a:pt x="669" y="364"/>
                </a:lnTo>
                <a:lnTo>
                  <a:pt x="653" y="348"/>
                </a:lnTo>
                <a:lnTo>
                  <a:pt x="636" y="348"/>
                </a:lnTo>
                <a:lnTo>
                  <a:pt x="621" y="331"/>
                </a:lnTo>
                <a:lnTo>
                  <a:pt x="604" y="315"/>
                </a:lnTo>
                <a:lnTo>
                  <a:pt x="588" y="298"/>
                </a:lnTo>
                <a:lnTo>
                  <a:pt x="571" y="298"/>
                </a:lnTo>
                <a:lnTo>
                  <a:pt x="571" y="281"/>
                </a:lnTo>
                <a:lnTo>
                  <a:pt x="588" y="249"/>
                </a:lnTo>
                <a:lnTo>
                  <a:pt x="588" y="232"/>
                </a:lnTo>
                <a:lnTo>
                  <a:pt x="588" y="215"/>
                </a:lnTo>
                <a:lnTo>
                  <a:pt x="571" y="198"/>
                </a:lnTo>
                <a:lnTo>
                  <a:pt x="571" y="215"/>
                </a:lnTo>
                <a:lnTo>
                  <a:pt x="555" y="215"/>
                </a:lnTo>
                <a:lnTo>
                  <a:pt x="538" y="215"/>
                </a:lnTo>
                <a:lnTo>
                  <a:pt x="538" y="198"/>
                </a:lnTo>
                <a:lnTo>
                  <a:pt x="538" y="183"/>
                </a:lnTo>
                <a:lnTo>
                  <a:pt x="522" y="166"/>
                </a:lnTo>
                <a:lnTo>
                  <a:pt x="506" y="149"/>
                </a:lnTo>
                <a:lnTo>
                  <a:pt x="490" y="132"/>
                </a:lnTo>
                <a:lnTo>
                  <a:pt x="457" y="99"/>
                </a:lnTo>
                <a:lnTo>
                  <a:pt x="440" y="99"/>
                </a:lnTo>
                <a:lnTo>
                  <a:pt x="440" y="83"/>
                </a:lnTo>
                <a:lnTo>
                  <a:pt x="424" y="66"/>
                </a:lnTo>
                <a:lnTo>
                  <a:pt x="424" y="33"/>
                </a:lnTo>
                <a:lnTo>
                  <a:pt x="424" y="16"/>
                </a:lnTo>
                <a:lnTo>
                  <a:pt x="407" y="0"/>
                </a:lnTo>
                <a:lnTo>
                  <a:pt x="375" y="0"/>
                </a:lnTo>
                <a:lnTo>
                  <a:pt x="326" y="0"/>
                </a:lnTo>
                <a:lnTo>
                  <a:pt x="277" y="16"/>
                </a:lnTo>
                <a:lnTo>
                  <a:pt x="228" y="16"/>
                </a:lnTo>
                <a:lnTo>
                  <a:pt x="162" y="16"/>
                </a:lnTo>
                <a:lnTo>
                  <a:pt x="81" y="16"/>
                </a:lnTo>
                <a:lnTo>
                  <a:pt x="0" y="16"/>
                </a:lnTo>
                <a:lnTo>
                  <a:pt x="0" y="50"/>
                </a:lnTo>
                <a:lnTo>
                  <a:pt x="16" y="66"/>
                </a:lnTo>
                <a:lnTo>
                  <a:pt x="32" y="83"/>
                </a:lnTo>
                <a:lnTo>
                  <a:pt x="32" y="99"/>
                </a:lnTo>
                <a:lnTo>
                  <a:pt x="48" y="116"/>
                </a:lnTo>
                <a:lnTo>
                  <a:pt x="81" y="116"/>
                </a:lnTo>
                <a:lnTo>
                  <a:pt x="81" y="132"/>
                </a:lnTo>
                <a:lnTo>
                  <a:pt x="81" y="166"/>
                </a:lnTo>
                <a:lnTo>
                  <a:pt x="97" y="198"/>
                </a:lnTo>
                <a:lnTo>
                  <a:pt x="114" y="198"/>
                </a:lnTo>
                <a:lnTo>
                  <a:pt x="130" y="215"/>
                </a:lnTo>
                <a:lnTo>
                  <a:pt x="130" y="232"/>
                </a:lnTo>
                <a:lnTo>
                  <a:pt x="147" y="529"/>
                </a:lnTo>
                <a:lnTo>
                  <a:pt x="179" y="596"/>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5" name="Freeform 32"/>
          <p:cNvSpPr>
            <a:spLocks/>
          </p:cNvSpPr>
          <p:nvPr/>
        </p:nvSpPr>
        <p:spPr bwMode="auto">
          <a:xfrm>
            <a:off x="6113463" y="1683547"/>
            <a:ext cx="571500" cy="690563"/>
          </a:xfrm>
          <a:custGeom>
            <a:avLst/>
            <a:gdLst>
              <a:gd name="T0" fmla="*/ 2147483647 w 360"/>
              <a:gd name="T1" fmla="*/ 2147483647 h 580"/>
              <a:gd name="T2" fmla="*/ 2147483647 w 360"/>
              <a:gd name="T3" fmla="*/ 2147483647 h 580"/>
              <a:gd name="T4" fmla="*/ 2147483647 w 360"/>
              <a:gd name="T5" fmla="*/ 2147483647 h 580"/>
              <a:gd name="T6" fmla="*/ 2147483647 w 360"/>
              <a:gd name="T7" fmla="*/ 2147483647 h 580"/>
              <a:gd name="T8" fmla="*/ 2147483647 w 360"/>
              <a:gd name="T9" fmla="*/ 2147483647 h 580"/>
              <a:gd name="T10" fmla="*/ 2147483647 w 360"/>
              <a:gd name="T11" fmla="*/ 2147483647 h 580"/>
              <a:gd name="T12" fmla="*/ 2147483647 w 360"/>
              <a:gd name="T13" fmla="*/ 2147483647 h 580"/>
              <a:gd name="T14" fmla="*/ 2147483647 w 360"/>
              <a:gd name="T15" fmla="*/ 2147483647 h 580"/>
              <a:gd name="T16" fmla="*/ 2147483647 w 360"/>
              <a:gd name="T17" fmla="*/ 2147483647 h 580"/>
              <a:gd name="T18" fmla="*/ 0 w 360"/>
              <a:gd name="T19" fmla="*/ 2147483647 h 580"/>
              <a:gd name="T20" fmla="*/ 2147483647 w 360"/>
              <a:gd name="T21" fmla="*/ 2147483647 h 580"/>
              <a:gd name="T22" fmla="*/ 2147483647 w 360"/>
              <a:gd name="T23" fmla="*/ 2147483647 h 580"/>
              <a:gd name="T24" fmla="*/ 2147483647 w 360"/>
              <a:gd name="T25" fmla="*/ 2147483647 h 580"/>
              <a:gd name="T26" fmla="*/ 2147483647 w 360"/>
              <a:gd name="T27" fmla="*/ 2147483647 h 580"/>
              <a:gd name="T28" fmla="*/ 2147483647 w 360"/>
              <a:gd name="T29" fmla="*/ 2147483647 h 580"/>
              <a:gd name="T30" fmla="*/ 2147483647 w 360"/>
              <a:gd name="T31" fmla="*/ 0 h 580"/>
              <a:gd name="T32" fmla="*/ 2147483647 w 360"/>
              <a:gd name="T33" fmla="*/ 2147483647 h 580"/>
              <a:gd name="T34" fmla="*/ 2147483647 w 360"/>
              <a:gd name="T35" fmla="*/ 2147483647 h 580"/>
              <a:gd name="T36" fmla="*/ 2147483647 w 360"/>
              <a:gd name="T37" fmla="*/ 2147483647 h 580"/>
              <a:gd name="T38" fmla="*/ 2147483647 w 360"/>
              <a:gd name="T39" fmla="*/ 2147483647 h 580"/>
              <a:gd name="T40" fmla="*/ 2147483647 w 360"/>
              <a:gd name="T41" fmla="*/ 2147483647 h 580"/>
              <a:gd name="T42" fmla="*/ 2147483647 w 360"/>
              <a:gd name="T43" fmla="*/ 2147483647 h 580"/>
              <a:gd name="T44" fmla="*/ 2147483647 w 360"/>
              <a:gd name="T45" fmla="*/ 2147483647 h 580"/>
              <a:gd name="T46" fmla="*/ 2147483647 w 360"/>
              <a:gd name="T47" fmla="*/ 2147483647 h 580"/>
              <a:gd name="T48" fmla="*/ 2147483647 w 360"/>
              <a:gd name="T49" fmla="*/ 2147483647 h 580"/>
              <a:gd name="T50" fmla="*/ 2147483647 w 360"/>
              <a:gd name="T51" fmla="*/ 2147483647 h 580"/>
              <a:gd name="T52" fmla="*/ 2147483647 w 360"/>
              <a:gd name="T53" fmla="*/ 2147483647 h 580"/>
              <a:gd name="T54" fmla="*/ 2147483647 w 360"/>
              <a:gd name="T55" fmla="*/ 2147483647 h 580"/>
              <a:gd name="T56" fmla="*/ 2147483647 w 360"/>
              <a:gd name="T57" fmla="*/ 2147483647 h 580"/>
              <a:gd name="T58" fmla="*/ 2147483647 w 360"/>
              <a:gd name="T59" fmla="*/ 2147483647 h 580"/>
              <a:gd name="T60" fmla="*/ 2147483647 w 360"/>
              <a:gd name="T61" fmla="*/ 2147483647 h 580"/>
              <a:gd name="T62" fmla="*/ 2147483647 w 360"/>
              <a:gd name="T63" fmla="*/ 2147483647 h 580"/>
              <a:gd name="T64" fmla="*/ 2147483647 w 360"/>
              <a:gd name="T65" fmla="*/ 2147483647 h 580"/>
              <a:gd name="T66" fmla="*/ 2147483647 w 360"/>
              <a:gd name="T67" fmla="*/ 2147483647 h 580"/>
              <a:gd name="T68" fmla="*/ 2147483647 w 360"/>
              <a:gd name="T69" fmla="*/ 2147483647 h 5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0"/>
              <a:gd name="T106" fmla="*/ 0 h 580"/>
              <a:gd name="T107" fmla="*/ 360 w 360"/>
              <a:gd name="T108" fmla="*/ 580 h 5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0" h="580">
                <a:moveTo>
                  <a:pt x="49" y="562"/>
                </a:moveTo>
                <a:lnTo>
                  <a:pt x="49" y="562"/>
                </a:lnTo>
                <a:lnTo>
                  <a:pt x="49" y="545"/>
                </a:lnTo>
                <a:lnTo>
                  <a:pt x="49" y="528"/>
                </a:lnTo>
                <a:lnTo>
                  <a:pt x="49" y="512"/>
                </a:lnTo>
                <a:lnTo>
                  <a:pt x="65" y="495"/>
                </a:lnTo>
                <a:lnTo>
                  <a:pt x="81" y="479"/>
                </a:lnTo>
                <a:lnTo>
                  <a:pt x="81" y="462"/>
                </a:lnTo>
                <a:lnTo>
                  <a:pt x="49" y="446"/>
                </a:lnTo>
                <a:lnTo>
                  <a:pt x="0" y="49"/>
                </a:lnTo>
                <a:lnTo>
                  <a:pt x="32" y="32"/>
                </a:lnTo>
                <a:lnTo>
                  <a:pt x="49" y="49"/>
                </a:lnTo>
                <a:lnTo>
                  <a:pt x="65" y="49"/>
                </a:lnTo>
                <a:lnTo>
                  <a:pt x="97" y="49"/>
                </a:lnTo>
                <a:lnTo>
                  <a:pt x="130" y="32"/>
                </a:lnTo>
                <a:lnTo>
                  <a:pt x="277" y="0"/>
                </a:lnTo>
                <a:lnTo>
                  <a:pt x="294" y="15"/>
                </a:lnTo>
                <a:lnTo>
                  <a:pt x="342" y="363"/>
                </a:lnTo>
                <a:lnTo>
                  <a:pt x="342" y="380"/>
                </a:lnTo>
                <a:lnTo>
                  <a:pt x="359" y="412"/>
                </a:lnTo>
                <a:lnTo>
                  <a:pt x="342" y="412"/>
                </a:lnTo>
                <a:lnTo>
                  <a:pt x="326" y="412"/>
                </a:lnTo>
                <a:lnTo>
                  <a:pt x="309" y="429"/>
                </a:lnTo>
                <a:lnTo>
                  <a:pt x="294" y="429"/>
                </a:lnTo>
                <a:lnTo>
                  <a:pt x="294" y="479"/>
                </a:lnTo>
                <a:lnTo>
                  <a:pt x="294" y="495"/>
                </a:lnTo>
                <a:lnTo>
                  <a:pt x="277" y="495"/>
                </a:lnTo>
                <a:lnTo>
                  <a:pt x="261" y="545"/>
                </a:lnTo>
                <a:lnTo>
                  <a:pt x="228" y="528"/>
                </a:lnTo>
                <a:lnTo>
                  <a:pt x="211" y="528"/>
                </a:lnTo>
                <a:lnTo>
                  <a:pt x="195" y="562"/>
                </a:lnTo>
                <a:lnTo>
                  <a:pt x="163" y="562"/>
                </a:lnTo>
                <a:lnTo>
                  <a:pt x="163" y="579"/>
                </a:lnTo>
                <a:lnTo>
                  <a:pt x="49" y="579"/>
                </a:lnTo>
                <a:lnTo>
                  <a:pt x="49" y="562"/>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6" name="Freeform 33"/>
          <p:cNvSpPr>
            <a:spLocks/>
          </p:cNvSpPr>
          <p:nvPr/>
        </p:nvSpPr>
        <p:spPr bwMode="auto">
          <a:xfrm>
            <a:off x="5957889" y="2114551"/>
            <a:ext cx="1244600" cy="533400"/>
          </a:xfrm>
          <a:custGeom>
            <a:avLst/>
            <a:gdLst>
              <a:gd name="T0" fmla="*/ 2147483647 w 784"/>
              <a:gd name="T1" fmla="*/ 2147483647 h 448"/>
              <a:gd name="T2" fmla="*/ 2147483647 w 784"/>
              <a:gd name="T3" fmla="*/ 2147483647 h 448"/>
              <a:gd name="T4" fmla="*/ 2147483647 w 784"/>
              <a:gd name="T5" fmla="*/ 2147483647 h 448"/>
              <a:gd name="T6" fmla="*/ 2147483647 w 784"/>
              <a:gd name="T7" fmla="*/ 2147483647 h 448"/>
              <a:gd name="T8" fmla="*/ 2147483647 w 784"/>
              <a:gd name="T9" fmla="*/ 2147483647 h 448"/>
              <a:gd name="T10" fmla="*/ 2147483647 w 784"/>
              <a:gd name="T11" fmla="*/ 2147483647 h 448"/>
              <a:gd name="T12" fmla="*/ 2147483647 w 784"/>
              <a:gd name="T13" fmla="*/ 2147483647 h 448"/>
              <a:gd name="T14" fmla="*/ 2147483647 w 784"/>
              <a:gd name="T15" fmla="*/ 2147483647 h 448"/>
              <a:gd name="T16" fmla="*/ 0 w 784"/>
              <a:gd name="T17" fmla="*/ 2147483647 h 448"/>
              <a:gd name="T18" fmla="*/ 2147483647 w 784"/>
              <a:gd name="T19" fmla="*/ 2147483647 h 448"/>
              <a:gd name="T20" fmla="*/ 2147483647 w 784"/>
              <a:gd name="T21" fmla="*/ 2147483647 h 448"/>
              <a:gd name="T22" fmla="*/ 2147483647 w 784"/>
              <a:gd name="T23" fmla="*/ 2147483647 h 448"/>
              <a:gd name="T24" fmla="*/ 2147483647 w 784"/>
              <a:gd name="T25" fmla="*/ 2147483647 h 448"/>
              <a:gd name="T26" fmla="*/ 2147483647 w 784"/>
              <a:gd name="T27" fmla="*/ 2147483647 h 448"/>
              <a:gd name="T28" fmla="*/ 2147483647 w 784"/>
              <a:gd name="T29" fmla="*/ 2147483647 h 448"/>
              <a:gd name="T30" fmla="*/ 2147483647 w 784"/>
              <a:gd name="T31" fmla="*/ 2147483647 h 448"/>
              <a:gd name="T32" fmla="*/ 2147483647 w 784"/>
              <a:gd name="T33" fmla="*/ 2147483647 h 448"/>
              <a:gd name="T34" fmla="*/ 2147483647 w 784"/>
              <a:gd name="T35" fmla="*/ 2147483647 h 448"/>
              <a:gd name="T36" fmla="*/ 2147483647 w 784"/>
              <a:gd name="T37" fmla="*/ 2147483647 h 448"/>
              <a:gd name="T38" fmla="*/ 2147483647 w 784"/>
              <a:gd name="T39" fmla="*/ 2147483647 h 448"/>
              <a:gd name="T40" fmla="*/ 2147483647 w 784"/>
              <a:gd name="T41" fmla="*/ 2147483647 h 448"/>
              <a:gd name="T42" fmla="*/ 2147483647 w 784"/>
              <a:gd name="T43" fmla="*/ 2147483647 h 448"/>
              <a:gd name="T44" fmla="*/ 2147483647 w 784"/>
              <a:gd name="T45" fmla="*/ 2147483647 h 448"/>
              <a:gd name="T46" fmla="*/ 2147483647 w 784"/>
              <a:gd name="T47" fmla="*/ 0 h 448"/>
              <a:gd name="T48" fmla="*/ 2147483647 w 784"/>
              <a:gd name="T49" fmla="*/ 2147483647 h 448"/>
              <a:gd name="T50" fmla="*/ 2147483647 w 784"/>
              <a:gd name="T51" fmla="*/ 2147483647 h 448"/>
              <a:gd name="T52" fmla="*/ 2147483647 w 784"/>
              <a:gd name="T53" fmla="*/ 2147483647 h 448"/>
              <a:gd name="T54" fmla="*/ 2147483647 w 784"/>
              <a:gd name="T55" fmla="*/ 2147483647 h 448"/>
              <a:gd name="T56" fmla="*/ 2147483647 w 784"/>
              <a:gd name="T57" fmla="*/ 2147483647 h 448"/>
              <a:gd name="T58" fmla="*/ 2147483647 w 784"/>
              <a:gd name="T59" fmla="*/ 2147483647 h 448"/>
              <a:gd name="T60" fmla="*/ 2147483647 w 784"/>
              <a:gd name="T61" fmla="*/ 2147483647 h 448"/>
              <a:gd name="T62" fmla="*/ 2147483647 w 784"/>
              <a:gd name="T63" fmla="*/ 2147483647 h 4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84"/>
              <a:gd name="T97" fmla="*/ 0 h 448"/>
              <a:gd name="T98" fmla="*/ 784 w 784"/>
              <a:gd name="T99" fmla="*/ 448 h 4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84" h="448">
                <a:moveTo>
                  <a:pt x="147" y="215"/>
                </a:moveTo>
                <a:lnTo>
                  <a:pt x="130" y="231"/>
                </a:lnTo>
                <a:lnTo>
                  <a:pt x="130" y="248"/>
                </a:lnTo>
                <a:lnTo>
                  <a:pt x="147" y="280"/>
                </a:lnTo>
                <a:lnTo>
                  <a:pt x="130" y="297"/>
                </a:lnTo>
                <a:lnTo>
                  <a:pt x="97" y="280"/>
                </a:lnTo>
                <a:lnTo>
                  <a:pt x="97" y="297"/>
                </a:lnTo>
                <a:lnTo>
                  <a:pt x="97" y="331"/>
                </a:lnTo>
                <a:lnTo>
                  <a:pt x="81" y="346"/>
                </a:lnTo>
                <a:lnTo>
                  <a:pt x="49" y="346"/>
                </a:lnTo>
                <a:lnTo>
                  <a:pt x="32" y="331"/>
                </a:lnTo>
                <a:lnTo>
                  <a:pt x="32" y="346"/>
                </a:lnTo>
                <a:lnTo>
                  <a:pt x="32" y="331"/>
                </a:lnTo>
                <a:lnTo>
                  <a:pt x="32" y="346"/>
                </a:lnTo>
                <a:lnTo>
                  <a:pt x="32" y="380"/>
                </a:lnTo>
                <a:lnTo>
                  <a:pt x="32" y="397"/>
                </a:lnTo>
                <a:lnTo>
                  <a:pt x="16" y="430"/>
                </a:lnTo>
                <a:lnTo>
                  <a:pt x="0" y="447"/>
                </a:lnTo>
                <a:lnTo>
                  <a:pt x="147" y="430"/>
                </a:lnTo>
                <a:lnTo>
                  <a:pt x="195" y="397"/>
                </a:lnTo>
                <a:lnTo>
                  <a:pt x="293" y="397"/>
                </a:lnTo>
                <a:lnTo>
                  <a:pt x="423" y="380"/>
                </a:lnTo>
                <a:lnTo>
                  <a:pt x="554" y="363"/>
                </a:lnTo>
                <a:lnTo>
                  <a:pt x="652" y="346"/>
                </a:lnTo>
                <a:lnTo>
                  <a:pt x="652" y="331"/>
                </a:lnTo>
                <a:lnTo>
                  <a:pt x="668" y="314"/>
                </a:lnTo>
                <a:lnTo>
                  <a:pt x="668" y="297"/>
                </a:lnTo>
                <a:lnTo>
                  <a:pt x="685" y="280"/>
                </a:lnTo>
                <a:lnTo>
                  <a:pt x="701" y="280"/>
                </a:lnTo>
                <a:lnTo>
                  <a:pt x="701" y="248"/>
                </a:lnTo>
                <a:lnTo>
                  <a:pt x="718" y="248"/>
                </a:lnTo>
                <a:lnTo>
                  <a:pt x="734" y="215"/>
                </a:lnTo>
                <a:lnTo>
                  <a:pt x="751" y="198"/>
                </a:lnTo>
                <a:lnTo>
                  <a:pt x="766" y="181"/>
                </a:lnTo>
                <a:lnTo>
                  <a:pt x="783" y="165"/>
                </a:lnTo>
                <a:lnTo>
                  <a:pt x="751" y="149"/>
                </a:lnTo>
                <a:lnTo>
                  <a:pt x="718" y="132"/>
                </a:lnTo>
                <a:lnTo>
                  <a:pt x="701" y="98"/>
                </a:lnTo>
                <a:lnTo>
                  <a:pt x="701" y="83"/>
                </a:lnTo>
                <a:lnTo>
                  <a:pt x="718" y="49"/>
                </a:lnTo>
                <a:lnTo>
                  <a:pt x="668" y="32"/>
                </a:lnTo>
                <a:lnTo>
                  <a:pt x="668" y="16"/>
                </a:lnTo>
                <a:lnTo>
                  <a:pt x="636" y="32"/>
                </a:lnTo>
                <a:lnTo>
                  <a:pt x="620" y="32"/>
                </a:lnTo>
                <a:lnTo>
                  <a:pt x="571" y="32"/>
                </a:lnTo>
                <a:lnTo>
                  <a:pt x="554" y="32"/>
                </a:lnTo>
                <a:lnTo>
                  <a:pt x="506" y="0"/>
                </a:lnTo>
                <a:lnTo>
                  <a:pt x="440" y="0"/>
                </a:lnTo>
                <a:lnTo>
                  <a:pt x="440" y="16"/>
                </a:lnTo>
                <a:lnTo>
                  <a:pt x="456" y="49"/>
                </a:lnTo>
                <a:lnTo>
                  <a:pt x="440" y="49"/>
                </a:lnTo>
                <a:lnTo>
                  <a:pt x="423" y="49"/>
                </a:lnTo>
                <a:lnTo>
                  <a:pt x="407" y="66"/>
                </a:lnTo>
                <a:lnTo>
                  <a:pt x="392" y="66"/>
                </a:lnTo>
                <a:lnTo>
                  <a:pt x="392" y="115"/>
                </a:lnTo>
                <a:lnTo>
                  <a:pt x="392" y="132"/>
                </a:lnTo>
                <a:lnTo>
                  <a:pt x="375" y="132"/>
                </a:lnTo>
                <a:lnTo>
                  <a:pt x="359" y="181"/>
                </a:lnTo>
                <a:lnTo>
                  <a:pt x="326" y="165"/>
                </a:lnTo>
                <a:lnTo>
                  <a:pt x="309" y="165"/>
                </a:lnTo>
                <a:lnTo>
                  <a:pt x="293" y="198"/>
                </a:lnTo>
                <a:lnTo>
                  <a:pt x="261" y="198"/>
                </a:lnTo>
                <a:lnTo>
                  <a:pt x="261" y="215"/>
                </a:lnTo>
                <a:lnTo>
                  <a:pt x="147" y="215"/>
                </a:lnTo>
              </a:path>
            </a:pathLst>
          </a:custGeom>
          <a:solidFill>
            <a:srgbClr val="2EF905"/>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7" name="Freeform 34"/>
          <p:cNvSpPr>
            <a:spLocks/>
          </p:cNvSpPr>
          <p:nvPr/>
        </p:nvSpPr>
        <p:spPr bwMode="auto">
          <a:xfrm>
            <a:off x="5541980" y="1622837"/>
            <a:ext cx="701676" cy="906065"/>
          </a:xfrm>
          <a:custGeom>
            <a:avLst/>
            <a:gdLst>
              <a:gd name="T0" fmla="*/ 2147483647 w 442"/>
              <a:gd name="T1" fmla="*/ 2147483647 h 761"/>
              <a:gd name="T2" fmla="*/ 2147483647 w 442"/>
              <a:gd name="T3" fmla="*/ 2147483647 h 761"/>
              <a:gd name="T4" fmla="*/ 2147483647 w 442"/>
              <a:gd name="T5" fmla="*/ 2147483647 h 761"/>
              <a:gd name="T6" fmla="*/ 2147483647 w 442"/>
              <a:gd name="T7" fmla="*/ 2147483647 h 761"/>
              <a:gd name="T8" fmla="*/ 2147483647 w 442"/>
              <a:gd name="T9" fmla="*/ 2147483647 h 761"/>
              <a:gd name="T10" fmla="*/ 2147483647 w 442"/>
              <a:gd name="T11" fmla="*/ 2147483647 h 761"/>
              <a:gd name="T12" fmla="*/ 2147483647 w 442"/>
              <a:gd name="T13" fmla="*/ 2147483647 h 761"/>
              <a:gd name="T14" fmla="*/ 0 w 442"/>
              <a:gd name="T15" fmla="*/ 2147483647 h 761"/>
              <a:gd name="T16" fmla="*/ 0 w 442"/>
              <a:gd name="T17" fmla="*/ 2147483647 h 761"/>
              <a:gd name="T18" fmla="*/ 2147483647 w 442"/>
              <a:gd name="T19" fmla="*/ 2147483647 h 761"/>
              <a:gd name="T20" fmla="*/ 2147483647 w 442"/>
              <a:gd name="T21" fmla="*/ 2147483647 h 761"/>
              <a:gd name="T22" fmla="*/ 2147483647 w 442"/>
              <a:gd name="T23" fmla="*/ 2147483647 h 761"/>
              <a:gd name="T24" fmla="*/ 2147483647 w 442"/>
              <a:gd name="T25" fmla="*/ 2147483647 h 761"/>
              <a:gd name="T26" fmla="*/ 2147483647 w 442"/>
              <a:gd name="T27" fmla="*/ 2147483647 h 761"/>
              <a:gd name="T28" fmla="*/ 2147483647 w 442"/>
              <a:gd name="T29" fmla="*/ 2147483647 h 761"/>
              <a:gd name="T30" fmla="*/ 2147483647 w 442"/>
              <a:gd name="T31" fmla="*/ 2147483647 h 761"/>
              <a:gd name="T32" fmla="*/ 2147483647 w 442"/>
              <a:gd name="T33" fmla="*/ 2147483647 h 761"/>
              <a:gd name="T34" fmla="*/ 2147483647 w 442"/>
              <a:gd name="T35" fmla="*/ 2147483647 h 761"/>
              <a:gd name="T36" fmla="*/ 2147483647 w 442"/>
              <a:gd name="T37" fmla="*/ 2147483647 h 761"/>
              <a:gd name="T38" fmla="*/ 2147483647 w 442"/>
              <a:gd name="T39" fmla="*/ 2147483647 h 761"/>
              <a:gd name="T40" fmla="*/ 2147483647 w 442"/>
              <a:gd name="T41" fmla="*/ 2147483647 h 761"/>
              <a:gd name="T42" fmla="*/ 2147483647 w 442"/>
              <a:gd name="T43" fmla="*/ 2147483647 h 761"/>
              <a:gd name="T44" fmla="*/ 2147483647 w 442"/>
              <a:gd name="T45" fmla="*/ 2147483647 h 761"/>
              <a:gd name="T46" fmla="*/ 2147483647 w 442"/>
              <a:gd name="T47" fmla="*/ 2147483647 h 761"/>
              <a:gd name="T48" fmla="*/ 2147483647 w 442"/>
              <a:gd name="T49" fmla="*/ 2147483647 h 761"/>
              <a:gd name="T50" fmla="*/ 2147483647 w 442"/>
              <a:gd name="T51" fmla="*/ 2147483647 h 761"/>
              <a:gd name="T52" fmla="*/ 2147483647 w 442"/>
              <a:gd name="T53" fmla="*/ 2147483647 h 761"/>
              <a:gd name="T54" fmla="*/ 2147483647 w 442"/>
              <a:gd name="T55" fmla="*/ 2147483647 h 761"/>
              <a:gd name="T56" fmla="*/ 2147483647 w 442"/>
              <a:gd name="T57" fmla="*/ 2147483647 h 761"/>
              <a:gd name="T58" fmla="*/ 2147483647 w 442"/>
              <a:gd name="T59" fmla="*/ 2147483647 h 761"/>
              <a:gd name="T60" fmla="*/ 2147483647 w 442"/>
              <a:gd name="T61" fmla="*/ 2147483647 h 761"/>
              <a:gd name="T62" fmla="*/ 2147483647 w 442"/>
              <a:gd name="T63" fmla="*/ 2147483647 h 761"/>
              <a:gd name="T64" fmla="*/ 2147483647 w 442"/>
              <a:gd name="T65" fmla="*/ 2147483647 h 761"/>
              <a:gd name="T66" fmla="*/ 2147483647 w 442"/>
              <a:gd name="T67" fmla="*/ 2147483647 h 761"/>
              <a:gd name="T68" fmla="*/ 2147483647 w 442"/>
              <a:gd name="T69" fmla="*/ 2147483647 h 761"/>
              <a:gd name="T70" fmla="*/ 2147483647 w 442"/>
              <a:gd name="T71" fmla="*/ 0 h 76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2"/>
              <a:gd name="T109" fmla="*/ 0 h 761"/>
              <a:gd name="T110" fmla="*/ 442 w 442"/>
              <a:gd name="T111" fmla="*/ 761 h 76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2" h="761">
                <a:moveTo>
                  <a:pt x="65" y="50"/>
                </a:moveTo>
                <a:lnTo>
                  <a:pt x="82" y="66"/>
                </a:lnTo>
                <a:lnTo>
                  <a:pt x="114" y="99"/>
                </a:lnTo>
                <a:lnTo>
                  <a:pt x="114" y="132"/>
                </a:lnTo>
                <a:lnTo>
                  <a:pt x="82" y="149"/>
                </a:lnTo>
                <a:lnTo>
                  <a:pt x="82" y="182"/>
                </a:lnTo>
                <a:lnTo>
                  <a:pt x="65" y="182"/>
                </a:lnTo>
                <a:lnTo>
                  <a:pt x="32" y="198"/>
                </a:lnTo>
                <a:lnTo>
                  <a:pt x="49" y="232"/>
                </a:lnTo>
                <a:lnTo>
                  <a:pt x="49" y="247"/>
                </a:lnTo>
                <a:lnTo>
                  <a:pt x="32" y="264"/>
                </a:lnTo>
                <a:lnTo>
                  <a:pt x="32" y="281"/>
                </a:lnTo>
                <a:lnTo>
                  <a:pt x="16" y="281"/>
                </a:lnTo>
                <a:lnTo>
                  <a:pt x="16" y="298"/>
                </a:lnTo>
                <a:lnTo>
                  <a:pt x="0" y="313"/>
                </a:lnTo>
                <a:lnTo>
                  <a:pt x="0" y="330"/>
                </a:lnTo>
                <a:lnTo>
                  <a:pt x="0" y="347"/>
                </a:lnTo>
                <a:lnTo>
                  <a:pt x="0" y="380"/>
                </a:lnTo>
                <a:lnTo>
                  <a:pt x="16" y="396"/>
                </a:lnTo>
                <a:lnTo>
                  <a:pt x="16" y="413"/>
                </a:lnTo>
                <a:lnTo>
                  <a:pt x="32" y="413"/>
                </a:lnTo>
                <a:lnTo>
                  <a:pt x="65" y="446"/>
                </a:lnTo>
                <a:lnTo>
                  <a:pt x="82" y="462"/>
                </a:lnTo>
                <a:lnTo>
                  <a:pt x="97" y="479"/>
                </a:lnTo>
                <a:lnTo>
                  <a:pt x="114" y="496"/>
                </a:lnTo>
                <a:lnTo>
                  <a:pt x="114" y="512"/>
                </a:lnTo>
                <a:lnTo>
                  <a:pt x="114" y="529"/>
                </a:lnTo>
                <a:lnTo>
                  <a:pt x="130" y="529"/>
                </a:lnTo>
                <a:lnTo>
                  <a:pt x="147" y="529"/>
                </a:lnTo>
                <a:lnTo>
                  <a:pt x="147" y="512"/>
                </a:lnTo>
                <a:lnTo>
                  <a:pt x="163" y="529"/>
                </a:lnTo>
                <a:lnTo>
                  <a:pt x="163" y="545"/>
                </a:lnTo>
                <a:lnTo>
                  <a:pt x="163" y="562"/>
                </a:lnTo>
                <a:lnTo>
                  <a:pt x="147" y="595"/>
                </a:lnTo>
                <a:lnTo>
                  <a:pt x="147" y="612"/>
                </a:lnTo>
                <a:lnTo>
                  <a:pt x="163" y="612"/>
                </a:lnTo>
                <a:lnTo>
                  <a:pt x="180" y="628"/>
                </a:lnTo>
                <a:lnTo>
                  <a:pt x="196" y="644"/>
                </a:lnTo>
                <a:lnTo>
                  <a:pt x="212" y="661"/>
                </a:lnTo>
                <a:lnTo>
                  <a:pt x="228" y="661"/>
                </a:lnTo>
                <a:lnTo>
                  <a:pt x="245" y="678"/>
                </a:lnTo>
                <a:lnTo>
                  <a:pt x="245" y="693"/>
                </a:lnTo>
                <a:lnTo>
                  <a:pt x="245" y="727"/>
                </a:lnTo>
                <a:lnTo>
                  <a:pt x="245" y="744"/>
                </a:lnTo>
                <a:lnTo>
                  <a:pt x="294" y="760"/>
                </a:lnTo>
                <a:lnTo>
                  <a:pt x="294" y="744"/>
                </a:lnTo>
                <a:lnTo>
                  <a:pt x="294" y="760"/>
                </a:lnTo>
                <a:lnTo>
                  <a:pt x="294" y="744"/>
                </a:lnTo>
                <a:lnTo>
                  <a:pt x="311" y="760"/>
                </a:lnTo>
                <a:lnTo>
                  <a:pt x="343" y="760"/>
                </a:lnTo>
                <a:lnTo>
                  <a:pt x="359" y="744"/>
                </a:lnTo>
                <a:lnTo>
                  <a:pt x="359" y="710"/>
                </a:lnTo>
                <a:lnTo>
                  <a:pt x="359" y="693"/>
                </a:lnTo>
                <a:lnTo>
                  <a:pt x="392" y="710"/>
                </a:lnTo>
                <a:lnTo>
                  <a:pt x="409" y="693"/>
                </a:lnTo>
                <a:lnTo>
                  <a:pt x="392" y="661"/>
                </a:lnTo>
                <a:lnTo>
                  <a:pt x="392" y="644"/>
                </a:lnTo>
                <a:lnTo>
                  <a:pt x="409" y="628"/>
                </a:lnTo>
                <a:lnTo>
                  <a:pt x="409" y="612"/>
                </a:lnTo>
                <a:lnTo>
                  <a:pt x="409" y="595"/>
                </a:lnTo>
                <a:lnTo>
                  <a:pt x="409" y="578"/>
                </a:lnTo>
                <a:lnTo>
                  <a:pt x="409" y="562"/>
                </a:lnTo>
                <a:lnTo>
                  <a:pt x="425" y="545"/>
                </a:lnTo>
                <a:lnTo>
                  <a:pt x="441" y="529"/>
                </a:lnTo>
                <a:lnTo>
                  <a:pt x="441" y="512"/>
                </a:lnTo>
                <a:lnTo>
                  <a:pt x="409" y="496"/>
                </a:lnTo>
                <a:lnTo>
                  <a:pt x="359" y="99"/>
                </a:lnTo>
                <a:lnTo>
                  <a:pt x="392" y="82"/>
                </a:lnTo>
                <a:lnTo>
                  <a:pt x="376" y="82"/>
                </a:lnTo>
                <a:lnTo>
                  <a:pt x="326" y="33"/>
                </a:lnTo>
                <a:lnTo>
                  <a:pt x="326" y="16"/>
                </a:lnTo>
                <a:lnTo>
                  <a:pt x="326" y="0"/>
                </a:lnTo>
                <a:lnTo>
                  <a:pt x="65" y="50"/>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8" name="Freeform 35"/>
          <p:cNvSpPr>
            <a:spLocks/>
          </p:cNvSpPr>
          <p:nvPr/>
        </p:nvSpPr>
        <p:spPr bwMode="auto">
          <a:xfrm>
            <a:off x="4713307" y="1506141"/>
            <a:ext cx="1011237" cy="513159"/>
          </a:xfrm>
          <a:custGeom>
            <a:avLst/>
            <a:gdLst>
              <a:gd name="T0" fmla="*/ 0 w 637"/>
              <a:gd name="T1" fmla="*/ 2147483647 h 431"/>
              <a:gd name="T2" fmla="*/ 0 w 637"/>
              <a:gd name="T3" fmla="*/ 2147483647 h 431"/>
              <a:gd name="T4" fmla="*/ 0 w 637"/>
              <a:gd name="T5" fmla="*/ 2147483647 h 431"/>
              <a:gd name="T6" fmla="*/ 0 w 637"/>
              <a:gd name="T7" fmla="*/ 2147483647 h 431"/>
              <a:gd name="T8" fmla="*/ 0 w 637"/>
              <a:gd name="T9" fmla="*/ 2147483647 h 431"/>
              <a:gd name="T10" fmla="*/ 0 w 637"/>
              <a:gd name="T11" fmla="*/ 2147483647 h 431"/>
              <a:gd name="T12" fmla="*/ 0 w 637"/>
              <a:gd name="T13" fmla="*/ 2147483647 h 431"/>
              <a:gd name="T14" fmla="*/ 0 w 637"/>
              <a:gd name="T15" fmla="*/ 2147483647 h 431"/>
              <a:gd name="T16" fmla="*/ 0 w 637"/>
              <a:gd name="T17" fmla="*/ 2147483647 h 431"/>
              <a:gd name="T18" fmla="*/ 2147483647 w 637"/>
              <a:gd name="T19" fmla="*/ 2147483647 h 431"/>
              <a:gd name="T20" fmla="*/ 2147483647 w 637"/>
              <a:gd name="T21" fmla="*/ 2147483647 h 431"/>
              <a:gd name="T22" fmla="*/ 2147483647 w 637"/>
              <a:gd name="T23" fmla="*/ 2147483647 h 431"/>
              <a:gd name="T24" fmla="*/ 2147483647 w 637"/>
              <a:gd name="T25" fmla="*/ 2147483647 h 431"/>
              <a:gd name="T26" fmla="*/ 2147483647 w 637"/>
              <a:gd name="T27" fmla="*/ 2147483647 h 431"/>
              <a:gd name="T28" fmla="*/ 2147483647 w 637"/>
              <a:gd name="T29" fmla="*/ 2147483647 h 431"/>
              <a:gd name="T30" fmla="*/ 2147483647 w 637"/>
              <a:gd name="T31" fmla="*/ 2147483647 h 431"/>
              <a:gd name="T32" fmla="*/ 2147483647 w 637"/>
              <a:gd name="T33" fmla="*/ 2147483647 h 431"/>
              <a:gd name="T34" fmla="*/ 2147483647 w 637"/>
              <a:gd name="T35" fmla="*/ 2147483647 h 431"/>
              <a:gd name="T36" fmla="*/ 2147483647 w 637"/>
              <a:gd name="T37" fmla="*/ 2147483647 h 431"/>
              <a:gd name="T38" fmla="*/ 2147483647 w 637"/>
              <a:gd name="T39" fmla="*/ 2147483647 h 431"/>
              <a:gd name="T40" fmla="*/ 2147483647 w 637"/>
              <a:gd name="T41" fmla="*/ 2147483647 h 431"/>
              <a:gd name="T42" fmla="*/ 2147483647 w 637"/>
              <a:gd name="T43" fmla="*/ 2147483647 h 431"/>
              <a:gd name="T44" fmla="*/ 2147483647 w 637"/>
              <a:gd name="T45" fmla="*/ 2147483647 h 431"/>
              <a:gd name="T46" fmla="*/ 2147483647 w 637"/>
              <a:gd name="T47" fmla="*/ 2147483647 h 431"/>
              <a:gd name="T48" fmla="*/ 2147483647 w 637"/>
              <a:gd name="T49" fmla="*/ 2147483647 h 431"/>
              <a:gd name="T50" fmla="*/ 2147483647 w 637"/>
              <a:gd name="T51" fmla="*/ 2147483647 h 431"/>
              <a:gd name="T52" fmla="*/ 2147483647 w 637"/>
              <a:gd name="T53" fmla="*/ 2147483647 h 431"/>
              <a:gd name="T54" fmla="*/ 2147483647 w 637"/>
              <a:gd name="T55" fmla="*/ 2147483647 h 431"/>
              <a:gd name="T56" fmla="*/ 2147483647 w 637"/>
              <a:gd name="T57" fmla="*/ 2147483647 h 431"/>
              <a:gd name="T58" fmla="*/ 2147483647 w 637"/>
              <a:gd name="T59" fmla="*/ 2147483647 h 431"/>
              <a:gd name="T60" fmla="*/ 2147483647 w 637"/>
              <a:gd name="T61" fmla="*/ 2147483647 h 431"/>
              <a:gd name="T62" fmla="*/ 2147483647 w 637"/>
              <a:gd name="T63" fmla="*/ 2147483647 h 431"/>
              <a:gd name="T64" fmla="*/ 2147483647 w 637"/>
              <a:gd name="T65" fmla="*/ 2147483647 h 431"/>
              <a:gd name="T66" fmla="*/ 2147483647 w 637"/>
              <a:gd name="T67" fmla="*/ 2147483647 h 431"/>
              <a:gd name="T68" fmla="*/ 2147483647 w 637"/>
              <a:gd name="T69" fmla="*/ 2147483647 h 431"/>
              <a:gd name="T70" fmla="*/ 2147483647 w 637"/>
              <a:gd name="T71" fmla="*/ 2147483647 h 431"/>
              <a:gd name="T72" fmla="*/ 2147483647 w 637"/>
              <a:gd name="T73" fmla="*/ 2147483647 h 431"/>
              <a:gd name="T74" fmla="*/ 2147483647 w 637"/>
              <a:gd name="T75" fmla="*/ 2147483647 h 431"/>
              <a:gd name="T76" fmla="*/ 2147483647 w 637"/>
              <a:gd name="T77" fmla="*/ 2147483647 h 431"/>
              <a:gd name="T78" fmla="*/ 2147483647 w 637"/>
              <a:gd name="T79" fmla="*/ 2147483647 h 431"/>
              <a:gd name="T80" fmla="*/ 2147483647 w 637"/>
              <a:gd name="T81" fmla="*/ 2147483647 h 431"/>
              <a:gd name="T82" fmla="*/ 2147483647 w 637"/>
              <a:gd name="T83" fmla="*/ 2147483647 h 431"/>
              <a:gd name="T84" fmla="*/ 2147483647 w 637"/>
              <a:gd name="T85" fmla="*/ 2147483647 h 431"/>
              <a:gd name="T86" fmla="*/ 2147483647 w 637"/>
              <a:gd name="T87" fmla="*/ 2147483647 h 431"/>
              <a:gd name="T88" fmla="*/ 2147483647 w 637"/>
              <a:gd name="T89" fmla="*/ 2147483647 h 431"/>
              <a:gd name="T90" fmla="*/ 2147483647 w 637"/>
              <a:gd name="T91" fmla="*/ 2147483647 h 431"/>
              <a:gd name="T92" fmla="*/ 2147483647 w 637"/>
              <a:gd name="T93" fmla="*/ 2147483647 h 431"/>
              <a:gd name="T94" fmla="*/ 2147483647 w 637"/>
              <a:gd name="T95" fmla="*/ 2147483647 h 431"/>
              <a:gd name="T96" fmla="*/ 2147483647 w 637"/>
              <a:gd name="T97" fmla="*/ 2147483647 h 431"/>
              <a:gd name="T98" fmla="*/ 2147483647 w 637"/>
              <a:gd name="T99" fmla="*/ 0 h 431"/>
              <a:gd name="T100" fmla="*/ 2147483647 w 637"/>
              <a:gd name="T101" fmla="*/ 2147483647 h 431"/>
              <a:gd name="T102" fmla="*/ 2147483647 w 637"/>
              <a:gd name="T103" fmla="*/ 0 h 431"/>
              <a:gd name="T104" fmla="*/ 0 w 637"/>
              <a:gd name="T105" fmla="*/ 2147483647 h 4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37"/>
              <a:gd name="T160" fmla="*/ 0 h 431"/>
              <a:gd name="T161" fmla="*/ 637 w 637"/>
              <a:gd name="T162" fmla="*/ 431 h 43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37" h="431">
                <a:moveTo>
                  <a:pt x="0" y="49"/>
                </a:moveTo>
                <a:lnTo>
                  <a:pt x="0" y="49"/>
                </a:lnTo>
                <a:lnTo>
                  <a:pt x="0" y="66"/>
                </a:lnTo>
                <a:lnTo>
                  <a:pt x="0" y="83"/>
                </a:lnTo>
                <a:lnTo>
                  <a:pt x="0" y="98"/>
                </a:lnTo>
                <a:lnTo>
                  <a:pt x="0" y="132"/>
                </a:lnTo>
                <a:lnTo>
                  <a:pt x="0" y="149"/>
                </a:lnTo>
                <a:lnTo>
                  <a:pt x="0" y="165"/>
                </a:lnTo>
                <a:lnTo>
                  <a:pt x="0" y="198"/>
                </a:lnTo>
                <a:lnTo>
                  <a:pt x="16" y="198"/>
                </a:lnTo>
                <a:lnTo>
                  <a:pt x="16" y="231"/>
                </a:lnTo>
                <a:lnTo>
                  <a:pt x="31" y="248"/>
                </a:lnTo>
                <a:lnTo>
                  <a:pt x="48" y="248"/>
                </a:lnTo>
                <a:lnTo>
                  <a:pt x="48" y="281"/>
                </a:lnTo>
                <a:lnTo>
                  <a:pt x="64" y="297"/>
                </a:lnTo>
                <a:lnTo>
                  <a:pt x="64" y="314"/>
                </a:lnTo>
                <a:lnTo>
                  <a:pt x="64" y="331"/>
                </a:lnTo>
                <a:lnTo>
                  <a:pt x="64" y="346"/>
                </a:lnTo>
                <a:lnTo>
                  <a:pt x="64" y="380"/>
                </a:lnTo>
                <a:lnTo>
                  <a:pt x="81" y="380"/>
                </a:lnTo>
                <a:lnTo>
                  <a:pt x="81" y="413"/>
                </a:lnTo>
                <a:lnTo>
                  <a:pt x="97" y="430"/>
                </a:lnTo>
                <a:lnTo>
                  <a:pt x="179" y="430"/>
                </a:lnTo>
                <a:lnTo>
                  <a:pt x="260" y="430"/>
                </a:lnTo>
                <a:lnTo>
                  <a:pt x="326" y="430"/>
                </a:lnTo>
                <a:lnTo>
                  <a:pt x="374" y="430"/>
                </a:lnTo>
                <a:lnTo>
                  <a:pt x="424" y="413"/>
                </a:lnTo>
                <a:lnTo>
                  <a:pt x="473" y="413"/>
                </a:lnTo>
                <a:lnTo>
                  <a:pt x="505" y="413"/>
                </a:lnTo>
                <a:lnTo>
                  <a:pt x="521" y="430"/>
                </a:lnTo>
                <a:lnTo>
                  <a:pt x="521" y="413"/>
                </a:lnTo>
                <a:lnTo>
                  <a:pt x="538" y="397"/>
                </a:lnTo>
                <a:lnTo>
                  <a:pt x="538" y="380"/>
                </a:lnTo>
                <a:lnTo>
                  <a:pt x="554" y="380"/>
                </a:lnTo>
                <a:lnTo>
                  <a:pt x="554" y="363"/>
                </a:lnTo>
                <a:lnTo>
                  <a:pt x="571" y="346"/>
                </a:lnTo>
                <a:lnTo>
                  <a:pt x="571" y="331"/>
                </a:lnTo>
                <a:lnTo>
                  <a:pt x="554" y="297"/>
                </a:lnTo>
                <a:lnTo>
                  <a:pt x="587" y="281"/>
                </a:lnTo>
                <a:lnTo>
                  <a:pt x="604" y="281"/>
                </a:lnTo>
                <a:lnTo>
                  <a:pt x="604" y="248"/>
                </a:lnTo>
                <a:lnTo>
                  <a:pt x="636" y="231"/>
                </a:lnTo>
                <a:lnTo>
                  <a:pt x="636" y="198"/>
                </a:lnTo>
                <a:lnTo>
                  <a:pt x="604" y="165"/>
                </a:lnTo>
                <a:lnTo>
                  <a:pt x="587" y="149"/>
                </a:lnTo>
                <a:lnTo>
                  <a:pt x="554" y="115"/>
                </a:lnTo>
                <a:lnTo>
                  <a:pt x="538" y="115"/>
                </a:lnTo>
                <a:lnTo>
                  <a:pt x="521" y="98"/>
                </a:lnTo>
                <a:lnTo>
                  <a:pt x="521" y="16"/>
                </a:lnTo>
                <a:lnTo>
                  <a:pt x="521" y="0"/>
                </a:lnTo>
                <a:lnTo>
                  <a:pt x="521" y="16"/>
                </a:lnTo>
                <a:lnTo>
                  <a:pt x="521" y="0"/>
                </a:lnTo>
                <a:lnTo>
                  <a:pt x="0" y="49"/>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09" name="Freeform 36"/>
          <p:cNvSpPr>
            <a:spLocks/>
          </p:cNvSpPr>
          <p:nvPr/>
        </p:nvSpPr>
        <p:spPr bwMode="auto">
          <a:xfrm>
            <a:off x="5284808" y="934655"/>
            <a:ext cx="803275" cy="750094"/>
          </a:xfrm>
          <a:custGeom>
            <a:avLst/>
            <a:gdLst>
              <a:gd name="T0" fmla="*/ 2147483647 w 506"/>
              <a:gd name="T1" fmla="*/ 2147483647 h 630"/>
              <a:gd name="T2" fmla="*/ 2147483647 w 506"/>
              <a:gd name="T3" fmla="*/ 2147483647 h 630"/>
              <a:gd name="T4" fmla="*/ 2147483647 w 506"/>
              <a:gd name="T5" fmla="*/ 2147483647 h 630"/>
              <a:gd name="T6" fmla="*/ 2147483647 w 506"/>
              <a:gd name="T7" fmla="*/ 2147483647 h 630"/>
              <a:gd name="T8" fmla="*/ 2147483647 w 506"/>
              <a:gd name="T9" fmla="*/ 2147483647 h 630"/>
              <a:gd name="T10" fmla="*/ 2147483647 w 506"/>
              <a:gd name="T11" fmla="*/ 2147483647 h 630"/>
              <a:gd name="T12" fmla="*/ 2147483647 w 506"/>
              <a:gd name="T13" fmla="*/ 2147483647 h 630"/>
              <a:gd name="T14" fmla="*/ 2147483647 w 506"/>
              <a:gd name="T15" fmla="*/ 2147483647 h 630"/>
              <a:gd name="T16" fmla="*/ 2147483647 w 506"/>
              <a:gd name="T17" fmla="*/ 2147483647 h 630"/>
              <a:gd name="T18" fmla="*/ 2147483647 w 506"/>
              <a:gd name="T19" fmla="*/ 2147483647 h 630"/>
              <a:gd name="T20" fmla="*/ 2147483647 w 506"/>
              <a:gd name="T21" fmla="*/ 2147483647 h 630"/>
              <a:gd name="T22" fmla="*/ 2147483647 w 506"/>
              <a:gd name="T23" fmla="*/ 2147483647 h 630"/>
              <a:gd name="T24" fmla="*/ 2147483647 w 506"/>
              <a:gd name="T25" fmla="*/ 2147483647 h 630"/>
              <a:gd name="T26" fmla="*/ 2147483647 w 506"/>
              <a:gd name="T27" fmla="*/ 2147483647 h 630"/>
              <a:gd name="T28" fmla="*/ 2147483647 w 506"/>
              <a:gd name="T29" fmla="*/ 2147483647 h 630"/>
              <a:gd name="T30" fmla="*/ 2147483647 w 506"/>
              <a:gd name="T31" fmla="*/ 2147483647 h 630"/>
              <a:gd name="T32" fmla="*/ 2147483647 w 506"/>
              <a:gd name="T33" fmla="*/ 2147483647 h 630"/>
              <a:gd name="T34" fmla="*/ 2147483647 w 506"/>
              <a:gd name="T35" fmla="*/ 2147483647 h 630"/>
              <a:gd name="T36" fmla="*/ 2147483647 w 506"/>
              <a:gd name="T37" fmla="*/ 2147483647 h 630"/>
              <a:gd name="T38" fmla="*/ 0 w 506"/>
              <a:gd name="T39" fmla="*/ 2147483647 h 630"/>
              <a:gd name="T40" fmla="*/ 0 w 506"/>
              <a:gd name="T41" fmla="*/ 2147483647 h 630"/>
              <a:gd name="T42" fmla="*/ 0 w 506"/>
              <a:gd name="T43" fmla="*/ 2147483647 h 630"/>
              <a:gd name="T44" fmla="*/ 0 w 506"/>
              <a:gd name="T45" fmla="*/ 2147483647 h 630"/>
              <a:gd name="T46" fmla="*/ 0 w 506"/>
              <a:gd name="T47" fmla="*/ 2147483647 h 630"/>
              <a:gd name="T48" fmla="*/ 0 w 506"/>
              <a:gd name="T49" fmla="*/ 2147483647 h 630"/>
              <a:gd name="T50" fmla="*/ 2147483647 w 506"/>
              <a:gd name="T51" fmla="*/ 2147483647 h 630"/>
              <a:gd name="T52" fmla="*/ 2147483647 w 506"/>
              <a:gd name="T53" fmla="*/ 2147483647 h 630"/>
              <a:gd name="T54" fmla="*/ 2147483647 w 506"/>
              <a:gd name="T55" fmla="*/ 2147483647 h 630"/>
              <a:gd name="T56" fmla="*/ 2147483647 w 506"/>
              <a:gd name="T57" fmla="*/ 2147483647 h 630"/>
              <a:gd name="T58" fmla="*/ 2147483647 w 506"/>
              <a:gd name="T59" fmla="*/ 2147483647 h 630"/>
              <a:gd name="T60" fmla="*/ 2147483647 w 506"/>
              <a:gd name="T61" fmla="*/ 2147483647 h 630"/>
              <a:gd name="T62" fmla="*/ 2147483647 w 506"/>
              <a:gd name="T63" fmla="*/ 0 h 630"/>
              <a:gd name="T64" fmla="*/ 2147483647 w 506"/>
              <a:gd name="T65" fmla="*/ 0 h 630"/>
              <a:gd name="T66" fmla="*/ 2147483647 w 506"/>
              <a:gd name="T67" fmla="*/ 2147483647 h 630"/>
              <a:gd name="T68" fmla="*/ 2147483647 w 506"/>
              <a:gd name="T69" fmla="*/ 2147483647 h 630"/>
              <a:gd name="T70" fmla="*/ 2147483647 w 506"/>
              <a:gd name="T71" fmla="*/ 2147483647 h 630"/>
              <a:gd name="T72" fmla="*/ 2147483647 w 506"/>
              <a:gd name="T73" fmla="*/ 2147483647 h 630"/>
              <a:gd name="T74" fmla="*/ 2147483647 w 506"/>
              <a:gd name="T75" fmla="*/ 2147483647 h 630"/>
              <a:gd name="T76" fmla="*/ 2147483647 w 506"/>
              <a:gd name="T77" fmla="*/ 2147483647 h 630"/>
              <a:gd name="T78" fmla="*/ 2147483647 w 506"/>
              <a:gd name="T79" fmla="*/ 2147483647 h 630"/>
              <a:gd name="T80" fmla="*/ 2147483647 w 506"/>
              <a:gd name="T81" fmla="*/ 2147483647 h 630"/>
              <a:gd name="T82" fmla="*/ 2147483647 w 506"/>
              <a:gd name="T83" fmla="*/ 2147483647 h 630"/>
              <a:gd name="T84" fmla="*/ 2147483647 w 506"/>
              <a:gd name="T85" fmla="*/ 2147483647 h 630"/>
              <a:gd name="T86" fmla="*/ 2147483647 w 506"/>
              <a:gd name="T87" fmla="*/ 2147483647 h 630"/>
              <a:gd name="T88" fmla="*/ 2147483647 w 506"/>
              <a:gd name="T89" fmla="*/ 2147483647 h 630"/>
              <a:gd name="T90" fmla="*/ 2147483647 w 506"/>
              <a:gd name="T91" fmla="*/ 2147483647 h 630"/>
              <a:gd name="T92" fmla="*/ 2147483647 w 506"/>
              <a:gd name="T93" fmla="*/ 2147483647 h 630"/>
              <a:gd name="T94" fmla="*/ 2147483647 w 506"/>
              <a:gd name="T95" fmla="*/ 2147483647 h 630"/>
              <a:gd name="T96" fmla="*/ 2147483647 w 506"/>
              <a:gd name="T97" fmla="*/ 2147483647 h 630"/>
              <a:gd name="T98" fmla="*/ 2147483647 w 506"/>
              <a:gd name="T99" fmla="*/ 2147483647 h 630"/>
              <a:gd name="T100" fmla="*/ 2147483647 w 506"/>
              <a:gd name="T101" fmla="*/ 2147483647 h 630"/>
              <a:gd name="T102" fmla="*/ 2147483647 w 506"/>
              <a:gd name="T103" fmla="*/ 2147483647 h 630"/>
              <a:gd name="T104" fmla="*/ 2147483647 w 506"/>
              <a:gd name="T105" fmla="*/ 2147483647 h 630"/>
              <a:gd name="T106" fmla="*/ 2147483647 w 506"/>
              <a:gd name="T107" fmla="*/ 2147483647 h 6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06"/>
              <a:gd name="T163" fmla="*/ 0 h 630"/>
              <a:gd name="T164" fmla="*/ 506 w 506"/>
              <a:gd name="T165" fmla="*/ 630 h 6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06" h="630">
                <a:moveTo>
                  <a:pt x="505" y="182"/>
                </a:moveTo>
                <a:lnTo>
                  <a:pt x="505" y="215"/>
                </a:lnTo>
                <a:lnTo>
                  <a:pt x="488" y="248"/>
                </a:lnTo>
                <a:lnTo>
                  <a:pt x="473" y="264"/>
                </a:lnTo>
                <a:lnTo>
                  <a:pt x="473" y="446"/>
                </a:lnTo>
                <a:lnTo>
                  <a:pt x="473" y="463"/>
                </a:lnTo>
                <a:lnTo>
                  <a:pt x="473" y="479"/>
                </a:lnTo>
                <a:lnTo>
                  <a:pt x="488" y="496"/>
                </a:lnTo>
                <a:lnTo>
                  <a:pt x="488" y="578"/>
                </a:lnTo>
                <a:lnTo>
                  <a:pt x="228" y="629"/>
                </a:lnTo>
                <a:lnTo>
                  <a:pt x="195" y="595"/>
                </a:lnTo>
                <a:lnTo>
                  <a:pt x="178" y="595"/>
                </a:lnTo>
                <a:lnTo>
                  <a:pt x="162" y="578"/>
                </a:lnTo>
                <a:lnTo>
                  <a:pt x="162" y="496"/>
                </a:lnTo>
                <a:lnTo>
                  <a:pt x="162" y="479"/>
                </a:lnTo>
                <a:lnTo>
                  <a:pt x="146" y="446"/>
                </a:lnTo>
                <a:lnTo>
                  <a:pt x="114" y="396"/>
                </a:lnTo>
                <a:lnTo>
                  <a:pt x="81" y="380"/>
                </a:lnTo>
                <a:lnTo>
                  <a:pt x="31" y="347"/>
                </a:lnTo>
                <a:lnTo>
                  <a:pt x="0" y="330"/>
                </a:lnTo>
                <a:lnTo>
                  <a:pt x="0" y="298"/>
                </a:lnTo>
                <a:lnTo>
                  <a:pt x="0" y="281"/>
                </a:lnTo>
                <a:lnTo>
                  <a:pt x="0" y="232"/>
                </a:lnTo>
                <a:lnTo>
                  <a:pt x="0" y="182"/>
                </a:lnTo>
                <a:lnTo>
                  <a:pt x="0" y="165"/>
                </a:lnTo>
                <a:lnTo>
                  <a:pt x="31" y="116"/>
                </a:lnTo>
                <a:lnTo>
                  <a:pt x="48" y="82"/>
                </a:lnTo>
                <a:lnTo>
                  <a:pt x="48" y="16"/>
                </a:lnTo>
                <a:lnTo>
                  <a:pt x="64" y="16"/>
                </a:lnTo>
                <a:lnTo>
                  <a:pt x="81" y="16"/>
                </a:lnTo>
                <a:lnTo>
                  <a:pt x="97" y="16"/>
                </a:lnTo>
                <a:lnTo>
                  <a:pt x="114" y="0"/>
                </a:lnTo>
                <a:lnTo>
                  <a:pt x="130" y="0"/>
                </a:lnTo>
                <a:lnTo>
                  <a:pt x="146" y="16"/>
                </a:lnTo>
                <a:lnTo>
                  <a:pt x="178" y="33"/>
                </a:lnTo>
                <a:lnTo>
                  <a:pt x="195" y="33"/>
                </a:lnTo>
                <a:lnTo>
                  <a:pt x="228" y="33"/>
                </a:lnTo>
                <a:lnTo>
                  <a:pt x="228" y="66"/>
                </a:lnTo>
                <a:lnTo>
                  <a:pt x="244" y="66"/>
                </a:lnTo>
                <a:lnTo>
                  <a:pt x="326" y="66"/>
                </a:lnTo>
                <a:lnTo>
                  <a:pt x="342" y="99"/>
                </a:lnTo>
                <a:lnTo>
                  <a:pt x="407" y="99"/>
                </a:lnTo>
                <a:lnTo>
                  <a:pt x="407" y="116"/>
                </a:lnTo>
                <a:lnTo>
                  <a:pt x="440" y="132"/>
                </a:lnTo>
                <a:lnTo>
                  <a:pt x="456" y="149"/>
                </a:lnTo>
                <a:lnTo>
                  <a:pt x="456" y="248"/>
                </a:lnTo>
                <a:lnTo>
                  <a:pt x="440" y="248"/>
                </a:lnTo>
                <a:lnTo>
                  <a:pt x="456" y="264"/>
                </a:lnTo>
                <a:lnTo>
                  <a:pt x="456" y="248"/>
                </a:lnTo>
                <a:lnTo>
                  <a:pt x="473" y="248"/>
                </a:lnTo>
                <a:lnTo>
                  <a:pt x="473" y="232"/>
                </a:lnTo>
                <a:lnTo>
                  <a:pt x="488" y="215"/>
                </a:lnTo>
                <a:lnTo>
                  <a:pt x="488" y="198"/>
                </a:lnTo>
                <a:lnTo>
                  <a:pt x="505" y="182"/>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0" name="Freeform 37"/>
          <p:cNvSpPr>
            <a:spLocks/>
          </p:cNvSpPr>
          <p:nvPr/>
        </p:nvSpPr>
        <p:spPr bwMode="auto">
          <a:xfrm>
            <a:off x="4557713" y="560785"/>
            <a:ext cx="1117600" cy="1004888"/>
          </a:xfrm>
          <a:custGeom>
            <a:avLst/>
            <a:gdLst>
              <a:gd name="T0" fmla="*/ 2147483647 w 704"/>
              <a:gd name="T1" fmla="*/ 2147483647 h 844"/>
              <a:gd name="T2" fmla="*/ 2147483647 w 704"/>
              <a:gd name="T3" fmla="*/ 2147483647 h 844"/>
              <a:gd name="T4" fmla="*/ 2147483647 w 704"/>
              <a:gd name="T5" fmla="*/ 2147483647 h 844"/>
              <a:gd name="T6" fmla="*/ 2147483647 w 704"/>
              <a:gd name="T7" fmla="*/ 2147483647 h 844"/>
              <a:gd name="T8" fmla="*/ 2147483647 w 704"/>
              <a:gd name="T9" fmla="*/ 2147483647 h 844"/>
              <a:gd name="T10" fmla="*/ 2147483647 w 704"/>
              <a:gd name="T11" fmla="*/ 2147483647 h 844"/>
              <a:gd name="T12" fmla="*/ 2147483647 w 704"/>
              <a:gd name="T13" fmla="*/ 2147483647 h 844"/>
              <a:gd name="T14" fmla="*/ 2147483647 w 704"/>
              <a:gd name="T15" fmla="*/ 2147483647 h 844"/>
              <a:gd name="T16" fmla="*/ 2147483647 w 704"/>
              <a:gd name="T17" fmla="*/ 2147483647 h 844"/>
              <a:gd name="T18" fmla="*/ 2147483647 w 704"/>
              <a:gd name="T19" fmla="*/ 2147483647 h 844"/>
              <a:gd name="T20" fmla="*/ 2147483647 w 704"/>
              <a:gd name="T21" fmla="*/ 2147483647 h 844"/>
              <a:gd name="T22" fmla="*/ 2147483647 w 704"/>
              <a:gd name="T23" fmla="*/ 2147483647 h 844"/>
              <a:gd name="T24" fmla="*/ 2147483647 w 704"/>
              <a:gd name="T25" fmla="*/ 2147483647 h 844"/>
              <a:gd name="T26" fmla="*/ 2147483647 w 704"/>
              <a:gd name="T27" fmla="*/ 2147483647 h 844"/>
              <a:gd name="T28" fmla="*/ 2147483647 w 704"/>
              <a:gd name="T29" fmla="*/ 2147483647 h 844"/>
              <a:gd name="T30" fmla="*/ 2147483647 w 704"/>
              <a:gd name="T31" fmla="*/ 2147483647 h 844"/>
              <a:gd name="T32" fmla="*/ 2147483647 w 704"/>
              <a:gd name="T33" fmla="*/ 2147483647 h 844"/>
              <a:gd name="T34" fmla="*/ 2147483647 w 704"/>
              <a:gd name="T35" fmla="*/ 2147483647 h 844"/>
              <a:gd name="T36" fmla="*/ 2147483647 w 704"/>
              <a:gd name="T37" fmla="*/ 2147483647 h 844"/>
              <a:gd name="T38" fmla="*/ 0 w 704"/>
              <a:gd name="T39" fmla="*/ 2147483647 h 844"/>
              <a:gd name="T40" fmla="*/ 0 w 704"/>
              <a:gd name="T41" fmla="*/ 2147483647 h 844"/>
              <a:gd name="T42" fmla="*/ 0 w 704"/>
              <a:gd name="T43" fmla="*/ 2147483647 h 844"/>
              <a:gd name="T44" fmla="*/ 2147483647 w 704"/>
              <a:gd name="T45" fmla="*/ 2147483647 h 844"/>
              <a:gd name="T46" fmla="*/ 0 w 704"/>
              <a:gd name="T47" fmla="*/ 2147483647 h 844"/>
              <a:gd name="T48" fmla="*/ 2147483647 w 704"/>
              <a:gd name="T49" fmla="*/ 2147483647 h 844"/>
              <a:gd name="T50" fmla="*/ 2147483647 w 704"/>
              <a:gd name="T51" fmla="*/ 2147483647 h 844"/>
              <a:gd name="T52" fmla="*/ 2147483647 w 704"/>
              <a:gd name="T53" fmla="*/ 0 h 844"/>
              <a:gd name="T54" fmla="*/ 2147483647 w 704"/>
              <a:gd name="T55" fmla="*/ 2147483647 h 844"/>
              <a:gd name="T56" fmla="*/ 2147483647 w 704"/>
              <a:gd name="T57" fmla="*/ 2147483647 h 844"/>
              <a:gd name="T58" fmla="*/ 2147483647 w 704"/>
              <a:gd name="T59" fmla="*/ 2147483647 h 844"/>
              <a:gd name="T60" fmla="*/ 2147483647 w 704"/>
              <a:gd name="T61" fmla="*/ 2147483647 h 844"/>
              <a:gd name="T62" fmla="*/ 2147483647 w 704"/>
              <a:gd name="T63" fmla="*/ 2147483647 h 844"/>
              <a:gd name="T64" fmla="*/ 2147483647 w 704"/>
              <a:gd name="T65" fmla="*/ 2147483647 h 844"/>
              <a:gd name="T66" fmla="*/ 2147483647 w 704"/>
              <a:gd name="T67" fmla="*/ 2147483647 h 844"/>
              <a:gd name="T68" fmla="*/ 2147483647 w 704"/>
              <a:gd name="T69" fmla="*/ 2147483647 h 844"/>
              <a:gd name="T70" fmla="*/ 2147483647 w 704"/>
              <a:gd name="T71" fmla="*/ 2147483647 h 844"/>
              <a:gd name="T72" fmla="*/ 2147483647 w 704"/>
              <a:gd name="T73" fmla="*/ 2147483647 h 844"/>
              <a:gd name="T74" fmla="*/ 2147483647 w 704"/>
              <a:gd name="T75" fmla="*/ 2147483647 h 844"/>
              <a:gd name="T76" fmla="*/ 2147483647 w 704"/>
              <a:gd name="T77" fmla="*/ 2147483647 h 844"/>
              <a:gd name="T78" fmla="*/ 2147483647 w 704"/>
              <a:gd name="T79" fmla="*/ 2147483647 h 844"/>
              <a:gd name="T80" fmla="*/ 2147483647 w 704"/>
              <a:gd name="T81" fmla="*/ 2147483647 h 844"/>
              <a:gd name="T82" fmla="*/ 2147483647 w 704"/>
              <a:gd name="T83" fmla="*/ 2147483647 h 844"/>
              <a:gd name="T84" fmla="*/ 2147483647 w 704"/>
              <a:gd name="T85" fmla="*/ 2147483647 h 844"/>
              <a:gd name="T86" fmla="*/ 2147483647 w 704"/>
              <a:gd name="T87" fmla="*/ 2147483647 h 844"/>
              <a:gd name="T88" fmla="*/ 2147483647 w 704"/>
              <a:gd name="T89" fmla="*/ 2147483647 h 844"/>
              <a:gd name="T90" fmla="*/ 2147483647 w 704"/>
              <a:gd name="T91" fmla="*/ 2147483647 h 844"/>
              <a:gd name="T92" fmla="*/ 2147483647 w 704"/>
              <a:gd name="T93" fmla="*/ 2147483647 h 844"/>
              <a:gd name="T94" fmla="*/ 2147483647 w 704"/>
              <a:gd name="T95" fmla="*/ 2147483647 h 844"/>
              <a:gd name="T96" fmla="*/ 2147483647 w 704"/>
              <a:gd name="T97" fmla="*/ 2147483647 h 844"/>
              <a:gd name="T98" fmla="*/ 2147483647 w 704"/>
              <a:gd name="T99" fmla="*/ 2147483647 h 844"/>
              <a:gd name="T100" fmla="*/ 2147483647 w 704"/>
              <a:gd name="T101" fmla="*/ 2147483647 h 844"/>
              <a:gd name="T102" fmla="*/ 2147483647 w 704"/>
              <a:gd name="T103" fmla="*/ 2147483647 h 844"/>
              <a:gd name="T104" fmla="*/ 2147483647 w 704"/>
              <a:gd name="T105" fmla="*/ 2147483647 h 844"/>
              <a:gd name="T106" fmla="*/ 2147483647 w 704"/>
              <a:gd name="T107" fmla="*/ 2147483647 h 844"/>
              <a:gd name="T108" fmla="*/ 2147483647 w 704"/>
              <a:gd name="T109" fmla="*/ 2147483647 h 844"/>
              <a:gd name="T110" fmla="*/ 2147483647 w 704"/>
              <a:gd name="T111" fmla="*/ 2147483647 h 844"/>
              <a:gd name="T112" fmla="*/ 2147483647 w 704"/>
              <a:gd name="T113" fmla="*/ 2147483647 h 844"/>
              <a:gd name="T114" fmla="*/ 2147483647 w 704"/>
              <a:gd name="T115" fmla="*/ 2147483647 h 844"/>
              <a:gd name="T116" fmla="*/ 2147483647 w 704"/>
              <a:gd name="T117" fmla="*/ 2147483647 h 844"/>
              <a:gd name="T118" fmla="*/ 2147483647 w 704"/>
              <a:gd name="T119" fmla="*/ 2147483647 h 8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04"/>
              <a:gd name="T181" fmla="*/ 0 h 844"/>
              <a:gd name="T182" fmla="*/ 704 w 704"/>
              <a:gd name="T183" fmla="*/ 844 h 8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04" h="844">
                <a:moveTo>
                  <a:pt x="97" y="843"/>
                </a:moveTo>
                <a:lnTo>
                  <a:pt x="97" y="776"/>
                </a:lnTo>
                <a:lnTo>
                  <a:pt x="97" y="595"/>
                </a:lnTo>
                <a:lnTo>
                  <a:pt x="97" y="562"/>
                </a:lnTo>
                <a:lnTo>
                  <a:pt x="81" y="562"/>
                </a:lnTo>
                <a:lnTo>
                  <a:pt x="64" y="562"/>
                </a:lnTo>
                <a:lnTo>
                  <a:pt x="64" y="529"/>
                </a:lnTo>
                <a:lnTo>
                  <a:pt x="81" y="529"/>
                </a:lnTo>
                <a:lnTo>
                  <a:pt x="81" y="479"/>
                </a:lnTo>
                <a:lnTo>
                  <a:pt x="81" y="462"/>
                </a:lnTo>
                <a:lnTo>
                  <a:pt x="64" y="430"/>
                </a:lnTo>
                <a:lnTo>
                  <a:pt x="48" y="413"/>
                </a:lnTo>
                <a:lnTo>
                  <a:pt x="64" y="380"/>
                </a:lnTo>
                <a:lnTo>
                  <a:pt x="48" y="364"/>
                </a:lnTo>
                <a:lnTo>
                  <a:pt x="48" y="330"/>
                </a:lnTo>
                <a:lnTo>
                  <a:pt x="48" y="281"/>
                </a:lnTo>
                <a:lnTo>
                  <a:pt x="48" y="264"/>
                </a:lnTo>
                <a:lnTo>
                  <a:pt x="31" y="232"/>
                </a:lnTo>
                <a:lnTo>
                  <a:pt x="31" y="198"/>
                </a:lnTo>
                <a:lnTo>
                  <a:pt x="0" y="182"/>
                </a:lnTo>
                <a:lnTo>
                  <a:pt x="0" y="149"/>
                </a:lnTo>
                <a:lnTo>
                  <a:pt x="0" y="132"/>
                </a:lnTo>
                <a:lnTo>
                  <a:pt x="15" y="99"/>
                </a:lnTo>
                <a:lnTo>
                  <a:pt x="0" y="82"/>
                </a:lnTo>
                <a:lnTo>
                  <a:pt x="162" y="50"/>
                </a:lnTo>
                <a:lnTo>
                  <a:pt x="162" y="16"/>
                </a:lnTo>
                <a:lnTo>
                  <a:pt x="179" y="0"/>
                </a:lnTo>
                <a:lnTo>
                  <a:pt x="212" y="16"/>
                </a:lnTo>
                <a:lnTo>
                  <a:pt x="212" y="50"/>
                </a:lnTo>
                <a:lnTo>
                  <a:pt x="228" y="66"/>
                </a:lnTo>
                <a:lnTo>
                  <a:pt x="260" y="82"/>
                </a:lnTo>
                <a:lnTo>
                  <a:pt x="277" y="82"/>
                </a:lnTo>
                <a:lnTo>
                  <a:pt x="326" y="99"/>
                </a:lnTo>
                <a:lnTo>
                  <a:pt x="358" y="99"/>
                </a:lnTo>
                <a:lnTo>
                  <a:pt x="408" y="99"/>
                </a:lnTo>
                <a:lnTo>
                  <a:pt x="457" y="132"/>
                </a:lnTo>
                <a:lnTo>
                  <a:pt x="457" y="116"/>
                </a:lnTo>
                <a:lnTo>
                  <a:pt x="539" y="149"/>
                </a:lnTo>
                <a:lnTo>
                  <a:pt x="555" y="132"/>
                </a:lnTo>
                <a:lnTo>
                  <a:pt x="572" y="116"/>
                </a:lnTo>
                <a:lnTo>
                  <a:pt x="588" y="132"/>
                </a:lnTo>
                <a:lnTo>
                  <a:pt x="620" y="132"/>
                </a:lnTo>
                <a:lnTo>
                  <a:pt x="703" y="149"/>
                </a:lnTo>
                <a:lnTo>
                  <a:pt x="637" y="182"/>
                </a:lnTo>
                <a:lnTo>
                  <a:pt x="555" y="264"/>
                </a:lnTo>
                <a:lnTo>
                  <a:pt x="506" y="330"/>
                </a:lnTo>
                <a:lnTo>
                  <a:pt x="506" y="396"/>
                </a:lnTo>
                <a:lnTo>
                  <a:pt x="489" y="430"/>
                </a:lnTo>
                <a:lnTo>
                  <a:pt x="457" y="479"/>
                </a:lnTo>
                <a:lnTo>
                  <a:pt x="457" y="496"/>
                </a:lnTo>
                <a:lnTo>
                  <a:pt x="457" y="545"/>
                </a:lnTo>
                <a:lnTo>
                  <a:pt x="457" y="595"/>
                </a:lnTo>
                <a:lnTo>
                  <a:pt x="457" y="612"/>
                </a:lnTo>
                <a:lnTo>
                  <a:pt x="457" y="644"/>
                </a:lnTo>
                <a:lnTo>
                  <a:pt x="489" y="661"/>
                </a:lnTo>
                <a:lnTo>
                  <a:pt x="539" y="693"/>
                </a:lnTo>
                <a:lnTo>
                  <a:pt x="572" y="710"/>
                </a:lnTo>
                <a:lnTo>
                  <a:pt x="604" y="760"/>
                </a:lnTo>
                <a:lnTo>
                  <a:pt x="620" y="793"/>
                </a:lnTo>
                <a:lnTo>
                  <a:pt x="97" y="843"/>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1" name="Freeform 38"/>
          <p:cNvSpPr>
            <a:spLocks/>
          </p:cNvSpPr>
          <p:nvPr/>
        </p:nvSpPr>
        <p:spPr bwMode="auto">
          <a:xfrm>
            <a:off x="8447088" y="285750"/>
            <a:ext cx="622300" cy="767954"/>
          </a:xfrm>
          <a:custGeom>
            <a:avLst/>
            <a:gdLst>
              <a:gd name="T0" fmla="*/ 0 w 392"/>
              <a:gd name="T1" fmla="*/ 2147483647 h 645"/>
              <a:gd name="T2" fmla="*/ 2147483647 w 392"/>
              <a:gd name="T3" fmla="*/ 2147483647 h 645"/>
              <a:gd name="T4" fmla="*/ 2147483647 w 392"/>
              <a:gd name="T5" fmla="*/ 2147483647 h 645"/>
              <a:gd name="T6" fmla="*/ 2147483647 w 392"/>
              <a:gd name="T7" fmla="*/ 2147483647 h 645"/>
              <a:gd name="T8" fmla="*/ 2147483647 w 392"/>
              <a:gd name="T9" fmla="*/ 2147483647 h 645"/>
              <a:gd name="T10" fmla="*/ 2147483647 w 392"/>
              <a:gd name="T11" fmla="*/ 2147483647 h 645"/>
              <a:gd name="T12" fmla="*/ 2147483647 w 392"/>
              <a:gd name="T13" fmla="*/ 2147483647 h 645"/>
              <a:gd name="T14" fmla="*/ 2147483647 w 392"/>
              <a:gd name="T15" fmla="*/ 2147483647 h 645"/>
              <a:gd name="T16" fmla="*/ 2147483647 w 392"/>
              <a:gd name="T17" fmla="*/ 0 h 645"/>
              <a:gd name="T18" fmla="*/ 2147483647 w 392"/>
              <a:gd name="T19" fmla="*/ 2147483647 h 645"/>
              <a:gd name="T20" fmla="*/ 2147483647 w 392"/>
              <a:gd name="T21" fmla="*/ 2147483647 h 645"/>
              <a:gd name="T22" fmla="*/ 2147483647 w 392"/>
              <a:gd name="T23" fmla="*/ 0 h 645"/>
              <a:gd name="T24" fmla="*/ 2147483647 w 392"/>
              <a:gd name="T25" fmla="*/ 0 h 645"/>
              <a:gd name="T26" fmla="*/ 2147483647 w 392"/>
              <a:gd name="T27" fmla="*/ 2147483647 h 645"/>
              <a:gd name="T28" fmla="*/ 2147483647 w 392"/>
              <a:gd name="T29" fmla="*/ 2147483647 h 645"/>
              <a:gd name="T30" fmla="*/ 2147483647 w 392"/>
              <a:gd name="T31" fmla="*/ 2147483647 h 645"/>
              <a:gd name="T32" fmla="*/ 2147483647 w 392"/>
              <a:gd name="T33" fmla="*/ 2147483647 h 645"/>
              <a:gd name="T34" fmla="*/ 2147483647 w 392"/>
              <a:gd name="T35" fmla="*/ 2147483647 h 645"/>
              <a:gd name="T36" fmla="*/ 2147483647 w 392"/>
              <a:gd name="T37" fmla="*/ 2147483647 h 645"/>
              <a:gd name="T38" fmla="*/ 2147483647 w 392"/>
              <a:gd name="T39" fmla="*/ 2147483647 h 645"/>
              <a:gd name="T40" fmla="*/ 2147483647 w 392"/>
              <a:gd name="T41" fmla="*/ 2147483647 h 645"/>
              <a:gd name="T42" fmla="*/ 2147483647 w 392"/>
              <a:gd name="T43" fmla="*/ 2147483647 h 645"/>
              <a:gd name="T44" fmla="*/ 2147483647 w 392"/>
              <a:gd name="T45" fmla="*/ 2147483647 h 645"/>
              <a:gd name="T46" fmla="*/ 2147483647 w 392"/>
              <a:gd name="T47" fmla="*/ 2147483647 h 645"/>
              <a:gd name="T48" fmla="*/ 2147483647 w 392"/>
              <a:gd name="T49" fmla="*/ 2147483647 h 645"/>
              <a:gd name="T50" fmla="*/ 2147483647 w 392"/>
              <a:gd name="T51" fmla="*/ 2147483647 h 645"/>
              <a:gd name="T52" fmla="*/ 2147483647 w 392"/>
              <a:gd name="T53" fmla="*/ 2147483647 h 645"/>
              <a:gd name="T54" fmla="*/ 2147483647 w 392"/>
              <a:gd name="T55" fmla="*/ 2147483647 h 645"/>
              <a:gd name="T56" fmla="*/ 2147483647 w 392"/>
              <a:gd name="T57" fmla="*/ 2147483647 h 645"/>
              <a:gd name="T58" fmla="*/ 2147483647 w 392"/>
              <a:gd name="T59" fmla="*/ 2147483647 h 645"/>
              <a:gd name="T60" fmla="*/ 2147483647 w 392"/>
              <a:gd name="T61" fmla="*/ 2147483647 h 645"/>
              <a:gd name="T62" fmla="*/ 2147483647 w 392"/>
              <a:gd name="T63" fmla="*/ 2147483647 h 645"/>
              <a:gd name="T64" fmla="*/ 2147483647 w 392"/>
              <a:gd name="T65" fmla="*/ 2147483647 h 645"/>
              <a:gd name="T66" fmla="*/ 2147483647 w 392"/>
              <a:gd name="T67" fmla="*/ 2147483647 h 645"/>
              <a:gd name="T68" fmla="*/ 2147483647 w 392"/>
              <a:gd name="T69" fmla="*/ 2147483647 h 645"/>
              <a:gd name="T70" fmla="*/ 2147483647 w 392"/>
              <a:gd name="T71" fmla="*/ 2147483647 h 645"/>
              <a:gd name="T72" fmla="*/ 2147483647 w 392"/>
              <a:gd name="T73" fmla="*/ 2147483647 h 645"/>
              <a:gd name="T74" fmla="*/ 2147483647 w 392"/>
              <a:gd name="T75" fmla="*/ 2147483647 h 645"/>
              <a:gd name="T76" fmla="*/ 2147483647 w 392"/>
              <a:gd name="T77" fmla="*/ 2147483647 h 645"/>
              <a:gd name="T78" fmla="*/ 0 w 392"/>
              <a:gd name="T79" fmla="*/ 2147483647 h 64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92"/>
              <a:gd name="T121" fmla="*/ 0 h 645"/>
              <a:gd name="T122" fmla="*/ 392 w 392"/>
              <a:gd name="T123" fmla="*/ 645 h 64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92" h="645">
                <a:moveTo>
                  <a:pt x="0" y="347"/>
                </a:moveTo>
                <a:lnTo>
                  <a:pt x="15" y="330"/>
                </a:lnTo>
                <a:lnTo>
                  <a:pt x="15" y="313"/>
                </a:lnTo>
                <a:lnTo>
                  <a:pt x="31" y="281"/>
                </a:lnTo>
                <a:lnTo>
                  <a:pt x="48" y="247"/>
                </a:lnTo>
                <a:lnTo>
                  <a:pt x="48" y="148"/>
                </a:lnTo>
                <a:lnTo>
                  <a:pt x="31" y="132"/>
                </a:lnTo>
                <a:lnTo>
                  <a:pt x="48" y="82"/>
                </a:lnTo>
                <a:lnTo>
                  <a:pt x="81" y="0"/>
                </a:lnTo>
                <a:lnTo>
                  <a:pt x="97" y="32"/>
                </a:lnTo>
                <a:lnTo>
                  <a:pt x="114" y="32"/>
                </a:lnTo>
                <a:lnTo>
                  <a:pt x="129" y="0"/>
                </a:lnTo>
                <a:lnTo>
                  <a:pt x="179" y="0"/>
                </a:lnTo>
                <a:lnTo>
                  <a:pt x="195" y="16"/>
                </a:lnTo>
                <a:lnTo>
                  <a:pt x="211" y="49"/>
                </a:lnTo>
                <a:lnTo>
                  <a:pt x="260" y="181"/>
                </a:lnTo>
                <a:lnTo>
                  <a:pt x="293" y="181"/>
                </a:lnTo>
                <a:lnTo>
                  <a:pt x="309" y="198"/>
                </a:lnTo>
                <a:lnTo>
                  <a:pt x="326" y="247"/>
                </a:lnTo>
                <a:lnTo>
                  <a:pt x="374" y="247"/>
                </a:lnTo>
                <a:lnTo>
                  <a:pt x="391" y="281"/>
                </a:lnTo>
                <a:lnTo>
                  <a:pt x="326" y="330"/>
                </a:lnTo>
                <a:lnTo>
                  <a:pt x="326" y="362"/>
                </a:lnTo>
                <a:lnTo>
                  <a:pt x="293" y="379"/>
                </a:lnTo>
                <a:lnTo>
                  <a:pt x="276" y="379"/>
                </a:lnTo>
                <a:lnTo>
                  <a:pt x="260" y="413"/>
                </a:lnTo>
                <a:lnTo>
                  <a:pt x="243" y="462"/>
                </a:lnTo>
                <a:lnTo>
                  <a:pt x="228" y="478"/>
                </a:lnTo>
                <a:lnTo>
                  <a:pt x="211" y="478"/>
                </a:lnTo>
                <a:lnTo>
                  <a:pt x="211" y="511"/>
                </a:lnTo>
                <a:lnTo>
                  <a:pt x="162" y="528"/>
                </a:lnTo>
                <a:lnTo>
                  <a:pt x="162" y="544"/>
                </a:lnTo>
                <a:lnTo>
                  <a:pt x="162" y="577"/>
                </a:lnTo>
                <a:lnTo>
                  <a:pt x="162" y="627"/>
                </a:lnTo>
                <a:lnTo>
                  <a:pt x="146" y="644"/>
                </a:lnTo>
                <a:lnTo>
                  <a:pt x="129" y="644"/>
                </a:lnTo>
                <a:lnTo>
                  <a:pt x="114" y="627"/>
                </a:lnTo>
                <a:lnTo>
                  <a:pt x="114" y="610"/>
                </a:lnTo>
                <a:lnTo>
                  <a:pt x="97" y="610"/>
                </a:lnTo>
                <a:lnTo>
                  <a:pt x="0" y="347"/>
                </a:lnTo>
              </a:path>
            </a:pathLst>
          </a:custGeom>
          <a:solidFill>
            <a:srgbClr val="0033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2" name="Freeform 39"/>
          <p:cNvSpPr>
            <a:spLocks/>
          </p:cNvSpPr>
          <p:nvPr/>
        </p:nvSpPr>
        <p:spPr bwMode="auto">
          <a:xfrm>
            <a:off x="6216668" y="1013237"/>
            <a:ext cx="676276" cy="729853"/>
          </a:xfrm>
          <a:custGeom>
            <a:avLst/>
            <a:gdLst>
              <a:gd name="T0" fmla="*/ 2147483647 w 426"/>
              <a:gd name="T1" fmla="*/ 2147483647 h 613"/>
              <a:gd name="T2" fmla="*/ 2147483647 w 426"/>
              <a:gd name="T3" fmla="*/ 2147483647 h 613"/>
              <a:gd name="T4" fmla="*/ 2147483647 w 426"/>
              <a:gd name="T5" fmla="*/ 2147483647 h 613"/>
              <a:gd name="T6" fmla="*/ 2147483647 w 426"/>
              <a:gd name="T7" fmla="*/ 2147483647 h 613"/>
              <a:gd name="T8" fmla="*/ 2147483647 w 426"/>
              <a:gd name="T9" fmla="*/ 2147483647 h 613"/>
              <a:gd name="T10" fmla="*/ 2147483647 w 426"/>
              <a:gd name="T11" fmla="*/ 2147483647 h 613"/>
              <a:gd name="T12" fmla="*/ 2147483647 w 426"/>
              <a:gd name="T13" fmla="*/ 2147483647 h 613"/>
              <a:gd name="T14" fmla="*/ 2147483647 w 426"/>
              <a:gd name="T15" fmla="*/ 2147483647 h 613"/>
              <a:gd name="T16" fmla="*/ 0 w 426"/>
              <a:gd name="T17" fmla="*/ 2147483647 h 613"/>
              <a:gd name="T18" fmla="*/ 0 w 426"/>
              <a:gd name="T19" fmla="*/ 2147483647 h 613"/>
              <a:gd name="T20" fmla="*/ 2147483647 w 426"/>
              <a:gd name="T21" fmla="*/ 2147483647 h 613"/>
              <a:gd name="T22" fmla="*/ 2147483647 w 426"/>
              <a:gd name="T23" fmla="*/ 2147483647 h 613"/>
              <a:gd name="T24" fmla="*/ 2147483647 w 426"/>
              <a:gd name="T25" fmla="*/ 2147483647 h 613"/>
              <a:gd name="T26" fmla="*/ 2147483647 w 426"/>
              <a:gd name="T27" fmla="*/ 2147483647 h 613"/>
              <a:gd name="T28" fmla="*/ 2147483647 w 426"/>
              <a:gd name="T29" fmla="*/ 2147483647 h 613"/>
              <a:gd name="T30" fmla="*/ 2147483647 w 426"/>
              <a:gd name="T31" fmla="*/ 2147483647 h 613"/>
              <a:gd name="T32" fmla="*/ 2147483647 w 426"/>
              <a:gd name="T33" fmla="*/ 2147483647 h 613"/>
              <a:gd name="T34" fmla="*/ 2147483647 w 426"/>
              <a:gd name="T35" fmla="*/ 2147483647 h 613"/>
              <a:gd name="T36" fmla="*/ 2147483647 w 426"/>
              <a:gd name="T37" fmla="*/ 2147483647 h 613"/>
              <a:gd name="T38" fmla="*/ 2147483647 w 426"/>
              <a:gd name="T39" fmla="*/ 2147483647 h 613"/>
              <a:gd name="T40" fmla="*/ 2147483647 w 426"/>
              <a:gd name="T41" fmla="*/ 2147483647 h 613"/>
              <a:gd name="T42" fmla="*/ 2147483647 w 426"/>
              <a:gd name="T43" fmla="*/ 2147483647 h 613"/>
              <a:gd name="T44" fmla="*/ 2147483647 w 426"/>
              <a:gd name="T45" fmla="*/ 2147483647 h 613"/>
              <a:gd name="T46" fmla="*/ 2147483647 w 426"/>
              <a:gd name="T47" fmla="*/ 0 h 613"/>
              <a:gd name="T48" fmla="*/ 2147483647 w 426"/>
              <a:gd name="T49" fmla="*/ 0 h 613"/>
              <a:gd name="T50" fmla="*/ 2147483647 w 426"/>
              <a:gd name="T51" fmla="*/ 0 h 613"/>
              <a:gd name="T52" fmla="*/ 2147483647 w 426"/>
              <a:gd name="T53" fmla="*/ 2147483647 h 613"/>
              <a:gd name="T54" fmla="*/ 2147483647 w 426"/>
              <a:gd name="T55" fmla="*/ 2147483647 h 613"/>
              <a:gd name="T56" fmla="*/ 2147483647 w 426"/>
              <a:gd name="T57" fmla="*/ 2147483647 h 613"/>
              <a:gd name="T58" fmla="*/ 2147483647 w 426"/>
              <a:gd name="T59" fmla="*/ 2147483647 h 613"/>
              <a:gd name="T60" fmla="*/ 2147483647 w 426"/>
              <a:gd name="T61" fmla="*/ 2147483647 h 613"/>
              <a:gd name="T62" fmla="*/ 2147483647 w 426"/>
              <a:gd name="T63" fmla="*/ 2147483647 h 613"/>
              <a:gd name="T64" fmla="*/ 2147483647 w 426"/>
              <a:gd name="T65" fmla="*/ 2147483647 h 613"/>
              <a:gd name="T66" fmla="*/ 2147483647 w 426"/>
              <a:gd name="T67" fmla="*/ 2147483647 h 613"/>
              <a:gd name="T68" fmla="*/ 2147483647 w 426"/>
              <a:gd name="T69" fmla="*/ 2147483647 h 613"/>
              <a:gd name="T70" fmla="*/ 2147483647 w 426"/>
              <a:gd name="T71" fmla="*/ 2147483647 h 613"/>
              <a:gd name="T72" fmla="*/ 2147483647 w 426"/>
              <a:gd name="T73" fmla="*/ 2147483647 h 613"/>
              <a:gd name="T74" fmla="*/ 2147483647 w 426"/>
              <a:gd name="T75" fmla="*/ 2147483647 h 613"/>
              <a:gd name="T76" fmla="*/ 2147483647 w 426"/>
              <a:gd name="T77" fmla="*/ 2147483647 h 613"/>
              <a:gd name="T78" fmla="*/ 2147483647 w 426"/>
              <a:gd name="T79" fmla="*/ 2147483647 h 613"/>
              <a:gd name="T80" fmla="*/ 2147483647 w 426"/>
              <a:gd name="T81" fmla="*/ 2147483647 h 613"/>
              <a:gd name="T82" fmla="*/ 2147483647 w 426"/>
              <a:gd name="T83" fmla="*/ 2147483647 h 613"/>
              <a:gd name="T84" fmla="*/ 2147483647 w 426"/>
              <a:gd name="T85" fmla="*/ 2147483647 h 613"/>
              <a:gd name="T86" fmla="*/ 2147483647 w 426"/>
              <a:gd name="T87" fmla="*/ 2147483647 h 613"/>
              <a:gd name="T88" fmla="*/ 2147483647 w 426"/>
              <a:gd name="T89" fmla="*/ 2147483647 h 613"/>
              <a:gd name="T90" fmla="*/ 2147483647 w 426"/>
              <a:gd name="T91" fmla="*/ 2147483647 h 613"/>
              <a:gd name="T92" fmla="*/ 2147483647 w 426"/>
              <a:gd name="T93" fmla="*/ 2147483647 h 613"/>
              <a:gd name="T94" fmla="*/ 2147483647 w 426"/>
              <a:gd name="T95" fmla="*/ 2147483647 h 613"/>
              <a:gd name="T96" fmla="*/ 2147483647 w 426"/>
              <a:gd name="T97" fmla="*/ 2147483647 h 613"/>
              <a:gd name="T98" fmla="*/ 2147483647 w 426"/>
              <a:gd name="T99" fmla="*/ 2147483647 h 613"/>
              <a:gd name="T100" fmla="*/ 2147483647 w 426"/>
              <a:gd name="T101" fmla="*/ 2147483647 h 613"/>
              <a:gd name="T102" fmla="*/ 2147483647 w 426"/>
              <a:gd name="T103" fmla="*/ 2147483647 h 613"/>
              <a:gd name="T104" fmla="*/ 2147483647 w 426"/>
              <a:gd name="T105" fmla="*/ 2147483647 h 6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6"/>
              <a:gd name="T160" fmla="*/ 0 h 613"/>
              <a:gd name="T161" fmla="*/ 426 w 426"/>
              <a:gd name="T162" fmla="*/ 613 h 6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6" h="613">
                <a:moveTo>
                  <a:pt x="31" y="612"/>
                </a:moveTo>
                <a:lnTo>
                  <a:pt x="31" y="612"/>
                </a:lnTo>
                <a:lnTo>
                  <a:pt x="48" y="578"/>
                </a:lnTo>
                <a:lnTo>
                  <a:pt x="48" y="562"/>
                </a:lnTo>
                <a:lnTo>
                  <a:pt x="48" y="529"/>
                </a:lnTo>
                <a:lnTo>
                  <a:pt x="48" y="430"/>
                </a:lnTo>
                <a:lnTo>
                  <a:pt x="48" y="396"/>
                </a:lnTo>
                <a:lnTo>
                  <a:pt x="48" y="379"/>
                </a:lnTo>
                <a:lnTo>
                  <a:pt x="0" y="330"/>
                </a:lnTo>
                <a:lnTo>
                  <a:pt x="0" y="264"/>
                </a:lnTo>
                <a:lnTo>
                  <a:pt x="15" y="248"/>
                </a:lnTo>
                <a:lnTo>
                  <a:pt x="15" y="182"/>
                </a:lnTo>
                <a:lnTo>
                  <a:pt x="31" y="182"/>
                </a:lnTo>
                <a:lnTo>
                  <a:pt x="31" y="149"/>
                </a:lnTo>
                <a:lnTo>
                  <a:pt x="81" y="99"/>
                </a:lnTo>
                <a:lnTo>
                  <a:pt x="97" y="99"/>
                </a:lnTo>
                <a:lnTo>
                  <a:pt x="81" y="132"/>
                </a:lnTo>
                <a:lnTo>
                  <a:pt x="81" y="149"/>
                </a:lnTo>
                <a:lnTo>
                  <a:pt x="97" y="116"/>
                </a:lnTo>
                <a:lnTo>
                  <a:pt x="97" y="50"/>
                </a:lnTo>
                <a:lnTo>
                  <a:pt x="114" y="50"/>
                </a:lnTo>
                <a:lnTo>
                  <a:pt x="129" y="50"/>
                </a:lnTo>
                <a:lnTo>
                  <a:pt x="114" y="16"/>
                </a:lnTo>
                <a:lnTo>
                  <a:pt x="146" y="0"/>
                </a:lnTo>
                <a:lnTo>
                  <a:pt x="162" y="0"/>
                </a:lnTo>
                <a:lnTo>
                  <a:pt x="195" y="0"/>
                </a:lnTo>
                <a:lnTo>
                  <a:pt x="244" y="50"/>
                </a:lnTo>
                <a:lnTo>
                  <a:pt x="277" y="50"/>
                </a:lnTo>
                <a:lnTo>
                  <a:pt x="277" y="99"/>
                </a:lnTo>
                <a:lnTo>
                  <a:pt x="293" y="149"/>
                </a:lnTo>
                <a:lnTo>
                  <a:pt x="293" y="182"/>
                </a:lnTo>
                <a:lnTo>
                  <a:pt x="277" y="182"/>
                </a:lnTo>
                <a:lnTo>
                  <a:pt x="277" y="198"/>
                </a:lnTo>
                <a:lnTo>
                  <a:pt x="277" y="215"/>
                </a:lnTo>
                <a:lnTo>
                  <a:pt x="260" y="232"/>
                </a:lnTo>
                <a:lnTo>
                  <a:pt x="277" y="281"/>
                </a:lnTo>
                <a:lnTo>
                  <a:pt x="310" y="248"/>
                </a:lnTo>
                <a:lnTo>
                  <a:pt x="327" y="232"/>
                </a:lnTo>
                <a:lnTo>
                  <a:pt x="375" y="232"/>
                </a:lnTo>
                <a:lnTo>
                  <a:pt x="391" y="248"/>
                </a:lnTo>
                <a:lnTo>
                  <a:pt x="408" y="281"/>
                </a:lnTo>
                <a:lnTo>
                  <a:pt x="408" y="313"/>
                </a:lnTo>
                <a:lnTo>
                  <a:pt x="425" y="330"/>
                </a:lnTo>
                <a:lnTo>
                  <a:pt x="425" y="379"/>
                </a:lnTo>
                <a:lnTo>
                  <a:pt x="391" y="396"/>
                </a:lnTo>
                <a:lnTo>
                  <a:pt x="391" y="430"/>
                </a:lnTo>
                <a:lnTo>
                  <a:pt x="391" y="462"/>
                </a:lnTo>
                <a:lnTo>
                  <a:pt x="391" y="529"/>
                </a:lnTo>
                <a:lnTo>
                  <a:pt x="408" y="545"/>
                </a:lnTo>
                <a:lnTo>
                  <a:pt x="229" y="578"/>
                </a:lnTo>
                <a:lnTo>
                  <a:pt x="212" y="562"/>
                </a:lnTo>
                <a:lnTo>
                  <a:pt x="64" y="595"/>
                </a:lnTo>
                <a:lnTo>
                  <a:pt x="31" y="612"/>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3" name="Freeform 40"/>
          <p:cNvSpPr>
            <a:spLocks/>
          </p:cNvSpPr>
          <p:nvPr/>
        </p:nvSpPr>
        <p:spPr bwMode="auto">
          <a:xfrm>
            <a:off x="3675082" y="2626519"/>
            <a:ext cx="1506537" cy="572691"/>
          </a:xfrm>
          <a:custGeom>
            <a:avLst/>
            <a:gdLst>
              <a:gd name="T0" fmla="*/ 2147483647 w 949"/>
              <a:gd name="T1" fmla="*/ 2147483647 h 481"/>
              <a:gd name="T2" fmla="*/ 2147483647 w 949"/>
              <a:gd name="T3" fmla="*/ 2147483647 h 481"/>
              <a:gd name="T4" fmla="*/ 2147483647 w 949"/>
              <a:gd name="T5" fmla="*/ 2147483647 h 481"/>
              <a:gd name="T6" fmla="*/ 2147483647 w 949"/>
              <a:gd name="T7" fmla="*/ 2147483647 h 481"/>
              <a:gd name="T8" fmla="*/ 2147483647 w 949"/>
              <a:gd name="T9" fmla="*/ 2147483647 h 481"/>
              <a:gd name="T10" fmla="*/ 2147483647 w 949"/>
              <a:gd name="T11" fmla="*/ 2147483647 h 481"/>
              <a:gd name="T12" fmla="*/ 2147483647 w 949"/>
              <a:gd name="T13" fmla="*/ 2147483647 h 481"/>
              <a:gd name="T14" fmla="*/ 2147483647 w 949"/>
              <a:gd name="T15" fmla="*/ 2147483647 h 481"/>
              <a:gd name="T16" fmla="*/ 2147483647 w 949"/>
              <a:gd name="T17" fmla="*/ 2147483647 h 481"/>
              <a:gd name="T18" fmla="*/ 2147483647 w 949"/>
              <a:gd name="T19" fmla="*/ 2147483647 h 481"/>
              <a:gd name="T20" fmla="*/ 2147483647 w 949"/>
              <a:gd name="T21" fmla="*/ 2147483647 h 481"/>
              <a:gd name="T22" fmla="*/ 2147483647 w 949"/>
              <a:gd name="T23" fmla="*/ 2147483647 h 481"/>
              <a:gd name="T24" fmla="*/ 2147483647 w 949"/>
              <a:gd name="T25" fmla="*/ 2147483647 h 481"/>
              <a:gd name="T26" fmla="*/ 2147483647 w 949"/>
              <a:gd name="T27" fmla="*/ 2147483647 h 481"/>
              <a:gd name="T28" fmla="*/ 2147483647 w 949"/>
              <a:gd name="T29" fmla="*/ 2147483647 h 481"/>
              <a:gd name="T30" fmla="*/ 2147483647 w 949"/>
              <a:gd name="T31" fmla="*/ 2147483647 h 481"/>
              <a:gd name="T32" fmla="*/ 2147483647 w 949"/>
              <a:gd name="T33" fmla="*/ 2147483647 h 481"/>
              <a:gd name="T34" fmla="*/ 2147483647 w 949"/>
              <a:gd name="T35" fmla="*/ 2147483647 h 481"/>
              <a:gd name="T36" fmla="*/ 2147483647 w 949"/>
              <a:gd name="T37" fmla="*/ 2147483647 h 481"/>
              <a:gd name="T38" fmla="*/ 2147483647 w 949"/>
              <a:gd name="T39" fmla="*/ 2147483647 h 481"/>
              <a:gd name="T40" fmla="*/ 2147483647 w 949"/>
              <a:gd name="T41" fmla="*/ 2147483647 h 481"/>
              <a:gd name="T42" fmla="*/ 2147483647 w 949"/>
              <a:gd name="T43" fmla="*/ 2147483647 h 481"/>
              <a:gd name="T44" fmla="*/ 2147483647 w 949"/>
              <a:gd name="T45" fmla="*/ 2147483647 h 481"/>
              <a:gd name="T46" fmla="*/ 2147483647 w 949"/>
              <a:gd name="T47" fmla="*/ 2147483647 h 481"/>
              <a:gd name="T48" fmla="*/ 2147483647 w 949"/>
              <a:gd name="T49" fmla="*/ 2147483647 h 481"/>
              <a:gd name="T50" fmla="*/ 2147483647 w 949"/>
              <a:gd name="T51" fmla="*/ 2147483647 h 481"/>
              <a:gd name="T52" fmla="*/ 2147483647 w 949"/>
              <a:gd name="T53" fmla="*/ 2147483647 h 481"/>
              <a:gd name="T54" fmla="*/ 2147483647 w 949"/>
              <a:gd name="T55" fmla="*/ 2147483647 h 481"/>
              <a:gd name="T56" fmla="*/ 2147483647 w 949"/>
              <a:gd name="T57" fmla="*/ 2147483647 h 481"/>
              <a:gd name="T58" fmla="*/ 2147483647 w 949"/>
              <a:gd name="T59" fmla="*/ 2147483647 h 481"/>
              <a:gd name="T60" fmla="*/ 2147483647 w 949"/>
              <a:gd name="T61" fmla="*/ 0 h 481"/>
              <a:gd name="T62" fmla="*/ 2147483647 w 949"/>
              <a:gd name="T63" fmla="*/ 0 h 481"/>
              <a:gd name="T64" fmla="*/ 2147483647 w 949"/>
              <a:gd name="T65" fmla="*/ 2147483647 h 481"/>
              <a:gd name="T66" fmla="*/ 2147483647 w 949"/>
              <a:gd name="T67" fmla="*/ 2147483647 h 481"/>
              <a:gd name="T68" fmla="*/ 2147483647 w 949"/>
              <a:gd name="T69" fmla="*/ 2147483647 h 481"/>
              <a:gd name="T70" fmla="*/ 2147483647 w 949"/>
              <a:gd name="T71" fmla="*/ 2147483647 h 481"/>
              <a:gd name="T72" fmla="*/ 0 w 949"/>
              <a:gd name="T73" fmla="*/ 2147483647 h 481"/>
              <a:gd name="T74" fmla="*/ 0 w 949"/>
              <a:gd name="T75" fmla="*/ 2147483647 h 481"/>
              <a:gd name="T76" fmla="*/ 2147483647 w 949"/>
              <a:gd name="T77" fmla="*/ 2147483647 h 481"/>
              <a:gd name="T78" fmla="*/ 2147483647 w 949"/>
              <a:gd name="T79" fmla="*/ 2147483647 h 481"/>
              <a:gd name="T80" fmla="*/ 2147483647 w 949"/>
              <a:gd name="T81" fmla="*/ 2147483647 h 481"/>
              <a:gd name="T82" fmla="*/ 2147483647 w 949"/>
              <a:gd name="T83" fmla="*/ 2147483647 h 4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49"/>
              <a:gd name="T127" fmla="*/ 0 h 481"/>
              <a:gd name="T128" fmla="*/ 949 w 949"/>
              <a:gd name="T129" fmla="*/ 481 h 4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49" h="481">
                <a:moveTo>
                  <a:pt x="311" y="115"/>
                </a:moveTo>
                <a:lnTo>
                  <a:pt x="327" y="380"/>
                </a:lnTo>
                <a:lnTo>
                  <a:pt x="343" y="380"/>
                </a:lnTo>
                <a:lnTo>
                  <a:pt x="359" y="396"/>
                </a:lnTo>
                <a:lnTo>
                  <a:pt x="376" y="413"/>
                </a:lnTo>
                <a:lnTo>
                  <a:pt x="425" y="413"/>
                </a:lnTo>
                <a:lnTo>
                  <a:pt x="474" y="446"/>
                </a:lnTo>
                <a:lnTo>
                  <a:pt x="490" y="463"/>
                </a:lnTo>
                <a:lnTo>
                  <a:pt x="523" y="446"/>
                </a:lnTo>
                <a:lnTo>
                  <a:pt x="539" y="429"/>
                </a:lnTo>
                <a:lnTo>
                  <a:pt x="539" y="463"/>
                </a:lnTo>
                <a:lnTo>
                  <a:pt x="556" y="463"/>
                </a:lnTo>
                <a:lnTo>
                  <a:pt x="588" y="463"/>
                </a:lnTo>
                <a:lnTo>
                  <a:pt x="621" y="463"/>
                </a:lnTo>
                <a:lnTo>
                  <a:pt x="637" y="480"/>
                </a:lnTo>
                <a:lnTo>
                  <a:pt x="654" y="480"/>
                </a:lnTo>
                <a:lnTo>
                  <a:pt x="654" y="463"/>
                </a:lnTo>
                <a:lnTo>
                  <a:pt x="702" y="463"/>
                </a:lnTo>
                <a:lnTo>
                  <a:pt x="735" y="463"/>
                </a:lnTo>
                <a:lnTo>
                  <a:pt x="833" y="463"/>
                </a:lnTo>
                <a:lnTo>
                  <a:pt x="866" y="446"/>
                </a:lnTo>
                <a:lnTo>
                  <a:pt x="948" y="446"/>
                </a:lnTo>
                <a:lnTo>
                  <a:pt x="948" y="429"/>
                </a:lnTo>
                <a:lnTo>
                  <a:pt x="948" y="396"/>
                </a:lnTo>
                <a:lnTo>
                  <a:pt x="948" y="330"/>
                </a:lnTo>
                <a:lnTo>
                  <a:pt x="948" y="264"/>
                </a:lnTo>
                <a:lnTo>
                  <a:pt x="948" y="215"/>
                </a:lnTo>
                <a:lnTo>
                  <a:pt x="931" y="149"/>
                </a:lnTo>
                <a:lnTo>
                  <a:pt x="931" y="132"/>
                </a:lnTo>
                <a:lnTo>
                  <a:pt x="931" y="66"/>
                </a:lnTo>
                <a:lnTo>
                  <a:pt x="899" y="0"/>
                </a:lnTo>
                <a:lnTo>
                  <a:pt x="800" y="0"/>
                </a:lnTo>
                <a:lnTo>
                  <a:pt x="719" y="16"/>
                </a:lnTo>
                <a:lnTo>
                  <a:pt x="523" y="33"/>
                </a:lnTo>
                <a:lnTo>
                  <a:pt x="311" y="33"/>
                </a:lnTo>
                <a:lnTo>
                  <a:pt x="49" y="49"/>
                </a:lnTo>
                <a:lnTo>
                  <a:pt x="0" y="49"/>
                </a:lnTo>
                <a:lnTo>
                  <a:pt x="0" y="115"/>
                </a:lnTo>
                <a:lnTo>
                  <a:pt x="32" y="115"/>
                </a:lnTo>
                <a:lnTo>
                  <a:pt x="130" y="115"/>
                </a:lnTo>
                <a:lnTo>
                  <a:pt x="228" y="115"/>
                </a:lnTo>
                <a:lnTo>
                  <a:pt x="311" y="115"/>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4" name="Freeform 41"/>
          <p:cNvSpPr>
            <a:spLocks/>
          </p:cNvSpPr>
          <p:nvPr/>
        </p:nvSpPr>
        <p:spPr bwMode="auto">
          <a:xfrm>
            <a:off x="2976563" y="2763443"/>
            <a:ext cx="2386012" cy="1752600"/>
          </a:xfrm>
          <a:custGeom>
            <a:avLst/>
            <a:gdLst>
              <a:gd name="T0" fmla="*/ 2147483647 w 1503"/>
              <a:gd name="T1" fmla="*/ 2147483647 h 1472"/>
              <a:gd name="T2" fmla="*/ 2147483647 w 1503"/>
              <a:gd name="T3" fmla="*/ 2147483647 h 1472"/>
              <a:gd name="T4" fmla="*/ 2147483647 w 1503"/>
              <a:gd name="T5" fmla="*/ 2147483647 h 1472"/>
              <a:gd name="T6" fmla="*/ 2147483647 w 1503"/>
              <a:gd name="T7" fmla="*/ 2147483647 h 1472"/>
              <a:gd name="T8" fmla="*/ 2147483647 w 1503"/>
              <a:gd name="T9" fmla="*/ 2147483647 h 1472"/>
              <a:gd name="T10" fmla="*/ 2147483647 w 1503"/>
              <a:gd name="T11" fmla="*/ 2147483647 h 1472"/>
              <a:gd name="T12" fmla="*/ 2147483647 w 1503"/>
              <a:gd name="T13" fmla="*/ 2147483647 h 1472"/>
              <a:gd name="T14" fmla="*/ 2147483647 w 1503"/>
              <a:gd name="T15" fmla="*/ 2147483647 h 1472"/>
              <a:gd name="T16" fmla="*/ 2147483647 w 1503"/>
              <a:gd name="T17" fmla="*/ 2147483647 h 1472"/>
              <a:gd name="T18" fmla="*/ 2147483647 w 1503"/>
              <a:gd name="T19" fmla="*/ 2147483647 h 1472"/>
              <a:gd name="T20" fmla="*/ 2147483647 w 1503"/>
              <a:gd name="T21" fmla="*/ 2147483647 h 1472"/>
              <a:gd name="T22" fmla="*/ 2147483647 w 1503"/>
              <a:gd name="T23" fmla="*/ 2147483647 h 1472"/>
              <a:gd name="T24" fmla="*/ 2147483647 w 1503"/>
              <a:gd name="T25" fmla="*/ 2147483647 h 1472"/>
              <a:gd name="T26" fmla="*/ 2147483647 w 1503"/>
              <a:gd name="T27" fmla="*/ 2147483647 h 1472"/>
              <a:gd name="T28" fmla="*/ 2147483647 w 1503"/>
              <a:gd name="T29" fmla="*/ 2147483647 h 1472"/>
              <a:gd name="T30" fmla="*/ 2147483647 w 1503"/>
              <a:gd name="T31" fmla="*/ 2147483647 h 1472"/>
              <a:gd name="T32" fmla="*/ 2147483647 w 1503"/>
              <a:gd name="T33" fmla="*/ 2147483647 h 1472"/>
              <a:gd name="T34" fmla="*/ 2147483647 w 1503"/>
              <a:gd name="T35" fmla="*/ 2147483647 h 1472"/>
              <a:gd name="T36" fmla="*/ 2147483647 w 1503"/>
              <a:gd name="T37" fmla="*/ 2147483647 h 1472"/>
              <a:gd name="T38" fmla="*/ 2147483647 w 1503"/>
              <a:gd name="T39" fmla="*/ 2147483647 h 1472"/>
              <a:gd name="T40" fmla="*/ 2147483647 w 1503"/>
              <a:gd name="T41" fmla="*/ 2147483647 h 1472"/>
              <a:gd name="T42" fmla="*/ 2147483647 w 1503"/>
              <a:gd name="T43" fmla="*/ 2147483647 h 1472"/>
              <a:gd name="T44" fmla="*/ 2147483647 w 1503"/>
              <a:gd name="T45" fmla="*/ 2147483647 h 1472"/>
              <a:gd name="T46" fmla="*/ 2147483647 w 1503"/>
              <a:gd name="T47" fmla="*/ 2147483647 h 1472"/>
              <a:gd name="T48" fmla="*/ 2147483647 w 1503"/>
              <a:gd name="T49" fmla="*/ 2147483647 h 1472"/>
              <a:gd name="T50" fmla="*/ 2147483647 w 1503"/>
              <a:gd name="T51" fmla="*/ 2147483647 h 1472"/>
              <a:gd name="T52" fmla="*/ 2147483647 w 1503"/>
              <a:gd name="T53" fmla="*/ 2147483647 h 1472"/>
              <a:gd name="T54" fmla="*/ 2147483647 w 1503"/>
              <a:gd name="T55" fmla="*/ 2147483647 h 1472"/>
              <a:gd name="T56" fmla="*/ 2147483647 w 1503"/>
              <a:gd name="T57" fmla="*/ 2147483647 h 1472"/>
              <a:gd name="T58" fmla="*/ 2147483647 w 1503"/>
              <a:gd name="T59" fmla="*/ 2147483647 h 1472"/>
              <a:gd name="T60" fmla="*/ 2147483647 w 1503"/>
              <a:gd name="T61" fmla="*/ 2147483647 h 1472"/>
              <a:gd name="T62" fmla="*/ 2147483647 w 1503"/>
              <a:gd name="T63" fmla="*/ 2147483647 h 1472"/>
              <a:gd name="T64" fmla="*/ 2147483647 w 1503"/>
              <a:gd name="T65" fmla="*/ 2147483647 h 1472"/>
              <a:gd name="T66" fmla="*/ 2147483647 w 1503"/>
              <a:gd name="T67" fmla="*/ 2147483647 h 1472"/>
              <a:gd name="T68" fmla="*/ 2147483647 w 1503"/>
              <a:gd name="T69" fmla="*/ 2147483647 h 1472"/>
              <a:gd name="T70" fmla="*/ 2147483647 w 1503"/>
              <a:gd name="T71" fmla="*/ 2147483647 h 1472"/>
              <a:gd name="T72" fmla="*/ 2147483647 w 1503"/>
              <a:gd name="T73" fmla="*/ 2147483647 h 1472"/>
              <a:gd name="T74" fmla="*/ 2147483647 w 1503"/>
              <a:gd name="T75" fmla="*/ 2147483647 h 1472"/>
              <a:gd name="T76" fmla="*/ 2147483647 w 1503"/>
              <a:gd name="T77" fmla="*/ 2147483647 h 1472"/>
              <a:gd name="T78" fmla="*/ 2147483647 w 1503"/>
              <a:gd name="T79" fmla="*/ 2147483647 h 1472"/>
              <a:gd name="T80" fmla="*/ 2147483647 w 1503"/>
              <a:gd name="T81" fmla="*/ 2147483647 h 1472"/>
              <a:gd name="T82" fmla="*/ 2147483647 w 1503"/>
              <a:gd name="T83" fmla="*/ 2147483647 h 1472"/>
              <a:gd name="T84" fmla="*/ 2147483647 w 1503"/>
              <a:gd name="T85" fmla="*/ 2147483647 h 1472"/>
              <a:gd name="T86" fmla="*/ 2147483647 w 1503"/>
              <a:gd name="T87" fmla="*/ 2147483647 h 1472"/>
              <a:gd name="T88" fmla="*/ 2147483647 w 1503"/>
              <a:gd name="T89" fmla="*/ 2147483647 h 1472"/>
              <a:gd name="T90" fmla="*/ 2147483647 w 1503"/>
              <a:gd name="T91" fmla="*/ 2147483647 h 1472"/>
              <a:gd name="T92" fmla="*/ 2147483647 w 1503"/>
              <a:gd name="T93" fmla="*/ 2147483647 h 1472"/>
              <a:gd name="T94" fmla="*/ 2147483647 w 1503"/>
              <a:gd name="T95" fmla="*/ 2147483647 h 1472"/>
              <a:gd name="T96" fmla="*/ 2147483647 w 1503"/>
              <a:gd name="T97" fmla="*/ 2147483647 h 1472"/>
              <a:gd name="T98" fmla="*/ 2147483647 w 1503"/>
              <a:gd name="T99" fmla="*/ 2147483647 h 1472"/>
              <a:gd name="T100" fmla="*/ 2147483647 w 1503"/>
              <a:gd name="T101" fmla="*/ 2147483647 h 1472"/>
              <a:gd name="T102" fmla="*/ 2147483647 w 1503"/>
              <a:gd name="T103" fmla="*/ 2147483647 h 1472"/>
              <a:gd name="T104" fmla="*/ 2147483647 w 1503"/>
              <a:gd name="T105" fmla="*/ 2147483647 h 1472"/>
              <a:gd name="T106" fmla="*/ 2147483647 w 1503"/>
              <a:gd name="T107" fmla="*/ 2147483647 h 1472"/>
              <a:gd name="T108" fmla="*/ 2147483647 w 1503"/>
              <a:gd name="T109" fmla="*/ 2147483647 h 1472"/>
              <a:gd name="T110" fmla="*/ 2147483647 w 1503"/>
              <a:gd name="T111" fmla="*/ 2147483647 h 1472"/>
              <a:gd name="T112" fmla="*/ 2147483647 w 1503"/>
              <a:gd name="T113" fmla="*/ 0 h 1472"/>
              <a:gd name="T114" fmla="*/ 2147483647 w 1503"/>
              <a:gd name="T115" fmla="*/ 0 h 147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03"/>
              <a:gd name="T175" fmla="*/ 0 h 1472"/>
              <a:gd name="T176" fmla="*/ 1503 w 1503"/>
              <a:gd name="T177" fmla="*/ 1472 h 147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03" h="1472">
                <a:moveTo>
                  <a:pt x="751" y="0"/>
                </a:moveTo>
                <a:lnTo>
                  <a:pt x="767" y="264"/>
                </a:lnTo>
                <a:lnTo>
                  <a:pt x="783" y="264"/>
                </a:lnTo>
                <a:lnTo>
                  <a:pt x="799" y="281"/>
                </a:lnTo>
                <a:lnTo>
                  <a:pt x="816" y="298"/>
                </a:lnTo>
                <a:lnTo>
                  <a:pt x="865" y="298"/>
                </a:lnTo>
                <a:lnTo>
                  <a:pt x="914" y="330"/>
                </a:lnTo>
                <a:lnTo>
                  <a:pt x="930" y="347"/>
                </a:lnTo>
                <a:lnTo>
                  <a:pt x="963" y="330"/>
                </a:lnTo>
                <a:lnTo>
                  <a:pt x="980" y="313"/>
                </a:lnTo>
                <a:lnTo>
                  <a:pt x="980" y="347"/>
                </a:lnTo>
                <a:lnTo>
                  <a:pt x="996" y="347"/>
                </a:lnTo>
                <a:lnTo>
                  <a:pt x="1028" y="347"/>
                </a:lnTo>
                <a:lnTo>
                  <a:pt x="1061" y="347"/>
                </a:lnTo>
                <a:lnTo>
                  <a:pt x="1077" y="364"/>
                </a:lnTo>
                <a:lnTo>
                  <a:pt x="1094" y="364"/>
                </a:lnTo>
                <a:lnTo>
                  <a:pt x="1094" y="347"/>
                </a:lnTo>
                <a:lnTo>
                  <a:pt x="1142" y="347"/>
                </a:lnTo>
                <a:lnTo>
                  <a:pt x="1175" y="347"/>
                </a:lnTo>
                <a:lnTo>
                  <a:pt x="1273" y="347"/>
                </a:lnTo>
                <a:lnTo>
                  <a:pt x="1306" y="330"/>
                </a:lnTo>
                <a:lnTo>
                  <a:pt x="1387" y="330"/>
                </a:lnTo>
                <a:lnTo>
                  <a:pt x="1437" y="347"/>
                </a:lnTo>
                <a:lnTo>
                  <a:pt x="1453" y="396"/>
                </a:lnTo>
                <a:lnTo>
                  <a:pt x="1453" y="430"/>
                </a:lnTo>
                <a:lnTo>
                  <a:pt x="1453" y="529"/>
                </a:lnTo>
                <a:lnTo>
                  <a:pt x="1453" y="562"/>
                </a:lnTo>
                <a:lnTo>
                  <a:pt x="1453" y="578"/>
                </a:lnTo>
                <a:lnTo>
                  <a:pt x="1469" y="595"/>
                </a:lnTo>
                <a:lnTo>
                  <a:pt x="1485" y="612"/>
                </a:lnTo>
                <a:lnTo>
                  <a:pt x="1485" y="627"/>
                </a:lnTo>
                <a:lnTo>
                  <a:pt x="1502" y="644"/>
                </a:lnTo>
                <a:lnTo>
                  <a:pt x="1502" y="678"/>
                </a:lnTo>
                <a:lnTo>
                  <a:pt x="1502" y="694"/>
                </a:lnTo>
                <a:lnTo>
                  <a:pt x="1502" y="710"/>
                </a:lnTo>
                <a:lnTo>
                  <a:pt x="1502" y="727"/>
                </a:lnTo>
                <a:lnTo>
                  <a:pt x="1502" y="744"/>
                </a:lnTo>
                <a:lnTo>
                  <a:pt x="1502" y="760"/>
                </a:lnTo>
                <a:lnTo>
                  <a:pt x="1502" y="793"/>
                </a:lnTo>
                <a:lnTo>
                  <a:pt x="1502" y="810"/>
                </a:lnTo>
                <a:lnTo>
                  <a:pt x="1485" y="843"/>
                </a:lnTo>
                <a:lnTo>
                  <a:pt x="1485" y="859"/>
                </a:lnTo>
                <a:lnTo>
                  <a:pt x="1502" y="892"/>
                </a:lnTo>
                <a:lnTo>
                  <a:pt x="1485" y="926"/>
                </a:lnTo>
                <a:lnTo>
                  <a:pt x="1469" y="958"/>
                </a:lnTo>
                <a:lnTo>
                  <a:pt x="1453" y="958"/>
                </a:lnTo>
                <a:lnTo>
                  <a:pt x="1420" y="942"/>
                </a:lnTo>
                <a:lnTo>
                  <a:pt x="1437" y="909"/>
                </a:lnTo>
                <a:lnTo>
                  <a:pt x="1420" y="909"/>
                </a:lnTo>
                <a:lnTo>
                  <a:pt x="1404" y="958"/>
                </a:lnTo>
                <a:lnTo>
                  <a:pt x="1420" y="958"/>
                </a:lnTo>
                <a:lnTo>
                  <a:pt x="1404" y="1009"/>
                </a:lnTo>
                <a:lnTo>
                  <a:pt x="1371" y="1041"/>
                </a:lnTo>
                <a:lnTo>
                  <a:pt x="1208" y="1140"/>
                </a:lnTo>
                <a:lnTo>
                  <a:pt x="1208" y="1107"/>
                </a:lnTo>
                <a:lnTo>
                  <a:pt x="1225" y="1107"/>
                </a:lnTo>
                <a:lnTo>
                  <a:pt x="1256" y="1090"/>
                </a:lnTo>
                <a:lnTo>
                  <a:pt x="1208" y="1090"/>
                </a:lnTo>
                <a:lnTo>
                  <a:pt x="1192" y="1090"/>
                </a:lnTo>
                <a:lnTo>
                  <a:pt x="1175" y="1140"/>
                </a:lnTo>
                <a:lnTo>
                  <a:pt x="1159" y="1140"/>
                </a:lnTo>
                <a:lnTo>
                  <a:pt x="1142" y="1140"/>
                </a:lnTo>
                <a:lnTo>
                  <a:pt x="1142" y="1190"/>
                </a:lnTo>
                <a:lnTo>
                  <a:pt x="1094" y="1190"/>
                </a:lnTo>
                <a:lnTo>
                  <a:pt x="1094" y="1256"/>
                </a:lnTo>
                <a:lnTo>
                  <a:pt x="1094" y="1289"/>
                </a:lnTo>
                <a:lnTo>
                  <a:pt x="1094" y="1323"/>
                </a:lnTo>
                <a:lnTo>
                  <a:pt x="1094" y="1338"/>
                </a:lnTo>
                <a:lnTo>
                  <a:pt x="1126" y="1372"/>
                </a:lnTo>
                <a:lnTo>
                  <a:pt x="1126" y="1404"/>
                </a:lnTo>
                <a:lnTo>
                  <a:pt x="1142" y="1404"/>
                </a:lnTo>
                <a:lnTo>
                  <a:pt x="1159" y="1455"/>
                </a:lnTo>
                <a:lnTo>
                  <a:pt x="1126" y="1455"/>
                </a:lnTo>
                <a:lnTo>
                  <a:pt x="1110" y="1471"/>
                </a:lnTo>
                <a:lnTo>
                  <a:pt x="1061" y="1455"/>
                </a:lnTo>
                <a:lnTo>
                  <a:pt x="1028" y="1455"/>
                </a:lnTo>
                <a:lnTo>
                  <a:pt x="963" y="1421"/>
                </a:lnTo>
                <a:lnTo>
                  <a:pt x="914" y="1404"/>
                </a:lnTo>
                <a:lnTo>
                  <a:pt x="897" y="1372"/>
                </a:lnTo>
                <a:lnTo>
                  <a:pt x="865" y="1323"/>
                </a:lnTo>
                <a:lnTo>
                  <a:pt x="865" y="1289"/>
                </a:lnTo>
                <a:lnTo>
                  <a:pt x="849" y="1240"/>
                </a:lnTo>
                <a:lnTo>
                  <a:pt x="832" y="1223"/>
                </a:lnTo>
                <a:lnTo>
                  <a:pt x="799" y="1190"/>
                </a:lnTo>
                <a:lnTo>
                  <a:pt x="767" y="1140"/>
                </a:lnTo>
                <a:lnTo>
                  <a:pt x="735" y="1107"/>
                </a:lnTo>
                <a:lnTo>
                  <a:pt x="702" y="1041"/>
                </a:lnTo>
                <a:lnTo>
                  <a:pt x="685" y="1009"/>
                </a:lnTo>
                <a:lnTo>
                  <a:pt x="653" y="1009"/>
                </a:lnTo>
                <a:lnTo>
                  <a:pt x="637" y="975"/>
                </a:lnTo>
                <a:lnTo>
                  <a:pt x="604" y="958"/>
                </a:lnTo>
                <a:lnTo>
                  <a:pt x="571" y="958"/>
                </a:lnTo>
                <a:lnTo>
                  <a:pt x="506" y="942"/>
                </a:lnTo>
                <a:lnTo>
                  <a:pt x="506" y="958"/>
                </a:lnTo>
                <a:lnTo>
                  <a:pt x="457" y="975"/>
                </a:lnTo>
                <a:lnTo>
                  <a:pt x="424" y="1041"/>
                </a:lnTo>
                <a:lnTo>
                  <a:pt x="392" y="1041"/>
                </a:lnTo>
                <a:lnTo>
                  <a:pt x="342" y="1009"/>
                </a:lnTo>
                <a:lnTo>
                  <a:pt x="277" y="975"/>
                </a:lnTo>
                <a:lnTo>
                  <a:pt x="261" y="958"/>
                </a:lnTo>
                <a:lnTo>
                  <a:pt x="228" y="892"/>
                </a:lnTo>
                <a:lnTo>
                  <a:pt x="228" y="859"/>
                </a:lnTo>
                <a:lnTo>
                  <a:pt x="228" y="826"/>
                </a:lnTo>
                <a:lnTo>
                  <a:pt x="180" y="810"/>
                </a:lnTo>
                <a:lnTo>
                  <a:pt x="147" y="760"/>
                </a:lnTo>
                <a:lnTo>
                  <a:pt x="114" y="744"/>
                </a:lnTo>
                <a:lnTo>
                  <a:pt x="97" y="727"/>
                </a:lnTo>
                <a:lnTo>
                  <a:pt x="65" y="694"/>
                </a:lnTo>
                <a:lnTo>
                  <a:pt x="49" y="694"/>
                </a:lnTo>
                <a:lnTo>
                  <a:pt x="16" y="661"/>
                </a:lnTo>
                <a:lnTo>
                  <a:pt x="0" y="627"/>
                </a:lnTo>
                <a:lnTo>
                  <a:pt x="424" y="627"/>
                </a:lnTo>
                <a:lnTo>
                  <a:pt x="424" y="0"/>
                </a:lnTo>
                <a:lnTo>
                  <a:pt x="473" y="0"/>
                </a:lnTo>
                <a:lnTo>
                  <a:pt x="571" y="0"/>
                </a:lnTo>
                <a:lnTo>
                  <a:pt x="669" y="0"/>
                </a:lnTo>
                <a:lnTo>
                  <a:pt x="751" y="0"/>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5" name="Freeform 42"/>
          <p:cNvSpPr>
            <a:spLocks/>
          </p:cNvSpPr>
          <p:nvPr/>
        </p:nvSpPr>
        <p:spPr bwMode="auto">
          <a:xfrm>
            <a:off x="1550990" y="2568179"/>
            <a:ext cx="1063625" cy="1004888"/>
          </a:xfrm>
          <a:custGeom>
            <a:avLst/>
            <a:gdLst>
              <a:gd name="T0" fmla="*/ 2147483647 w 670"/>
              <a:gd name="T1" fmla="*/ 2147483647 h 844"/>
              <a:gd name="T2" fmla="*/ 2147483647 w 670"/>
              <a:gd name="T3" fmla="*/ 2147483647 h 844"/>
              <a:gd name="T4" fmla="*/ 2147483647 w 670"/>
              <a:gd name="T5" fmla="*/ 2147483647 h 844"/>
              <a:gd name="T6" fmla="*/ 2147483647 w 670"/>
              <a:gd name="T7" fmla="*/ 2147483647 h 844"/>
              <a:gd name="T8" fmla="*/ 2147483647 w 670"/>
              <a:gd name="T9" fmla="*/ 2147483647 h 844"/>
              <a:gd name="T10" fmla="*/ 2147483647 w 670"/>
              <a:gd name="T11" fmla="*/ 0 h 844"/>
              <a:gd name="T12" fmla="*/ 2147483647 w 670"/>
              <a:gd name="T13" fmla="*/ 2147483647 h 844"/>
              <a:gd name="T14" fmla="*/ 2147483647 w 670"/>
              <a:gd name="T15" fmla="*/ 2147483647 h 844"/>
              <a:gd name="T16" fmla="*/ 2147483647 w 670"/>
              <a:gd name="T17" fmla="*/ 2147483647 h 844"/>
              <a:gd name="T18" fmla="*/ 2147483647 w 670"/>
              <a:gd name="T19" fmla="*/ 2147483647 h 844"/>
              <a:gd name="T20" fmla="*/ 2147483647 w 670"/>
              <a:gd name="T21" fmla="*/ 2147483647 h 844"/>
              <a:gd name="T22" fmla="*/ 2147483647 w 670"/>
              <a:gd name="T23" fmla="*/ 2147483647 h 844"/>
              <a:gd name="T24" fmla="*/ 2147483647 w 670"/>
              <a:gd name="T25" fmla="*/ 2147483647 h 844"/>
              <a:gd name="T26" fmla="*/ 2147483647 w 670"/>
              <a:gd name="T27" fmla="*/ 2147483647 h 844"/>
              <a:gd name="T28" fmla="*/ 2147483647 w 670"/>
              <a:gd name="T29" fmla="*/ 2147483647 h 844"/>
              <a:gd name="T30" fmla="*/ 2147483647 w 670"/>
              <a:gd name="T31" fmla="*/ 2147483647 h 844"/>
              <a:gd name="T32" fmla="*/ 2147483647 w 670"/>
              <a:gd name="T33" fmla="*/ 2147483647 h 844"/>
              <a:gd name="T34" fmla="*/ 2147483647 w 670"/>
              <a:gd name="T35" fmla="*/ 2147483647 h 844"/>
              <a:gd name="T36" fmla="*/ 2147483647 w 670"/>
              <a:gd name="T37" fmla="*/ 2147483647 h 844"/>
              <a:gd name="T38" fmla="*/ 2147483647 w 670"/>
              <a:gd name="T39" fmla="*/ 2147483647 h 844"/>
              <a:gd name="T40" fmla="*/ 2147483647 w 670"/>
              <a:gd name="T41" fmla="*/ 2147483647 h 844"/>
              <a:gd name="T42" fmla="*/ 2147483647 w 670"/>
              <a:gd name="T43" fmla="*/ 2147483647 h 844"/>
              <a:gd name="T44" fmla="*/ 0 w 670"/>
              <a:gd name="T45" fmla="*/ 2147483647 h 844"/>
              <a:gd name="T46" fmla="*/ 2147483647 w 670"/>
              <a:gd name="T47" fmla="*/ 2147483647 h 844"/>
              <a:gd name="T48" fmla="*/ 2147483647 w 670"/>
              <a:gd name="T49" fmla="*/ 2147483647 h 844"/>
              <a:gd name="T50" fmla="*/ 2147483647 w 670"/>
              <a:gd name="T51" fmla="*/ 2147483647 h 844"/>
              <a:gd name="T52" fmla="*/ 0 w 670"/>
              <a:gd name="T53" fmla="*/ 2147483647 h 844"/>
              <a:gd name="T54" fmla="*/ 2147483647 w 670"/>
              <a:gd name="T55" fmla="*/ 2147483647 h 844"/>
              <a:gd name="T56" fmla="*/ 2147483647 w 670"/>
              <a:gd name="T57" fmla="*/ 2147483647 h 844"/>
              <a:gd name="T58" fmla="*/ 2147483647 w 670"/>
              <a:gd name="T59" fmla="*/ 2147483647 h 844"/>
              <a:gd name="T60" fmla="*/ 2147483647 w 670"/>
              <a:gd name="T61" fmla="*/ 2147483647 h 8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70"/>
              <a:gd name="T94" fmla="*/ 0 h 844"/>
              <a:gd name="T95" fmla="*/ 670 w 670"/>
              <a:gd name="T96" fmla="*/ 844 h 8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70" h="844">
                <a:moveTo>
                  <a:pt x="669" y="66"/>
                </a:moveTo>
                <a:lnTo>
                  <a:pt x="554" y="66"/>
                </a:lnTo>
                <a:lnTo>
                  <a:pt x="456" y="49"/>
                </a:lnTo>
                <a:lnTo>
                  <a:pt x="359" y="32"/>
                </a:lnTo>
                <a:lnTo>
                  <a:pt x="244" y="16"/>
                </a:lnTo>
                <a:lnTo>
                  <a:pt x="130" y="0"/>
                </a:lnTo>
                <a:lnTo>
                  <a:pt x="130" y="98"/>
                </a:lnTo>
                <a:lnTo>
                  <a:pt x="130" y="115"/>
                </a:lnTo>
                <a:lnTo>
                  <a:pt x="97" y="132"/>
                </a:lnTo>
                <a:lnTo>
                  <a:pt x="64" y="98"/>
                </a:lnTo>
                <a:lnTo>
                  <a:pt x="64" y="132"/>
                </a:lnTo>
                <a:lnTo>
                  <a:pt x="64" y="181"/>
                </a:lnTo>
                <a:lnTo>
                  <a:pt x="64" y="198"/>
                </a:lnTo>
                <a:lnTo>
                  <a:pt x="64" y="247"/>
                </a:lnTo>
                <a:lnTo>
                  <a:pt x="48" y="264"/>
                </a:lnTo>
                <a:lnTo>
                  <a:pt x="64" y="281"/>
                </a:lnTo>
                <a:lnTo>
                  <a:pt x="64" y="330"/>
                </a:lnTo>
                <a:lnTo>
                  <a:pt x="64" y="363"/>
                </a:lnTo>
                <a:lnTo>
                  <a:pt x="48" y="380"/>
                </a:lnTo>
                <a:lnTo>
                  <a:pt x="48" y="429"/>
                </a:lnTo>
                <a:lnTo>
                  <a:pt x="32" y="462"/>
                </a:lnTo>
                <a:lnTo>
                  <a:pt x="16" y="462"/>
                </a:lnTo>
                <a:lnTo>
                  <a:pt x="0" y="512"/>
                </a:lnTo>
                <a:lnTo>
                  <a:pt x="16" y="512"/>
                </a:lnTo>
                <a:lnTo>
                  <a:pt x="16" y="544"/>
                </a:lnTo>
                <a:lnTo>
                  <a:pt x="16" y="561"/>
                </a:lnTo>
                <a:lnTo>
                  <a:pt x="0" y="578"/>
                </a:lnTo>
                <a:lnTo>
                  <a:pt x="16" y="627"/>
                </a:lnTo>
                <a:lnTo>
                  <a:pt x="391" y="843"/>
                </a:lnTo>
                <a:lnTo>
                  <a:pt x="604" y="843"/>
                </a:lnTo>
                <a:lnTo>
                  <a:pt x="669" y="66"/>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6" name="Freeform 43"/>
          <p:cNvSpPr>
            <a:spLocks/>
          </p:cNvSpPr>
          <p:nvPr/>
        </p:nvSpPr>
        <p:spPr bwMode="auto">
          <a:xfrm>
            <a:off x="228617" y="1465675"/>
            <a:ext cx="1427163" cy="1791890"/>
          </a:xfrm>
          <a:custGeom>
            <a:avLst/>
            <a:gdLst>
              <a:gd name="T0" fmla="*/ 2147483647 w 899"/>
              <a:gd name="T1" fmla="*/ 2147483647 h 1505"/>
              <a:gd name="T2" fmla="*/ 2147483647 w 899"/>
              <a:gd name="T3" fmla="*/ 2147483647 h 1505"/>
              <a:gd name="T4" fmla="*/ 2147483647 w 899"/>
              <a:gd name="T5" fmla="*/ 2147483647 h 1505"/>
              <a:gd name="T6" fmla="*/ 0 w 899"/>
              <a:gd name="T7" fmla="*/ 2147483647 h 1505"/>
              <a:gd name="T8" fmla="*/ 2147483647 w 899"/>
              <a:gd name="T9" fmla="*/ 2147483647 h 1505"/>
              <a:gd name="T10" fmla="*/ 2147483647 w 899"/>
              <a:gd name="T11" fmla="*/ 2147483647 h 1505"/>
              <a:gd name="T12" fmla="*/ 2147483647 w 899"/>
              <a:gd name="T13" fmla="*/ 2147483647 h 1505"/>
              <a:gd name="T14" fmla="*/ 2147483647 w 899"/>
              <a:gd name="T15" fmla="*/ 2147483647 h 1505"/>
              <a:gd name="T16" fmla="*/ 2147483647 w 899"/>
              <a:gd name="T17" fmla="*/ 2147483647 h 1505"/>
              <a:gd name="T18" fmla="*/ 2147483647 w 899"/>
              <a:gd name="T19" fmla="*/ 2147483647 h 1505"/>
              <a:gd name="T20" fmla="*/ 2147483647 w 899"/>
              <a:gd name="T21" fmla="*/ 2147483647 h 1505"/>
              <a:gd name="T22" fmla="*/ 2147483647 w 899"/>
              <a:gd name="T23" fmla="*/ 2147483647 h 1505"/>
              <a:gd name="T24" fmla="*/ 2147483647 w 899"/>
              <a:gd name="T25" fmla="*/ 2147483647 h 1505"/>
              <a:gd name="T26" fmla="*/ 2147483647 w 899"/>
              <a:gd name="T27" fmla="*/ 2147483647 h 1505"/>
              <a:gd name="T28" fmla="*/ 2147483647 w 899"/>
              <a:gd name="T29" fmla="*/ 2147483647 h 1505"/>
              <a:gd name="T30" fmla="*/ 2147483647 w 899"/>
              <a:gd name="T31" fmla="*/ 2147483647 h 1505"/>
              <a:gd name="T32" fmla="*/ 2147483647 w 899"/>
              <a:gd name="T33" fmla="*/ 2147483647 h 1505"/>
              <a:gd name="T34" fmla="*/ 2147483647 w 899"/>
              <a:gd name="T35" fmla="*/ 2147483647 h 1505"/>
              <a:gd name="T36" fmla="*/ 2147483647 w 899"/>
              <a:gd name="T37" fmla="*/ 2147483647 h 1505"/>
              <a:gd name="T38" fmla="*/ 2147483647 w 899"/>
              <a:gd name="T39" fmla="*/ 2147483647 h 1505"/>
              <a:gd name="T40" fmla="*/ 2147483647 w 899"/>
              <a:gd name="T41" fmla="*/ 2147483647 h 1505"/>
              <a:gd name="T42" fmla="*/ 2147483647 w 899"/>
              <a:gd name="T43" fmla="*/ 2147483647 h 1505"/>
              <a:gd name="T44" fmla="*/ 2147483647 w 899"/>
              <a:gd name="T45" fmla="*/ 2147483647 h 1505"/>
              <a:gd name="T46" fmla="*/ 2147483647 w 899"/>
              <a:gd name="T47" fmla="*/ 2147483647 h 1505"/>
              <a:gd name="T48" fmla="*/ 2147483647 w 899"/>
              <a:gd name="T49" fmla="*/ 2147483647 h 1505"/>
              <a:gd name="T50" fmla="*/ 2147483647 w 899"/>
              <a:gd name="T51" fmla="*/ 2147483647 h 1505"/>
              <a:gd name="T52" fmla="*/ 2147483647 w 899"/>
              <a:gd name="T53" fmla="*/ 2147483647 h 1505"/>
              <a:gd name="T54" fmla="*/ 2147483647 w 899"/>
              <a:gd name="T55" fmla="*/ 2147483647 h 1505"/>
              <a:gd name="T56" fmla="*/ 2147483647 w 899"/>
              <a:gd name="T57" fmla="*/ 2147483647 h 1505"/>
              <a:gd name="T58" fmla="*/ 2147483647 w 899"/>
              <a:gd name="T59" fmla="*/ 2147483647 h 1505"/>
              <a:gd name="T60" fmla="*/ 2147483647 w 899"/>
              <a:gd name="T61" fmla="*/ 2147483647 h 1505"/>
              <a:gd name="T62" fmla="*/ 2147483647 w 899"/>
              <a:gd name="T63" fmla="*/ 2147483647 h 1505"/>
              <a:gd name="T64" fmla="*/ 2147483647 w 899"/>
              <a:gd name="T65" fmla="*/ 0 h 15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99"/>
              <a:gd name="T100" fmla="*/ 0 h 1505"/>
              <a:gd name="T101" fmla="*/ 899 w 899"/>
              <a:gd name="T102" fmla="*/ 1505 h 15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99" h="1505">
                <a:moveTo>
                  <a:pt x="49" y="0"/>
                </a:moveTo>
                <a:lnTo>
                  <a:pt x="64" y="50"/>
                </a:lnTo>
                <a:lnTo>
                  <a:pt x="81" y="82"/>
                </a:lnTo>
                <a:lnTo>
                  <a:pt x="64" y="116"/>
                </a:lnTo>
                <a:lnTo>
                  <a:pt x="81" y="132"/>
                </a:lnTo>
                <a:lnTo>
                  <a:pt x="49" y="165"/>
                </a:lnTo>
                <a:lnTo>
                  <a:pt x="49" y="198"/>
                </a:lnTo>
                <a:lnTo>
                  <a:pt x="0" y="264"/>
                </a:lnTo>
                <a:lnTo>
                  <a:pt x="16" y="281"/>
                </a:lnTo>
                <a:lnTo>
                  <a:pt x="32" y="347"/>
                </a:lnTo>
                <a:lnTo>
                  <a:pt x="32" y="528"/>
                </a:lnTo>
                <a:lnTo>
                  <a:pt x="81" y="595"/>
                </a:lnTo>
                <a:lnTo>
                  <a:pt x="81" y="644"/>
                </a:lnTo>
                <a:lnTo>
                  <a:pt x="130" y="628"/>
                </a:lnTo>
                <a:lnTo>
                  <a:pt x="147" y="611"/>
                </a:lnTo>
                <a:lnTo>
                  <a:pt x="147" y="644"/>
                </a:lnTo>
                <a:lnTo>
                  <a:pt x="147" y="661"/>
                </a:lnTo>
                <a:lnTo>
                  <a:pt x="147" y="678"/>
                </a:lnTo>
                <a:lnTo>
                  <a:pt x="147" y="694"/>
                </a:lnTo>
                <a:lnTo>
                  <a:pt x="130" y="727"/>
                </a:lnTo>
                <a:lnTo>
                  <a:pt x="130" y="776"/>
                </a:lnTo>
                <a:lnTo>
                  <a:pt x="163" y="810"/>
                </a:lnTo>
                <a:lnTo>
                  <a:pt x="163" y="825"/>
                </a:lnTo>
                <a:lnTo>
                  <a:pt x="147" y="859"/>
                </a:lnTo>
                <a:lnTo>
                  <a:pt x="147" y="876"/>
                </a:lnTo>
                <a:lnTo>
                  <a:pt x="147" y="908"/>
                </a:lnTo>
                <a:lnTo>
                  <a:pt x="179" y="942"/>
                </a:lnTo>
                <a:lnTo>
                  <a:pt x="179" y="991"/>
                </a:lnTo>
                <a:lnTo>
                  <a:pt x="195" y="1024"/>
                </a:lnTo>
                <a:lnTo>
                  <a:pt x="228" y="1024"/>
                </a:lnTo>
                <a:lnTo>
                  <a:pt x="228" y="1090"/>
                </a:lnTo>
                <a:lnTo>
                  <a:pt x="228" y="1124"/>
                </a:lnTo>
                <a:lnTo>
                  <a:pt x="245" y="1156"/>
                </a:lnTo>
                <a:lnTo>
                  <a:pt x="309" y="1173"/>
                </a:lnTo>
                <a:lnTo>
                  <a:pt x="342" y="1173"/>
                </a:lnTo>
                <a:lnTo>
                  <a:pt x="375" y="1207"/>
                </a:lnTo>
                <a:lnTo>
                  <a:pt x="392" y="1256"/>
                </a:lnTo>
                <a:lnTo>
                  <a:pt x="440" y="1256"/>
                </a:lnTo>
                <a:lnTo>
                  <a:pt x="457" y="1288"/>
                </a:lnTo>
                <a:lnTo>
                  <a:pt x="457" y="1305"/>
                </a:lnTo>
                <a:lnTo>
                  <a:pt x="490" y="1338"/>
                </a:lnTo>
                <a:lnTo>
                  <a:pt x="506" y="1338"/>
                </a:lnTo>
                <a:lnTo>
                  <a:pt x="555" y="1404"/>
                </a:lnTo>
                <a:lnTo>
                  <a:pt x="555" y="1454"/>
                </a:lnTo>
                <a:lnTo>
                  <a:pt x="555" y="1487"/>
                </a:lnTo>
                <a:lnTo>
                  <a:pt x="833" y="1504"/>
                </a:lnTo>
                <a:lnTo>
                  <a:pt x="849" y="1487"/>
                </a:lnTo>
                <a:lnTo>
                  <a:pt x="849" y="1470"/>
                </a:lnTo>
                <a:lnTo>
                  <a:pt x="849" y="1437"/>
                </a:lnTo>
                <a:lnTo>
                  <a:pt x="833" y="1437"/>
                </a:lnTo>
                <a:lnTo>
                  <a:pt x="849" y="1388"/>
                </a:lnTo>
                <a:lnTo>
                  <a:pt x="866" y="1388"/>
                </a:lnTo>
                <a:lnTo>
                  <a:pt x="881" y="1354"/>
                </a:lnTo>
                <a:lnTo>
                  <a:pt x="881" y="1305"/>
                </a:lnTo>
                <a:lnTo>
                  <a:pt x="898" y="1288"/>
                </a:lnTo>
                <a:lnTo>
                  <a:pt x="898" y="1256"/>
                </a:lnTo>
                <a:lnTo>
                  <a:pt x="898" y="1207"/>
                </a:lnTo>
                <a:lnTo>
                  <a:pt x="881" y="1190"/>
                </a:lnTo>
                <a:lnTo>
                  <a:pt x="881" y="1173"/>
                </a:lnTo>
                <a:lnTo>
                  <a:pt x="407" y="528"/>
                </a:lnTo>
                <a:lnTo>
                  <a:pt x="490" y="182"/>
                </a:lnTo>
                <a:lnTo>
                  <a:pt x="506" y="132"/>
                </a:lnTo>
                <a:lnTo>
                  <a:pt x="342" y="99"/>
                </a:lnTo>
                <a:lnTo>
                  <a:pt x="179" y="50"/>
                </a:lnTo>
                <a:lnTo>
                  <a:pt x="64" y="16"/>
                </a:lnTo>
                <a:lnTo>
                  <a:pt x="49" y="0"/>
                </a:lnTo>
              </a:path>
            </a:pathLst>
          </a:custGeom>
          <a:solidFill>
            <a:srgbClr val="66FF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7" name="Freeform 44"/>
          <p:cNvSpPr>
            <a:spLocks/>
          </p:cNvSpPr>
          <p:nvPr/>
        </p:nvSpPr>
        <p:spPr bwMode="auto">
          <a:xfrm>
            <a:off x="3546476" y="659608"/>
            <a:ext cx="1143000" cy="532210"/>
          </a:xfrm>
          <a:custGeom>
            <a:avLst/>
            <a:gdLst>
              <a:gd name="T0" fmla="*/ 0 w 720"/>
              <a:gd name="T1" fmla="*/ 2147483647 h 447"/>
              <a:gd name="T2" fmla="*/ 2147483647 w 720"/>
              <a:gd name="T3" fmla="*/ 2147483647 h 447"/>
              <a:gd name="T4" fmla="*/ 2147483647 w 720"/>
              <a:gd name="T5" fmla="*/ 2147483647 h 447"/>
              <a:gd name="T6" fmla="*/ 2147483647 w 720"/>
              <a:gd name="T7" fmla="*/ 2147483647 h 447"/>
              <a:gd name="T8" fmla="*/ 2147483647 w 720"/>
              <a:gd name="T9" fmla="*/ 2147483647 h 447"/>
              <a:gd name="T10" fmla="*/ 2147483647 w 720"/>
              <a:gd name="T11" fmla="*/ 0 h 447"/>
              <a:gd name="T12" fmla="*/ 2147483647 w 720"/>
              <a:gd name="T13" fmla="*/ 2147483647 h 447"/>
              <a:gd name="T14" fmla="*/ 2147483647 w 720"/>
              <a:gd name="T15" fmla="*/ 2147483647 h 447"/>
              <a:gd name="T16" fmla="*/ 2147483647 w 720"/>
              <a:gd name="T17" fmla="*/ 2147483647 h 447"/>
              <a:gd name="T18" fmla="*/ 2147483647 w 720"/>
              <a:gd name="T19" fmla="*/ 2147483647 h 447"/>
              <a:gd name="T20" fmla="*/ 2147483647 w 720"/>
              <a:gd name="T21" fmla="*/ 2147483647 h 447"/>
              <a:gd name="T22" fmla="*/ 2147483647 w 720"/>
              <a:gd name="T23" fmla="*/ 2147483647 h 447"/>
              <a:gd name="T24" fmla="*/ 2147483647 w 720"/>
              <a:gd name="T25" fmla="*/ 2147483647 h 447"/>
              <a:gd name="T26" fmla="*/ 2147483647 w 720"/>
              <a:gd name="T27" fmla="*/ 2147483647 h 447"/>
              <a:gd name="T28" fmla="*/ 2147483647 w 720"/>
              <a:gd name="T29" fmla="*/ 2147483647 h 447"/>
              <a:gd name="T30" fmla="*/ 2147483647 w 720"/>
              <a:gd name="T31" fmla="*/ 2147483647 h 447"/>
              <a:gd name="T32" fmla="*/ 2147483647 w 720"/>
              <a:gd name="T33" fmla="*/ 2147483647 h 447"/>
              <a:gd name="T34" fmla="*/ 2147483647 w 720"/>
              <a:gd name="T35" fmla="*/ 2147483647 h 447"/>
              <a:gd name="T36" fmla="*/ 2147483647 w 720"/>
              <a:gd name="T37" fmla="*/ 2147483647 h 447"/>
              <a:gd name="T38" fmla="*/ 0 w 720"/>
              <a:gd name="T39" fmla="*/ 2147483647 h 447"/>
              <a:gd name="T40" fmla="*/ 0 w 720"/>
              <a:gd name="T41" fmla="*/ 2147483647 h 4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20"/>
              <a:gd name="T64" fmla="*/ 0 h 447"/>
              <a:gd name="T65" fmla="*/ 720 w 720"/>
              <a:gd name="T66" fmla="*/ 447 h 4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20" h="447">
                <a:moveTo>
                  <a:pt x="0" y="33"/>
                </a:moveTo>
                <a:lnTo>
                  <a:pt x="212" y="33"/>
                </a:lnTo>
                <a:lnTo>
                  <a:pt x="359" y="33"/>
                </a:lnTo>
                <a:lnTo>
                  <a:pt x="490" y="33"/>
                </a:lnTo>
                <a:lnTo>
                  <a:pt x="604" y="16"/>
                </a:lnTo>
                <a:lnTo>
                  <a:pt x="637" y="0"/>
                </a:lnTo>
                <a:lnTo>
                  <a:pt x="653" y="16"/>
                </a:lnTo>
                <a:lnTo>
                  <a:pt x="637" y="66"/>
                </a:lnTo>
                <a:lnTo>
                  <a:pt x="637" y="99"/>
                </a:lnTo>
                <a:lnTo>
                  <a:pt x="669" y="115"/>
                </a:lnTo>
                <a:lnTo>
                  <a:pt x="686" y="181"/>
                </a:lnTo>
                <a:lnTo>
                  <a:pt x="686" y="247"/>
                </a:lnTo>
                <a:lnTo>
                  <a:pt x="702" y="296"/>
                </a:lnTo>
                <a:lnTo>
                  <a:pt x="702" y="330"/>
                </a:lnTo>
                <a:lnTo>
                  <a:pt x="719" y="379"/>
                </a:lnTo>
                <a:lnTo>
                  <a:pt x="719" y="446"/>
                </a:lnTo>
                <a:lnTo>
                  <a:pt x="457" y="446"/>
                </a:lnTo>
                <a:lnTo>
                  <a:pt x="278" y="446"/>
                </a:lnTo>
                <a:lnTo>
                  <a:pt x="81" y="446"/>
                </a:lnTo>
                <a:lnTo>
                  <a:pt x="0" y="446"/>
                </a:lnTo>
                <a:lnTo>
                  <a:pt x="0" y="33"/>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8" name="Freeform 45"/>
          <p:cNvSpPr>
            <a:spLocks/>
          </p:cNvSpPr>
          <p:nvPr/>
        </p:nvSpPr>
        <p:spPr bwMode="auto">
          <a:xfrm>
            <a:off x="1784356" y="579836"/>
            <a:ext cx="1763713" cy="769144"/>
          </a:xfrm>
          <a:custGeom>
            <a:avLst/>
            <a:gdLst>
              <a:gd name="T0" fmla="*/ 2147483647 w 1111"/>
              <a:gd name="T1" fmla="*/ 0 h 646"/>
              <a:gd name="T2" fmla="*/ 0 w 1111"/>
              <a:gd name="T3" fmla="*/ 2147483647 h 646"/>
              <a:gd name="T4" fmla="*/ 2147483647 w 1111"/>
              <a:gd name="T5" fmla="*/ 2147483647 h 646"/>
              <a:gd name="T6" fmla="*/ 2147483647 w 1111"/>
              <a:gd name="T7" fmla="*/ 2147483647 h 646"/>
              <a:gd name="T8" fmla="*/ 2147483647 w 1111"/>
              <a:gd name="T9" fmla="*/ 2147483647 h 646"/>
              <a:gd name="T10" fmla="*/ 2147483647 w 1111"/>
              <a:gd name="T11" fmla="*/ 2147483647 h 646"/>
              <a:gd name="T12" fmla="*/ 2147483647 w 1111"/>
              <a:gd name="T13" fmla="*/ 2147483647 h 646"/>
              <a:gd name="T14" fmla="*/ 2147483647 w 1111"/>
              <a:gd name="T15" fmla="*/ 2147483647 h 646"/>
              <a:gd name="T16" fmla="*/ 2147483647 w 1111"/>
              <a:gd name="T17" fmla="*/ 2147483647 h 646"/>
              <a:gd name="T18" fmla="*/ 2147483647 w 1111"/>
              <a:gd name="T19" fmla="*/ 2147483647 h 646"/>
              <a:gd name="T20" fmla="*/ 2147483647 w 1111"/>
              <a:gd name="T21" fmla="*/ 2147483647 h 646"/>
              <a:gd name="T22" fmla="*/ 2147483647 w 1111"/>
              <a:gd name="T23" fmla="*/ 2147483647 h 646"/>
              <a:gd name="T24" fmla="*/ 2147483647 w 1111"/>
              <a:gd name="T25" fmla="*/ 2147483647 h 646"/>
              <a:gd name="T26" fmla="*/ 2147483647 w 1111"/>
              <a:gd name="T27" fmla="*/ 2147483647 h 646"/>
              <a:gd name="T28" fmla="*/ 2147483647 w 1111"/>
              <a:gd name="T29" fmla="*/ 2147483647 h 646"/>
              <a:gd name="T30" fmla="*/ 2147483647 w 1111"/>
              <a:gd name="T31" fmla="*/ 2147483647 h 646"/>
              <a:gd name="T32" fmla="*/ 2147483647 w 1111"/>
              <a:gd name="T33" fmla="*/ 2147483647 h 646"/>
              <a:gd name="T34" fmla="*/ 2147483647 w 1111"/>
              <a:gd name="T35" fmla="*/ 2147483647 h 646"/>
              <a:gd name="T36" fmla="*/ 2147483647 w 1111"/>
              <a:gd name="T37" fmla="*/ 2147483647 h 646"/>
              <a:gd name="T38" fmla="*/ 2147483647 w 1111"/>
              <a:gd name="T39" fmla="*/ 2147483647 h 646"/>
              <a:gd name="T40" fmla="*/ 2147483647 w 1111"/>
              <a:gd name="T41" fmla="*/ 2147483647 h 646"/>
              <a:gd name="T42" fmla="*/ 2147483647 w 1111"/>
              <a:gd name="T43" fmla="*/ 2147483647 h 646"/>
              <a:gd name="T44" fmla="*/ 2147483647 w 1111"/>
              <a:gd name="T45" fmla="*/ 2147483647 h 646"/>
              <a:gd name="T46" fmla="*/ 2147483647 w 1111"/>
              <a:gd name="T47" fmla="*/ 2147483647 h 646"/>
              <a:gd name="T48" fmla="*/ 2147483647 w 1111"/>
              <a:gd name="T49" fmla="*/ 2147483647 h 646"/>
              <a:gd name="T50" fmla="*/ 2147483647 w 1111"/>
              <a:gd name="T51" fmla="*/ 2147483647 h 646"/>
              <a:gd name="T52" fmla="*/ 2147483647 w 1111"/>
              <a:gd name="T53" fmla="*/ 2147483647 h 646"/>
              <a:gd name="T54" fmla="*/ 2147483647 w 1111"/>
              <a:gd name="T55" fmla="*/ 2147483647 h 646"/>
              <a:gd name="T56" fmla="*/ 2147483647 w 1111"/>
              <a:gd name="T57" fmla="*/ 2147483647 h 646"/>
              <a:gd name="T58" fmla="*/ 2147483647 w 1111"/>
              <a:gd name="T59" fmla="*/ 2147483647 h 646"/>
              <a:gd name="T60" fmla="*/ 2147483647 w 1111"/>
              <a:gd name="T61" fmla="*/ 2147483647 h 646"/>
              <a:gd name="T62" fmla="*/ 2147483647 w 1111"/>
              <a:gd name="T63" fmla="*/ 2147483647 h 646"/>
              <a:gd name="T64" fmla="*/ 2147483647 w 1111"/>
              <a:gd name="T65" fmla="*/ 2147483647 h 646"/>
              <a:gd name="T66" fmla="*/ 2147483647 w 1111"/>
              <a:gd name="T67" fmla="*/ 2147483647 h 646"/>
              <a:gd name="T68" fmla="*/ 2147483647 w 1111"/>
              <a:gd name="T69" fmla="*/ 2147483647 h 646"/>
              <a:gd name="T70" fmla="*/ 2147483647 w 1111"/>
              <a:gd name="T71" fmla="*/ 2147483647 h 646"/>
              <a:gd name="T72" fmla="*/ 2147483647 w 1111"/>
              <a:gd name="T73" fmla="*/ 2147483647 h 646"/>
              <a:gd name="T74" fmla="*/ 2147483647 w 1111"/>
              <a:gd name="T75" fmla="*/ 2147483647 h 646"/>
              <a:gd name="T76" fmla="*/ 2147483647 w 1111"/>
              <a:gd name="T77" fmla="*/ 2147483647 h 646"/>
              <a:gd name="T78" fmla="*/ 2147483647 w 1111"/>
              <a:gd name="T79" fmla="*/ 2147483647 h 646"/>
              <a:gd name="T80" fmla="*/ 2147483647 w 1111"/>
              <a:gd name="T81" fmla="*/ 2147483647 h 646"/>
              <a:gd name="T82" fmla="*/ 2147483647 w 1111"/>
              <a:gd name="T83" fmla="*/ 2147483647 h 646"/>
              <a:gd name="T84" fmla="*/ 2147483647 w 1111"/>
              <a:gd name="T85" fmla="*/ 0 h 646"/>
              <a:gd name="T86" fmla="*/ 2147483647 w 1111"/>
              <a:gd name="T87" fmla="*/ 0 h 6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11"/>
              <a:gd name="T133" fmla="*/ 0 h 646"/>
              <a:gd name="T134" fmla="*/ 1111 w 1111"/>
              <a:gd name="T135" fmla="*/ 646 h 6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11" h="646">
                <a:moveTo>
                  <a:pt x="15" y="0"/>
                </a:moveTo>
                <a:lnTo>
                  <a:pt x="0" y="132"/>
                </a:lnTo>
                <a:lnTo>
                  <a:pt x="31" y="149"/>
                </a:lnTo>
                <a:lnTo>
                  <a:pt x="31" y="166"/>
                </a:lnTo>
                <a:lnTo>
                  <a:pt x="31" y="215"/>
                </a:lnTo>
                <a:lnTo>
                  <a:pt x="64" y="231"/>
                </a:lnTo>
                <a:lnTo>
                  <a:pt x="81" y="264"/>
                </a:lnTo>
                <a:lnTo>
                  <a:pt x="97" y="297"/>
                </a:lnTo>
                <a:lnTo>
                  <a:pt x="129" y="330"/>
                </a:lnTo>
                <a:lnTo>
                  <a:pt x="129" y="429"/>
                </a:lnTo>
                <a:lnTo>
                  <a:pt x="97" y="463"/>
                </a:lnTo>
                <a:lnTo>
                  <a:pt x="146" y="480"/>
                </a:lnTo>
                <a:lnTo>
                  <a:pt x="162" y="463"/>
                </a:lnTo>
                <a:lnTo>
                  <a:pt x="179" y="480"/>
                </a:lnTo>
                <a:lnTo>
                  <a:pt x="179" y="529"/>
                </a:lnTo>
                <a:lnTo>
                  <a:pt x="212" y="529"/>
                </a:lnTo>
                <a:lnTo>
                  <a:pt x="212" y="546"/>
                </a:lnTo>
                <a:lnTo>
                  <a:pt x="212" y="578"/>
                </a:lnTo>
                <a:lnTo>
                  <a:pt x="244" y="612"/>
                </a:lnTo>
                <a:lnTo>
                  <a:pt x="244" y="645"/>
                </a:lnTo>
                <a:lnTo>
                  <a:pt x="276" y="645"/>
                </a:lnTo>
                <a:lnTo>
                  <a:pt x="309" y="645"/>
                </a:lnTo>
                <a:lnTo>
                  <a:pt x="358" y="645"/>
                </a:lnTo>
                <a:lnTo>
                  <a:pt x="391" y="628"/>
                </a:lnTo>
                <a:lnTo>
                  <a:pt x="424" y="645"/>
                </a:lnTo>
                <a:lnTo>
                  <a:pt x="424" y="595"/>
                </a:lnTo>
                <a:lnTo>
                  <a:pt x="424" y="645"/>
                </a:lnTo>
                <a:lnTo>
                  <a:pt x="424" y="595"/>
                </a:lnTo>
                <a:lnTo>
                  <a:pt x="571" y="595"/>
                </a:lnTo>
                <a:lnTo>
                  <a:pt x="702" y="612"/>
                </a:lnTo>
                <a:lnTo>
                  <a:pt x="848" y="612"/>
                </a:lnTo>
                <a:lnTo>
                  <a:pt x="979" y="628"/>
                </a:lnTo>
                <a:lnTo>
                  <a:pt x="1110" y="645"/>
                </a:lnTo>
                <a:lnTo>
                  <a:pt x="1110" y="512"/>
                </a:lnTo>
                <a:lnTo>
                  <a:pt x="1110" y="99"/>
                </a:lnTo>
                <a:lnTo>
                  <a:pt x="1012" y="99"/>
                </a:lnTo>
                <a:lnTo>
                  <a:pt x="881" y="83"/>
                </a:lnTo>
                <a:lnTo>
                  <a:pt x="750" y="83"/>
                </a:lnTo>
                <a:lnTo>
                  <a:pt x="603" y="66"/>
                </a:lnTo>
                <a:lnTo>
                  <a:pt x="473" y="49"/>
                </a:lnTo>
                <a:lnTo>
                  <a:pt x="326" y="33"/>
                </a:lnTo>
                <a:lnTo>
                  <a:pt x="212" y="16"/>
                </a:lnTo>
                <a:lnTo>
                  <a:pt x="81" y="0"/>
                </a:lnTo>
                <a:lnTo>
                  <a:pt x="15" y="0"/>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19" name="Freeform 46"/>
          <p:cNvSpPr>
            <a:spLocks/>
          </p:cNvSpPr>
          <p:nvPr/>
        </p:nvSpPr>
        <p:spPr bwMode="auto">
          <a:xfrm>
            <a:off x="1446219" y="560800"/>
            <a:ext cx="1012825" cy="1220390"/>
          </a:xfrm>
          <a:custGeom>
            <a:avLst/>
            <a:gdLst>
              <a:gd name="T0" fmla="*/ 2147483647 w 638"/>
              <a:gd name="T1" fmla="*/ 0 h 1025"/>
              <a:gd name="T2" fmla="*/ 2147483647 w 638"/>
              <a:gd name="T3" fmla="*/ 0 h 1025"/>
              <a:gd name="T4" fmla="*/ 2147483647 w 638"/>
              <a:gd name="T5" fmla="*/ 2147483647 h 1025"/>
              <a:gd name="T6" fmla="*/ 2147483647 w 638"/>
              <a:gd name="T7" fmla="*/ 2147483647 h 1025"/>
              <a:gd name="T8" fmla="*/ 2147483647 w 638"/>
              <a:gd name="T9" fmla="*/ 2147483647 h 1025"/>
              <a:gd name="T10" fmla="*/ 2147483647 w 638"/>
              <a:gd name="T11" fmla="*/ 2147483647 h 1025"/>
              <a:gd name="T12" fmla="*/ 2147483647 w 638"/>
              <a:gd name="T13" fmla="*/ 2147483647 h 1025"/>
              <a:gd name="T14" fmla="*/ 2147483647 w 638"/>
              <a:gd name="T15" fmla="*/ 2147483647 h 1025"/>
              <a:gd name="T16" fmla="*/ 2147483647 w 638"/>
              <a:gd name="T17" fmla="*/ 2147483647 h 1025"/>
              <a:gd name="T18" fmla="*/ 2147483647 w 638"/>
              <a:gd name="T19" fmla="*/ 2147483647 h 1025"/>
              <a:gd name="T20" fmla="*/ 2147483647 w 638"/>
              <a:gd name="T21" fmla="*/ 2147483647 h 1025"/>
              <a:gd name="T22" fmla="*/ 2147483647 w 638"/>
              <a:gd name="T23" fmla="*/ 2147483647 h 1025"/>
              <a:gd name="T24" fmla="*/ 2147483647 w 638"/>
              <a:gd name="T25" fmla="*/ 2147483647 h 1025"/>
              <a:gd name="T26" fmla="*/ 2147483647 w 638"/>
              <a:gd name="T27" fmla="*/ 2147483647 h 1025"/>
              <a:gd name="T28" fmla="*/ 2147483647 w 638"/>
              <a:gd name="T29" fmla="*/ 2147483647 h 1025"/>
              <a:gd name="T30" fmla="*/ 2147483647 w 638"/>
              <a:gd name="T31" fmla="*/ 2147483647 h 1025"/>
              <a:gd name="T32" fmla="*/ 2147483647 w 638"/>
              <a:gd name="T33" fmla="*/ 2147483647 h 1025"/>
              <a:gd name="T34" fmla="*/ 2147483647 w 638"/>
              <a:gd name="T35" fmla="*/ 2147483647 h 1025"/>
              <a:gd name="T36" fmla="*/ 2147483647 w 638"/>
              <a:gd name="T37" fmla="*/ 2147483647 h 1025"/>
              <a:gd name="T38" fmla="*/ 2147483647 w 638"/>
              <a:gd name="T39" fmla="*/ 2147483647 h 1025"/>
              <a:gd name="T40" fmla="*/ 2147483647 w 638"/>
              <a:gd name="T41" fmla="*/ 2147483647 h 1025"/>
              <a:gd name="T42" fmla="*/ 2147483647 w 638"/>
              <a:gd name="T43" fmla="*/ 2147483647 h 1025"/>
              <a:gd name="T44" fmla="*/ 2147483647 w 638"/>
              <a:gd name="T45" fmla="*/ 2147483647 h 1025"/>
              <a:gd name="T46" fmla="*/ 2147483647 w 638"/>
              <a:gd name="T47" fmla="*/ 2147483647 h 1025"/>
              <a:gd name="T48" fmla="*/ 2147483647 w 638"/>
              <a:gd name="T49" fmla="*/ 2147483647 h 1025"/>
              <a:gd name="T50" fmla="*/ 2147483647 w 638"/>
              <a:gd name="T51" fmla="*/ 2147483647 h 1025"/>
              <a:gd name="T52" fmla="*/ 2147483647 w 638"/>
              <a:gd name="T53" fmla="*/ 2147483647 h 1025"/>
              <a:gd name="T54" fmla="*/ 2147483647 w 638"/>
              <a:gd name="T55" fmla="*/ 2147483647 h 1025"/>
              <a:gd name="T56" fmla="*/ 2147483647 w 638"/>
              <a:gd name="T57" fmla="*/ 2147483647 h 1025"/>
              <a:gd name="T58" fmla="*/ 2147483647 w 638"/>
              <a:gd name="T59" fmla="*/ 2147483647 h 1025"/>
              <a:gd name="T60" fmla="*/ 2147483647 w 638"/>
              <a:gd name="T61" fmla="*/ 2147483647 h 1025"/>
              <a:gd name="T62" fmla="*/ 2147483647 w 638"/>
              <a:gd name="T63" fmla="*/ 2147483647 h 1025"/>
              <a:gd name="T64" fmla="*/ 2147483647 w 638"/>
              <a:gd name="T65" fmla="*/ 2147483647 h 1025"/>
              <a:gd name="T66" fmla="*/ 2147483647 w 638"/>
              <a:gd name="T67" fmla="*/ 2147483647 h 1025"/>
              <a:gd name="T68" fmla="*/ 0 w 638"/>
              <a:gd name="T69" fmla="*/ 2147483647 h 1025"/>
              <a:gd name="T70" fmla="*/ 2147483647 w 638"/>
              <a:gd name="T71" fmla="*/ 2147483647 h 1025"/>
              <a:gd name="T72" fmla="*/ 2147483647 w 638"/>
              <a:gd name="T73" fmla="*/ 2147483647 h 1025"/>
              <a:gd name="T74" fmla="*/ 2147483647 w 638"/>
              <a:gd name="T75" fmla="*/ 2147483647 h 1025"/>
              <a:gd name="T76" fmla="*/ 2147483647 w 638"/>
              <a:gd name="T77" fmla="*/ 2147483647 h 1025"/>
              <a:gd name="T78" fmla="*/ 2147483647 w 638"/>
              <a:gd name="T79" fmla="*/ 2147483647 h 1025"/>
              <a:gd name="T80" fmla="*/ 2147483647 w 638"/>
              <a:gd name="T81" fmla="*/ 2147483647 h 1025"/>
              <a:gd name="T82" fmla="*/ 2147483647 w 638"/>
              <a:gd name="T83" fmla="*/ 2147483647 h 1025"/>
              <a:gd name="T84" fmla="*/ 2147483647 w 638"/>
              <a:gd name="T85" fmla="*/ 2147483647 h 1025"/>
              <a:gd name="T86" fmla="*/ 2147483647 w 638"/>
              <a:gd name="T87" fmla="*/ 2147483647 h 1025"/>
              <a:gd name="T88" fmla="*/ 2147483647 w 638"/>
              <a:gd name="T89" fmla="*/ 2147483647 h 1025"/>
              <a:gd name="T90" fmla="*/ 2147483647 w 638"/>
              <a:gd name="T91" fmla="*/ 2147483647 h 1025"/>
              <a:gd name="T92" fmla="*/ 2147483647 w 638"/>
              <a:gd name="T93" fmla="*/ 2147483647 h 1025"/>
              <a:gd name="T94" fmla="*/ 2147483647 w 638"/>
              <a:gd name="T95" fmla="*/ 0 h 10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38"/>
              <a:gd name="T145" fmla="*/ 0 h 1025"/>
              <a:gd name="T146" fmla="*/ 638 w 638"/>
              <a:gd name="T147" fmla="*/ 1025 h 10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38" h="1025">
                <a:moveTo>
                  <a:pt x="147" y="0"/>
                </a:moveTo>
                <a:lnTo>
                  <a:pt x="180" y="0"/>
                </a:lnTo>
                <a:lnTo>
                  <a:pt x="196" y="16"/>
                </a:lnTo>
                <a:lnTo>
                  <a:pt x="228" y="16"/>
                </a:lnTo>
                <a:lnTo>
                  <a:pt x="213" y="149"/>
                </a:lnTo>
                <a:lnTo>
                  <a:pt x="244" y="165"/>
                </a:lnTo>
                <a:lnTo>
                  <a:pt x="244" y="182"/>
                </a:lnTo>
                <a:lnTo>
                  <a:pt x="244" y="231"/>
                </a:lnTo>
                <a:lnTo>
                  <a:pt x="277" y="247"/>
                </a:lnTo>
                <a:lnTo>
                  <a:pt x="294" y="281"/>
                </a:lnTo>
                <a:lnTo>
                  <a:pt x="310" y="313"/>
                </a:lnTo>
                <a:lnTo>
                  <a:pt x="342" y="347"/>
                </a:lnTo>
                <a:lnTo>
                  <a:pt x="342" y="445"/>
                </a:lnTo>
                <a:lnTo>
                  <a:pt x="310" y="479"/>
                </a:lnTo>
                <a:lnTo>
                  <a:pt x="359" y="496"/>
                </a:lnTo>
                <a:lnTo>
                  <a:pt x="375" y="479"/>
                </a:lnTo>
                <a:lnTo>
                  <a:pt x="392" y="496"/>
                </a:lnTo>
                <a:lnTo>
                  <a:pt x="392" y="545"/>
                </a:lnTo>
                <a:lnTo>
                  <a:pt x="425" y="545"/>
                </a:lnTo>
                <a:lnTo>
                  <a:pt x="425" y="562"/>
                </a:lnTo>
                <a:lnTo>
                  <a:pt x="425" y="594"/>
                </a:lnTo>
                <a:lnTo>
                  <a:pt x="456" y="628"/>
                </a:lnTo>
                <a:lnTo>
                  <a:pt x="456" y="661"/>
                </a:lnTo>
                <a:lnTo>
                  <a:pt x="489" y="661"/>
                </a:lnTo>
                <a:lnTo>
                  <a:pt x="522" y="661"/>
                </a:lnTo>
                <a:lnTo>
                  <a:pt x="571" y="661"/>
                </a:lnTo>
                <a:lnTo>
                  <a:pt x="604" y="644"/>
                </a:lnTo>
                <a:lnTo>
                  <a:pt x="637" y="661"/>
                </a:lnTo>
                <a:lnTo>
                  <a:pt x="604" y="1024"/>
                </a:lnTo>
                <a:lnTo>
                  <a:pt x="506" y="1008"/>
                </a:lnTo>
                <a:lnTo>
                  <a:pt x="392" y="991"/>
                </a:lnTo>
                <a:lnTo>
                  <a:pt x="277" y="991"/>
                </a:lnTo>
                <a:lnTo>
                  <a:pt x="196" y="974"/>
                </a:lnTo>
                <a:lnTo>
                  <a:pt x="65" y="957"/>
                </a:lnTo>
                <a:lnTo>
                  <a:pt x="0" y="942"/>
                </a:lnTo>
                <a:lnTo>
                  <a:pt x="49" y="710"/>
                </a:lnTo>
                <a:lnTo>
                  <a:pt x="82" y="661"/>
                </a:lnTo>
                <a:lnTo>
                  <a:pt x="65" y="644"/>
                </a:lnTo>
                <a:lnTo>
                  <a:pt x="65" y="562"/>
                </a:lnTo>
                <a:lnTo>
                  <a:pt x="82" y="562"/>
                </a:lnTo>
                <a:lnTo>
                  <a:pt x="82" y="528"/>
                </a:lnTo>
                <a:lnTo>
                  <a:pt x="130" y="512"/>
                </a:lnTo>
                <a:lnTo>
                  <a:pt x="130" y="462"/>
                </a:lnTo>
                <a:lnTo>
                  <a:pt x="130" y="430"/>
                </a:lnTo>
                <a:lnTo>
                  <a:pt x="98" y="396"/>
                </a:lnTo>
                <a:lnTo>
                  <a:pt x="114" y="347"/>
                </a:lnTo>
                <a:lnTo>
                  <a:pt x="98" y="330"/>
                </a:lnTo>
                <a:lnTo>
                  <a:pt x="147" y="0"/>
                </a:lnTo>
              </a:path>
            </a:pathLst>
          </a:custGeom>
          <a:solidFill>
            <a:srgbClr val="66FF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0" name="Freeform 47"/>
          <p:cNvSpPr>
            <a:spLocks/>
          </p:cNvSpPr>
          <p:nvPr/>
        </p:nvSpPr>
        <p:spPr bwMode="auto">
          <a:xfrm>
            <a:off x="306406" y="856060"/>
            <a:ext cx="1349376" cy="828675"/>
          </a:xfrm>
          <a:custGeom>
            <a:avLst/>
            <a:gdLst>
              <a:gd name="T0" fmla="*/ 0 w 850"/>
              <a:gd name="T1" fmla="*/ 2147483647 h 696"/>
              <a:gd name="T2" fmla="*/ 2147483647 w 850"/>
              <a:gd name="T3" fmla="*/ 2147483647 h 696"/>
              <a:gd name="T4" fmla="*/ 2147483647 w 850"/>
              <a:gd name="T5" fmla="*/ 2147483647 h 696"/>
              <a:gd name="T6" fmla="*/ 2147483647 w 850"/>
              <a:gd name="T7" fmla="*/ 2147483647 h 696"/>
              <a:gd name="T8" fmla="*/ 2147483647 w 850"/>
              <a:gd name="T9" fmla="*/ 2147483647 h 696"/>
              <a:gd name="T10" fmla="*/ 2147483647 w 850"/>
              <a:gd name="T11" fmla="*/ 2147483647 h 696"/>
              <a:gd name="T12" fmla="*/ 2147483647 w 850"/>
              <a:gd name="T13" fmla="*/ 2147483647 h 696"/>
              <a:gd name="T14" fmla="*/ 2147483647 w 850"/>
              <a:gd name="T15" fmla="*/ 2147483647 h 696"/>
              <a:gd name="T16" fmla="*/ 2147483647 w 850"/>
              <a:gd name="T17" fmla="*/ 2147483647 h 696"/>
              <a:gd name="T18" fmla="*/ 2147483647 w 850"/>
              <a:gd name="T19" fmla="*/ 2147483647 h 696"/>
              <a:gd name="T20" fmla="*/ 2147483647 w 850"/>
              <a:gd name="T21" fmla="*/ 2147483647 h 696"/>
              <a:gd name="T22" fmla="*/ 2147483647 w 850"/>
              <a:gd name="T23" fmla="*/ 2147483647 h 696"/>
              <a:gd name="T24" fmla="*/ 2147483647 w 850"/>
              <a:gd name="T25" fmla="*/ 2147483647 h 696"/>
              <a:gd name="T26" fmla="*/ 2147483647 w 850"/>
              <a:gd name="T27" fmla="*/ 2147483647 h 696"/>
              <a:gd name="T28" fmla="*/ 2147483647 w 850"/>
              <a:gd name="T29" fmla="*/ 2147483647 h 696"/>
              <a:gd name="T30" fmla="*/ 2147483647 w 850"/>
              <a:gd name="T31" fmla="*/ 2147483647 h 696"/>
              <a:gd name="T32" fmla="*/ 2147483647 w 850"/>
              <a:gd name="T33" fmla="*/ 2147483647 h 696"/>
              <a:gd name="T34" fmla="*/ 2147483647 w 850"/>
              <a:gd name="T35" fmla="*/ 0 h 696"/>
              <a:gd name="T36" fmla="*/ 2147483647 w 850"/>
              <a:gd name="T37" fmla="*/ 0 h 696"/>
              <a:gd name="T38" fmla="*/ 2147483647 w 850"/>
              <a:gd name="T39" fmla="*/ 2147483647 h 696"/>
              <a:gd name="T40" fmla="*/ 2147483647 w 850"/>
              <a:gd name="T41" fmla="*/ 2147483647 h 696"/>
              <a:gd name="T42" fmla="*/ 2147483647 w 850"/>
              <a:gd name="T43" fmla="*/ 2147483647 h 696"/>
              <a:gd name="T44" fmla="*/ 2147483647 w 850"/>
              <a:gd name="T45" fmla="*/ 2147483647 h 696"/>
              <a:gd name="T46" fmla="*/ 2147483647 w 850"/>
              <a:gd name="T47" fmla="*/ 2147483647 h 696"/>
              <a:gd name="T48" fmla="*/ 2147483647 w 850"/>
              <a:gd name="T49" fmla="*/ 2147483647 h 696"/>
              <a:gd name="T50" fmla="*/ 2147483647 w 850"/>
              <a:gd name="T51" fmla="*/ 2147483647 h 696"/>
              <a:gd name="T52" fmla="*/ 2147483647 w 850"/>
              <a:gd name="T53" fmla="*/ 2147483647 h 696"/>
              <a:gd name="T54" fmla="*/ 2147483647 w 850"/>
              <a:gd name="T55" fmla="*/ 2147483647 h 696"/>
              <a:gd name="T56" fmla="*/ 2147483647 w 850"/>
              <a:gd name="T57" fmla="*/ 2147483647 h 696"/>
              <a:gd name="T58" fmla="*/ 2147483647 w 850"/>
              <a:gd name="T59" fmla="*/ 2147483647 h 696"/>
              <a:gd name="T60" fmla="*/ 2147483647 w 850"/>
              <a:gd name="T61" fmla="*/ 2147483647 h 696"/>
              <a:gd name="T62" fmla="*/ 2147483647 w 850"/>
              <a:gd name="T63" fmla="*/ 2147483647 h 696"/>
              <a:gd name="T64" fmla="*/ 2147483647 w 850"/>
              <a:gd name="T65" fmla="*/ 2147483647 h 696"/>
              <a:gd name="T66" fmla="*/ 2147483647 w 850"/>
              <a:gd name="T67" fmla="*/ 2147483647 h 696"/>
              <a:gd name="T68" fmla="*/ 2147483647 w 850"/>
              <a:gd name="T69" fmla="*/ 2147483647 h 696"/>
              <a:gd name="T70" fmla="*/ 2147483647 w 850"/>
              <a:gd name="T71" fmla="*/ 2147483647 h 696"/>
              <a:gd name="T72" fmla="*/ 2147483647 w 850"/>
              <a:gd name="T73" fmla="*/ 2147483647 h 696"/>
              <a:gd name="T74" fmla="*/ 2147483647 w 850"/>
              <a:gd name="T75" fmla="*/ 2147483647 h 696"/>
              <a:gd name="T76" fmla="*/ 2147483647 w 850"/>
              <a:gd name="T77" fmla="*/ 2147483647 h 696"/>
              <a:gd name="T78" fmla="*/ 2147483647 w 850"/>
              <a:gd name="T79" fmla="*/ 2147483647 h 696"/>
              <a:gd name="T80" fmla="*/ 2147483647 w 850"/>
              <a:gd name="T81" fmla="*/ 2147483647 h 696"/>
              <a:gd name="T82" fmla="*/ 2147483647 w 850"/>
              <a:gd name="T83" fmla="*/ 2147483647 h 696"/>
              <a:gd name="T84" fmla="*/ 2147483647 w 850"/>
              <a:gd name="T85" fmla="*/ 2147483647 h 696"/>
              <a:gd name="T86" fmla="*/ 2147483647 w 850"/>
              <a:gd name="T87" fmla="*/ 2147483647 h 696"/>
              <a:gd name="T88" fmla="*/ 2147483647 w 850"/>
              <a:gd name="T89" fmla="*/ 2147483647 h 696"/>
              <a:gd name="T90" fmla="*/ 2147483647 w 850"/>
              <a:gd name="T91" fmla="*/ 2147483647 h 696"/>
              <a:gd name="T92" fmla="*/ 2147483647 w 850"/>
              <a:gd name="T93" fmla="*/ 2147483647 h 696"/>
              <a:gd name="T94" fmla="*/ 2147483647 w 850"/>
              <a:gd name="T95" fmla="*/ 2147483647 h 696"/>
              <a:gd name="T96" fmla="*/ 2147483647 w 850"/>
              <a:gd name="T97" fmla="*/ 2147483647 h 696"/>
              <a:gd name="T98" fmla="*/ 0 w 850"/>
              <a:gd name="T99" fmla="*/ 2147483647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0"/>
              <a:gd name="T151" fmla="*/ 0 h 696"/>
              <a:gd name="T152" fmla="*/ 850 w 85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0" h="696">
                <a:moveTo>
                  <a:pt x="0" y="512"/>
                </a:moveTo>
                <a:lnTo>
                  <a:pt x="15" y="496"/>
                </a:lnTo>
                <a:lnTo>
                  <a:pt x="15" y="479"/>
                </a:lnTo>
                <a:lnTo>
                  <a:pt x="31" y="462"/>
                </a:lnTo>
                <a:lnTo>
                  <a:pt x="31" y="446"/>
                </a:lnTo>
                <a:lnTo>
                  <a:pt x="15" y="430"/>
                </a:lnTo>
                <a:lnTo>
                  <a:pt x="31" y="413"/>
                </a:lnTo>
                <a:lnTo>
                  <a:pt x="31" y="381"/>
                </a:lnTo>
                <a:lnTo>
                  <a:pt x="81" y="330"/>
                </a:lnTo>
                <a:lnTo>
                  <a:pt x="97" y="298"/>
                </a:lnTo>
                <a:lnTo>
                  <a:pt x="114" y="264"/>
                </a:lnTo>
                <a:lnTo>
                  <a:pt x="114" y="215"/>
                </a:lnTo>
                <a:lnTo>
                  <a:pt x="146" y="149"/>
                </a:lnTo>
                <a:lnTo>
                  <a:pt x="146" y="99"/>
                </a:lnTo>
                <a:lnTo>
                  <a:pt x="146" y="50"/>
                </a:lnTo>
                <a:lnTo>
                  <a:pt x="162" y="33"/>
                </a:lnTo>
                <a:lnTo>
                  <a:pt x="162" y="16"/>
                </a:lnTo>
                <a:lnTo>
                  <a:pt x="195" y="0"/>
                </a:lnTo>
                <a:lnTo>
                  <a:pt x="212" y="0"/>
                </a:lnTo>
                <a:lnTo>
                  <a:pt x="277" y="33"/>
                </a:lnTo>
                <a:lnTo>
                  <a:pt x="277" y="66"/>
                </a:lnTo>
                <a:lnTo>
                  <a:pt x="277" y="82"/>
                </a:lnTo>
                <a:lnTo>
                  <a:pt x="326" y="82"/>
                </a:lnTo>
                <a:lnTo>
                  <a:pt x="375" y="99"/>
                </a:lnTo>
                <a:lnTo>
                  <a:pt x="391" y="82"/>
                </a:lnTo>
                <a:lnTo>
                  <a:pt x="391" y="99"/>
                </a:lnTo>
                <a:lnTo>
                  <a:pt x="440" y="116"/>
                </a:lnTo>
                <a:lnTo>
                  <a:pt x="457" y="99"/>
                </a:lnTo>
                <a:lnTo>
                  <a:pt x="505" y="99"/>
                </a:lnTo>
                <a:lnTo>
                  <a:pt x="505" y="116"/>
                </a:lnTo>
                <a:lnTo>
                  <a:pt x="538" y="132"/>
                </a:lnTo>
                <a:lnTo>
                  <a:pt x="538" y="116"/>
                </a:lnTo>
                <a:lnTo>
                  <a:pt x="555" y="116"/>
                </a:lnTo>
                <a:lnTo>
                  <a:pt x="817" y="149"/>
                </a:lnTo>
                <a:lnTo>
                  <a:pt x="849" y="182"/>
                </a:lnTo>
                <a:lnTo>
                  <a:pt x="849" y="215"/>
                </a:lnTo>
                <a:lnTo>
                  <a:pt x="849" y="264"/>
                </a:lnTo>
                <a:lnTo>
                  <a:pt x="800" y="281"/>
                </a:lnTo>
                <a:lnTo>
                  <a:pt x="800" y="315"/>
                </a:lnTo>
                <a:lnTo>
                  <a:pt x="784" y="315"/>
                </a:lnTo>
                <a:lnTo>
                  <a:pt x="784" y="396"/>
                </a:lnTo>
                <a:lnTo>
                  <a:pt x="800" y="413"/>
                </a:lnTo>
                <a:lnTo>
                  <a:pt x="767" y="462"/>
                </a:lnTo>
                <a:lnTo>
                  <a:pt x="718" y="695"/>
                </a:lnTo>
                <a:lnTo>
                  <a:pt x="620" y="678"/>
                </a:lnTo>
                <a:lnTo>
                  <a:pt x="457" y="644"/>
                </a:lnTo>
                <a:lnTo>
                  <a:pt x="293" y="612"/>
                </a:lnTo>
                <a:lnTo>
                  <a:pt x="129" y="562"/>
                </a:lnTo>
                <a:lnTo>
                  <a:pt x="15" y="529"/>
                </a:lnTo>
                <a:lnTo>
                  <a:pt x="0" y="512"/>
                </a:lnTo>
              </a:path>
            </a:pathLst>
          </a:custGeom>
          <a:solidFill>
            <a:srgbClr val="66FF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1" name="Freeform 48"/>
          <p:cNvSpPr>
            <a:spLocks/>
          </p:cNvSpPr>
          <p:nvPr/>
        </p:nvSpPr>
        <p:spPr bwMode="auto">
          <a:xfrm>
            <a:off x="565155" y="444106"/>
            <a:ext cx="1116012" cy="590550"/>
          </a:xfrm>
          <a:custGeom>
            <a:avLst/>
            <a:gdLst>
              <a:gd name="T0" fmla="*/ 2147483647 w 703"/>
              <a:gd name="T1" fmla="*/ 2147483647 h 496"/>
              <a:gd name="T2" fmla="*/ 2147483647 w 703"/>
              <a:gd name="T3" fmla="*/ 2147483647 h 496"/>
              <a:gd name="T4" fmla="*/ 2147483647 w 703"/>
              <a:gd name="T5" fmla="*/ 2147483647 h 496"/>
              <a:gd name="T6" fmla="*/ 2147483647 w 703"/>
              <a:gd name="T7" fmla="*/ 2147483647 h 496"/>
              <a:gd name="T8" fmla="*/ 2147483647 w 703"/>
              <a:gd name="T9" fmla="*/ 2147483647 h 496"/>
              <a:gd name="T10" fmla="*/ 2147483647 w 703"/>
              <a:gd name="T11" fmla="*/ 2147483647 h 496"/>
              <a:gd name="T12" fmla="*/ 2147483647 w 703"/>
              <a:gd name="T13" fmla="*/ 2147483647 h 496"/>
              <a:gd name="T14" fmla="*/ 2147483647 w 703"/>
              <a:gd name="T15" fmla="*/ 2147483647 h 496"/>
              <a:gd name="T16" fmla="*/ 2147483647 w 703"/>
              <a:gd name="T17" fmla="*/ 2147483647 h 496"/>
              <a:gd name="T18" fmla="*/ 2147483647 w 703"/>
              <a:gd name="T19" fmla="*/ 2147483647 h 496"/>
              <a:gd name="T20" fmla="*/ 2147483647 w 703"/>
              <a:gd name="T21" fmla="*/ 2147483647 h 496"/>
              <a:gd name="T22" fmla="*/ 2147483647 w 703"/>
              <a:gd name="T23" fmla="*/ 2147483647 h 496"/>
              <a:gd name="T24" fmla="*/ 2147483647 w 703"/>
              <a:gd name="T25" fmla="*/ 2147483647 h 496"/>
              <a:gd name="T26" fmla="*/ 2147483647 w 703"/>
              <a:gd name="T27" fmla="*/ 2147483647 h 496"/>
              <a:gd name="T28" fmla="*/ 0 w 703"/>
              <a:gd name="T29" fmla="*/ 2147483647 h 496"/>
              <a:gd name="T30" fmla="*/ 2147483647 w 703"/>
              <a:gd name="T31" fmla="*/ 2147483647 h 496"/>
              <a:gd name="T32" fmla="*/ 2147483647 w 703"/>
              <a:gd name="T33" fmla="*/ 2147483647 h 496"/>
              <a:gd name="T34" fmla="*/ 2147483647 w 703"/>
              <a:gd name="T35" fmla="*/ 2147483647 h 496"/>
              <a:gd name="T36" fmla="*/ 2147483647 w 703"/>
              <a:gd name="T37" fmla="*/ 2147483647 h 496"/>
              <a:gd name="T38" fmla="*/ 2147483647 w 703"/>
              <a:gd name="T39" fmla="*/ 2147483647 h 496"/>
              <a:gd name="T40" fmla="*/ 2147483647 w 703"/>
              <a:gd name="T41" fmla="*/ 2147483647 h 496"/>
              <a:gd name="T42" fmla="*/ 2147483647 w 703"/>
              <a:gd name="T43" fmla="*/ 2147483647 h 496"/>
              <a:gd name="T44" fmla="*/ 2147483647 w 703"/>
              <a:gd name="T45" fmla="*/ 2147483647 h 496"/>
              <a:gd name="T46" fmla="*/ 2147483647 w 703"/>
              <a:gd name="T47" fmla="*/ 2147483647 h 496"/>
              <a:gd name="T48" fmla="*/ 2147483647 w 703"/>
              <a:gd name="T49" fmla="*/ 2147483647 h 496"/>
              <a:gd name="T50" fmla="*/ 2147483647 w 703"/>
              <a:gd name="T51" fmla="*/ 2147483647 h 496"/>
              <a:gd name="T52" fmla="*/ 2147483647 w 703"/>
              <a:gd name="T53" fmla="*/ 2147483647 h 496"/>
              <a:gd name="T54" fmla="*/ 2147483647 w 703"/>
              <a:gd name="T55" fmla="*/ 2147483647 h 496"/>
              <a:gd name="T56" fmla="*/ 2147483647 w 703"/>
              <a:gd name="T57" fmla="*/ 2147483647 h 496"/>
              <a:gd name="T58" fmla="*/ 2147483647 w 703"/>
              <a:gd name="T59" fmla="*/ 2147483647 h 496"/>
              <a:gd name="T60" fmla="*/ 2147483647 w 703"/>
              <a:gd name="T61" fmla="*/ 2147483647 h 496"/>
              <a:gd name="T62" fmla="*/ 2147483647 w 703"/>
              <a:gd name="T63" fmla="*/ 2147483647 h 496"/>
              <a:gd name="T64" fmla="*/ 2147483647 w 703"/>
              <a:gd name="T65" fmla="*/ 2147483647 h 496"/>
              <a:gd name="T66" fmla="*/ 2147483647 w 703"/>
              <a:gd name="T67" fmla="*/ 2147483647 h 496"/>
              <a:gd name="T68" fmla="*/ 2147483647 w 703"/>
              <a:gd name="T69" fmla="*/ 2147483647 h 496"/>
              <a:gd name="T70" fmla="*/ 2147483647 w 703"/>
              <a:gd name="T71" fmla="*/ 2147483647 h 496"/>
              <a:gd name="T72" fmla="*/ 2147483647 w 703"/>
              <a:gd name="T73" fmla="*/ 2147483647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3"/>
              <a:gd name="T112" fmla="*/ 0 h 496"/>
              <a:gd name="T113" fmla="*/ 703 w 703"/>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3" h="496">
                <a:moveTo>
                  <a:pt x="702" y="98"/>
                </a:moveTo>
                <a:lnTo>
                  <a:pt x="653" y="428"/>
                </a:lnTo>
                <a:lnTo>
                  <a:pt x="669" y="445"/>
                </a:lnTo>
                <a:lnTo>
                  <a:pt x="653" y="495"/>
                </a:lnTo>
                <a:lnTo>
                  <a:pt x="392" y="462"/>
                </a:lnTo>
                <a:lnTo>
                  <a:pt x="375" y="462"/>
                </a:lnTo>
                <a:lnTo>
                  <a:pt x="375" y="478"/>
                </a:lnTo>
                <a:lnTo>
                  <a:pt x="342" y="462"/>
                </a:lnTo>
                <a:lnTo>
                  <a:pt x="342" y="445"/>
                </a:lnTo>
                <a:lnTo>
                  <a:pt x="294" y="445"/>
                </a:lnTo>
                <a:lnTo>
                  <a:pt x="277" y="462"/>
                </a:lnTo>
                <a:lnTo>
                  <a:pt x="228" y="445"/>
                </a:lnTo>
                <a:lnTo>
                  <a:pt x="228" y="428"/>
                </a:lnTo>
                <a:lnTo>
                  <a:pt x="212" y="445"/>
                </a:lnTo>
                <a:lnTo>
                  <a:pt x="163" y="428"/>
                </a:lnTo>
                <a:lnTo>
                  <a:pt x="114" y="428"/>
                </a:lnTo>
                <a:lnTo>
                  <a:pt x="114" y="412"/>
                </a:lnTo>
                <a:lnTo>
                  <a:pt x="114" y="379"/>
                </a:lnTo>
                <a:lnTo>
                  <a:pt x="49" y="346"/>
                </a:lnTo>
                <a:lnTo>
                  <a:pt x="32" y="346"/>
                </a:lnTo>
                <a:lnTo>
                  <a:pt x="16" y="346"/>
                </a:lnTo>
                <a:lnTo>
                  <a:pt x="49" y="281"/>
                </a:lnTo>
                <a:lnTo>
                  <a:pt x="49" y="247"/>
                </a:lnTo>
                <a:lnTo>
                  <a:pt x="32" y="247"/>
                </a:lnTo>
                <a:lnTo>
                  <a:pt x="16" y="247"/>
                </a:lnTo>
                <a:lnTo>
                  <a:pt x="16" y="230"/>
                </a:lnTo>
                <a:lnTo>
                  <a:pt x="0" y="198"/>
                </a:lnTo>
                <a:lnTo>
                  <a:pt x="16" y="148"/>
                </a:lnTo>
                <a:lnTo>
                  <a:pt x="16" y="98"/>
                </a:lnTo>
                <a:lnTo>
                  <a:pt x="0" y="49"/>
                </a:lnTo>
                <a:lnTo>
                  <a:pt x="0" y="32"/>
                </a:lnTo>
                <a:lnTo>
                  <a:pt x="16" y="16"/>
                </a:lnTo>
                <a:lnTo>
                  <a:pt x="32" y="16"/>
                </a:lnTo>
                <a:lnTo>
                  <a:pt x="32" y="32"/>
                </a:lnTo>
                <a:lnTo>
                  <a:pt x="49" y="49"/>
                </a:lnTo>
                <a:lnTo>
                  <a:pt x="49" y="66"/>
                </a:lnTo>
                <a:lnTo>
                  <a:pt x="81" y="82"/>
                </a:lnTo>
                <a:lnTo>
                  <a:pt x="114" y="98"/>
                </a:lnTo>
                <a:lnTo>
                  <a:pt x="130" y="98"/>
                </a:lnTo>
                <a:lnTo>
                  <a:pt x="163" y="98"/>
                </a:lnTo>
                <a:lnTo>
                  <a:pt x="163" y="115"/>
                </a:lnTo>
                <a:lnTo>
                  <a:pt x="180" y="115"/>
                </a:lnTo>
                <a:lnTo>
                  <a:pt x="163" y="132"/>
                </a:lnTo>
                <a:lnTo>
                  <a:pt x="163" y="148"/>
                </a:lnTo>
                <a:lnTo>
                  <a:pt x="147" y="164"/>
                </a:lnTo>
                <a:lnTo>
                  <a:pt x="163" y="181"/>
                </a:lnTo>
                <a:lnTo>
                  <a:pt x="163" y="164"/>
                </a:lnTo>
                <a:lnTo>
                  <a:pt x="180" y="181"/>
                </a:lnTo>
                <a:lnTo>
                  <a:pt x="180" y="198"/>
                </a:lnTo>
                <a:lnTo>
                  <a:pt x="163" y="198"/>
                </a:lnTo>
                <a:lnTo>
                  <a:pt x="163" y="215"/>
                </a:lnTo>
                <a:lnTo>
                  <a:pt x="147" y="215"/>
                </a:lnTo>
                <a:lnTo>
                  <a:pt x="147" y="247"/>
                </a:lnTo>
                <a:lnTo>
                  <a:pt x="180" y="247"/>
                </a:lnTo>
                <a:lnTo>
                  <a:pt x="180" y="230"/>
                </a:lnTo>
                <a:lnTo>
                  <a:pt x="195" y="198"/>
                </a:lnTo>
                <a:lnTo>
                  <a:pt x="212" y="181"/>
                </a:lnTo>
                <a:lnTo>
                  <a:pt x="228" y="164"/>
                </a:lnTo>
                <a:lnTo>
                  <a:pt x="228" y="148"/>
                </a:lnTo>
                <a:lnTo>
                  <a:pt x="228" y="132"/>
                </a:lnTo>
                <a:lnTo>
                  <a:pt x="228" y="115"/>
                </a:lnTo>
                <a:lnTo>
                  <a:pt x="212" y="115"/>
                </a:lnTo>
                <a:lnTo>
                  <a:pt x="212" y="98"/>
                </a:lnTo>
                <a:lnTo>
                  <a:pt x="195" y="82"/>
                </a:lnTo>
                <a:lnTo>
                  <a:pt x="180" y="66"/>
                </a:lnTo>
                <a:lnTo>
                  <a:pt x="195" y="49"/>
                </a:lnTo>
                <a:lnTo>
                  <a:pt x="212" y="49"/>
                </a:lnTo>
                <a:lnTo>
                  <a:pt x="195" y="16"/>
                </a:lnTo>
                <a:lnTo>
                  <a:pt x="195" y="0"/>
                </a:lnTo>
                <a:lnTo>
                  <a:pt x="277" y="16"/>
                </a:lnTo>
                <a:lnTo>
                  <a:pt x="359" y="32"/>
                </a:lnTo>
                <a:lnTo>
                  <a:pt x="440" y="49"/>
                </a:lnTo>
                <a:lnTo>
                  <a:pt x="522" y="66"/>
                </a:lnTo>
                <a:lnTo>
                  <a:pt x="620" y="82"/>
                </a:lnTo>
                <a:lnTo>
                  <a:pt x="702" y="98"/>
                </a:lnTo>
              </a:path>
            </a:pathLst>
          </a:custGeom>
          <a:solidFill>
            <a:srgbClr val="66FFCC"/>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2" name="Freeform 49"/>
          <p:cNvSpPr>
            <a:spLocks/>
          </p:cNvSpPr>
          <p:nvPr/>
        </p:nvSpPr>
        <p:spPr bwMode="auto">
          <a:xfrm>
            <a:off x="2509839" y="2646775"/>
            <a:ext cx="1166812" cy="944165"/>
          </a:xfrm>
          <a:custGeom>
            <a:avLst/>
            <a:gdLst>
              <a:gd name="T0" fmla="*/ 2147483647 w 735"/>
              <a:gd name="T1" fmla="*/ 0 h 793"/>
              <a:gd name="T2" fmla="*/ 0 w 735"/>
              <a:gd name="T3" fmla="*/ 2147483647 h 793"/>
              <a:gd name="T4" fmla="*/ 2147483647 w 735"/>
              <a:gd name="T5" fmla="*/ 2147483647 h 793"/>
              <a:gd name="T6" fmla="*/ 2147483647 w 735"/>
              <a:gd name="T7" fmla="*/ 2147483647 h 793"/>
              <a:gd name="T8" fmla="*/ 2147483647 w 735"/>
              <a:gd name="T9" fmla="*/ 2147483647 h 793"/>
              <a:gd name="T10" fmla="*/ 2147483647 w 735"/>
              <a:gd name="T11" fmla="*/ 2147483647 h 793"/>
              <a:gd name="T12" fmla="*/ 2147483647 w 735"/>
              <a:gd name="T13" fmla="*/ 2147483647 h 793"/>
              <a:gd name="T14" fmla="*/ 2147483647 w 735"/>
              <a:gd name="T15" fmla="*/ 2147483647 h 793"/>
              <a:gd name="T16" fmla="*/ 2147483647 w 735"/>
              <a:gd name="T17" fmla="*/ 2147483647 h 793"/>
              <a:gd name="T18" fmla="*/ 2147483647 w 735"/>
              <a:gd name="T19" fmla="*/ 2147483647 h 793"/>
              <a:gd name="T20" fmla="*/ 2147483647 w 735"/>
              <a:gd name="T21" fmla="*/ 2147483647 h 793"/>
              <a:gd name="T22" fmla="*/ 2147483647 w 735"/>
              <a:gd name="T23" fmla="*/ 2147483647 h 793"/>
              <a:gd name="T24" fmla="*/ 2147483647 w 735"/>
              <a:gd name="T25" fmla="*/ 2147483647 h 793"/>
              <a:gd name="T26" fmla="*/ 2147483647 w 735"/>
              <a:gd name="T27" fmla="*/ 2147483647 h 793"/>
              <a:gd name="T28" fmla="*/ 2147483647 w 735"/>
              <a:gd name="T29" fmla="*/ 2147483647 h 793"/>
              <a:gd name="T30" fmla="*/ 2147483647 w 735"/>
              <a:gd name="T31" fmla="*/ 2147483647 h 793"/>
              <a:gd name="T32" fmla="*/ 2147483647 w 735"/>
              <a:gd name="T33" fmla="*/ 2147483647 h 793"/>
              <a:gd name="T34" fmla="*/ 2147483647 w 735"/>
              <a:gd name="T35" fmla="*/ 0 h 7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5"/>
              <a:gd name="T55" fmla="*/ 0 h 793"/>
              <a:gd name="T56" fmla="*/ 735 w 735"/>
              <a:gd name="T57" fmla="*/ 793 h 79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5" h="793">
                <a:moveTo>
                  <a:pt x="64" y="0"/>
                </a:moveTo>
                <a:lnTo>
                  <a:pt x="0" y="776"/>
                </a:lnTo>
                <a:lnTo>
                  <a:pt x="130" y="792"/>
                </a:lnTo>
                <a:lnTo>
                  <a:pt x="130" y="742"/>
                </a:lnTo>
                <a:lnTo>
                  <a:pt x="309" y="759"/>
                </a:lnTo>
                <a:lnTo>
                  <a:pt x="293" y="725"/>
                </a:lnTo>
                <a:lnTo>
                  <a:pt x="717" y="725"/>
                </a:lnTo>
                <a:lnTo>
                  <a:pt x="717" y="98"/>
                </a:lnTo>
                <a:lnTo>
                  <a:pt x="734" y="98"/>
                </a:lnTo>
                <a:lnTo>
                  <a:pt x="734" y="32"/>
                </a:lnTo>
                <a:lnTo>
                  <a:pt x="734" y="82"/>
                </a:lnTo>
                <a:lnTo>
                  <a:pt x="734" y="32"/>
                </a:lnTo>
                <a:lnTo>
                  <a:pt x="652" y="32"/>
                </a:lnTo>
                <a:lnTo>
                  <a:pt x="538" y="32"/>
                </a:lnTo>
                <a:lnTo>
                  <a:pt x="424" y="16"/>
                </a:lnTo>
                <a:lnTo>
                  <a:pt x="309" y="16"/>
                </a:lnTo>
                <a:lnTo>
                  <a:pt x="195" y="16"/>
                </a:lnTo>
                <a:lnTo>
                  <a:pt x="64" y="0"/>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3" name="Freeform 50"/>
          <p:cNvSpPr>
            <a:spLocks/>
          </p:cNvSpPr>
          <p:nvPr/>
        </p:nvSpPr>
        <p:spPr bwMode="auto">
          <a:xfrm>
            <a:off x="3754456" y="2135996"/>
            <a:ext cx="1349376" cy="551260"/>
          </a:xfrm>
          <a:custGeom>
            <a:avLst/>
            <a:gdLst>
              <a:gd name="T0" fmla="*/ 2147483647 w 850"/>
              <a:gd name="T1" fmla="*/ 0 h 463"/>
              <a:gd name="T2" fmla="*/ 2147483647 w 850"/>
              <a:gd name="T3" fmla="*/ 2147483647 h 463"/>
              <a:gd name="T4" fmla="*/ 2147483647 w 850"/>
              <a:gd name="T5" fmla="*/ 2147483647 h 463"/>
              <a:gd name="T6" fmla="*/ 2147483647 w 850"/>
              <a:gd name="T7" fmla="*/ 2147483647 h 463"/>
              <a:gd name="T8" fmla="*/ 2147483647 w 850"/>
              <a:gd name="T9" fmla="*/ 2147483647 h 463"/>
              <a:gd name="T10" fmla="*/ 0 w 850"/>
              <a:gd name="T11" fmla="*/ 2147483647 h 463"/>
              <a:gd name="T12" fmla="*/ 2147483647 w 850"/>
              <a:gd name="T13" fmla="*/ 2147483647 h 463"/>
              <a:gd name="T14" fmla="*/ 2147483647 w 850"/>
              <a:gd name="T15" fmla="*/ 2147483647 h 463"/>
              <a:gd name="T16" fmla="*/ 2147483647 w 850"/>
              <a:gd name="T17" fmla="*/ 2147483647 h 463"/>
              <a:gd name="T18" fmla="*/ 2147483647 w 850"/>
              <a:gd name="T19" fmla="*/ 2147483647 h 463"/>
              <a:gd name="T20" fmla="*/ 2147483647 w 850"/>
              <a:gd name="T21" fmla="*/ 2147483647 h 463"/>
              <a:gd name="T22" fmla="*/ 2147483647 w 850"/>
              <a:gd name="T23" fmla="*/ 2147483647 h 463"/>
              <a:gd name="T24" fmla="*/ 2147483647 w 850"/>
              <a:gd name="T25" fmla="*/ 2147483647 h 463"/>
              <a:gd name="T26" fmla="*/ 2147483647 w 850"/>
              <a:gd name="T27" fmla="*/ 2147483647 h 463"/>
              <a:gd name="T28" fmla="*/ 2147483647 w 850"/>
              <a:gd name="T29" fmla="*/ 2147483647 h 463"/>
              <a:gd name="T30" fmla="*/ 2147483647 w 850"/>
              <a:gd name="T31" fmla="*/ 2147483647 h 463"/>
              <a:gd name="T32" fmla="*/ 2147483647 w 850"/>
              <a:gd name="T33" fmla="*/ 2147483647 h 463"/>
              <a:gd name="T34" fmla="*/ 2147483647 w 850"/>
              <a:gd name="T35" fmla="*/ 0 h 463"/>
              <a:gd name="T36" fmla="*/ 2147483647 w 850"/>
              <a:gd name="T37" fmla="*/ 0 h 4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50"/>
              <a:gd name="T58" fmla="*/ 0 h 463"/>
              <a:gd name="T59" fmla="*/ 850 w 850"/>
              <a:gd name="T60" fmla="*/ 463 h 4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50" h="463">
                <a:moveTo>
                  <a:pt x="750" y="0"/>
                </a:moveTo>
                <a:lnTo>
                  <a:pt x="587" y="15"/>
                </a:lnTo>
                <a:lnTo>
                  <a:pt x="375" y="32"/>
                </a:lnTo>
                <a:lnTo>
                  <a:pt x="195" y="32"/>
                </a:lnTo>
                <a:lnTo>
                  <a:pt x="32" y="32"/>
                </a:lnTo>
                <a:lnTo>
                  <a:pt x="0" y="462"/>
                </a:lnTo>
                <a:lnTo>
                  <a:pt x="261" y="446"/>
                </a:lnTo>
                <a:lnTo>
                  <a:pt x="473" y="446"/>
                </a:lnTo>
                <a:lnTo>
                  <a:pt x="668" y="429"/>
                </a:lnTo>
                <a:lnTo>
                  <a:pt x="750" y="412"/>
                </a:lnTo>
                <a:lnTo>
                  <a:pt x="849" y="412"/>
                </a:lnTo>
                <a:lnTo>
                  <a:pt x="832" y="115"/>
                </a:lnTo>
                <a:lnTo>
                  <a:pt x="832" y="98"/>
                </a:lnTo>
                <a:lnTo>
                  <a:pt x="816" y="81"/>
                </a:lnTo>
                <a:lnTo>
                  <a:pt x="799" y="81"/>
                </a:lnTo>
                <a:lnTo>
                  <a:pt x="783" y="49"/>
                </a:lnTo>
                <a:lnTo>
                  <a:pt x="783" y="15"/>
                </a:lnTo>
                <a:lnTo>
                  <a:pt x="783" y="0"/>
                </a:lnTo>
                <a:lnTo>
                  <a:pt x="750" y="0"/>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4" name="Freeform 51"/>
          <p:cNvSpPr>
            <a:spLocks/>
          </p:cNvSpPr>
          <p:nvPr/>
        </p:nvSpPr>
        <p:spPr bwMode="auto">
          <a:xfrm>
            <a:off x="2613025" y="1958578"/>
            <a:ext cx="1195388" cy="728663"/>
          </a:xfrm>
          <a:custGeom>
            <a:avLst/>
            <a:gdLst>
              <a:gd name="T0" fmla="*/ 2147483647 w 753"/>
              <a:gd name="T1" fmla="*/ 2147483647 h 612"/>
              <a:gd name="T2" fmla="*/ 2147483647 w 753"/>
              <a:gd name="T3" fmla="*/ 2147483647 h 612"/>
              <a:gd name="T4" fmla="*/ 2147483647 w 753"/>
              <a:gd name="T5" fmla="*/ 2147483647 h 612"/>
              <a:gd name="T6" fmla="*/ 2147483647 w 753"/>
              <a:gd name="T7" fmla="*/ 2147483647 h 612"/>
              <a:gd name="T8" fmla="*/ 2147483647 w 753"/>
              <a:gd name="T9" fmla="*/ 2147483647 h 612"/>
              <a:gd name="T10" fmla="*/ 2147483647 w 753"/>
              <a:gd name="T11" fmla="*/ 0 h 612"/>
              <a:gd name="T12" fmla="*/ 0 w 753"/>
              <a:gd name="T13" fmla="*/ 2147483647 h 612"/>
              <a:gd name="T14" fmla="*/ 2147483647 w 753"/>
              <a:gd name="T15" fmla="*/ 2147483647 h 612"/>
              <a:gd name="T16" fmla="*/ 2147483647 w 753"/>
              <a:gd name="T17" fmla="*/ 2147483647 h 612"/>
              <a:gd name="T18" fmla="*/ 2147483647 w 753"/>
              <a:gd name="T19" fmla="*/ 2147483647 h 612"/>
              <a:gd name="T20" fmla="*/ 2147483647 w 753"/>
              <a:gd name="T21" fmla="*/ 2147483647 h 612"/>
              <a:gd name="T22" fmla="*/ 2147483647 w 753"/>
              <a:gd name="T23" fmla="*/ 2147483647 h 612"/>
              <a:gd name="T24" fmla="*/ 2147483647 w 753"/>
              <a:gd name="T25" fmla="*/ 2147483647 h 612"/>
              <a:gd name="T26" fmla="*/ 2147483647 w 753"/>
              <a:gd name="T27" fmla="*/ 2147483647 h 612"/>
              <a:gd name="T28" fmla="*/ 2147483647 w 753"/>
              <a:gd name="T29" fmla="*/ 2147483647 h 612"/>
              <a:gd name="T30" fmla="*/ 2147483647 w 753"/>
              <a:gd name="T31" fmla="*/ 2147483647 h 612"/>
              <a:gd name="T32" fmla="*/ 2147483647 w 753"/>
              <a:gd name="T33" fmla="*/ 2147483647 h 6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53"/>
              <a:gd name="T52" fmla="*/ 0 h 612"/>
              <a:gd name="T53" fmla="*/ 753 w 753"/>
              <a:gd name="T54" fmla="*/ 612 h 6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53" h="612">
                <a:moveTo>
                  <a:pt x="571" y="32"/>
                </a:moveTo>
                <a:lnTo>
                  <a:pt x="440" y="32"/>
                </a:lnTo>
                <a:lnTo>
                  <a:pt x="326" y="32"/>
                </a:lnTo>
                <a:lnTo>
                  <a:pt x="195" y="16"/>
                </a:lnTo>
                <a:lnTo>
                  <a:pt x="114" y="16"/>
                </a:lnTo>
                <a:lnTo>
                  <a:pt x="49" y="0"/>
                </a:lnTo>
                <a:lnTo>
                  <a:pt x="0" y="578"/>
                </a:lnTo>
                <a:lnTo>
                  <a:pt x="130" y="595"/>
                </a:lnTo>
                <a:lnTo>
                  <a:pt x="245" y="595"/>
                </a:lnTo>
                <a:lnTo>
                  <a:pt x="359" y="595"/>
                </a:lnTo>
                <a:lnTo>
                  <a:pt x="473" y="611"/>
                </a:lnTo>
                <a:lnTo>
                  <a:pt x="588" y="611"/>
                </a:lnTo>
                <a:lnTo>
                  <a:pt x="669" y="611"/>
                </a:lnTo>
                <a:lnTo>
                  <a:pt x="719" y="611"/>
                </a:lnTo>
                <a:lnTo>
                  <a:pt x="752" y="181"/>
                </a:lnTo>
                <a:lnTo>
                  <a:pt x="752" y="49"/>
                </a:lnTo>
                <a:lnTo>
                  <a:pt x="571" y="32"/>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5" name="Freeform 52"/>
          <p:cNvSpPr>
            <a:spLocks/>
          </p:cNvSpPr>
          <p:nvPr/>
        </p:nvSpPr>
        <p:spPr bwMode="auto">
          <a:xfrm>
            <a:off x="2379663" y="1289447"/>
            <a:ext cx="1168400" cy="708422"/>
          </a:xfrm>
          <a:custGeom>
            <a:avLst/>
            <a:gdLst>
              <a:gd name="T0" fmla="*/ 2147483647 w 736"/>
              <a:gd name="T1" fmla="*/ 2147483647 h 595"/>
              <a:gd name="T2" fmla="*/ 2147483647 w 736"/>
              <a:gd name="T3" fmla="*/ 2147483647 h 595"/>
              <a:gd name="T4" fmla="*/ 2147483647 w 736"/>
              <a:gd name="T5" fmla="*/ 2147483647 h 595"/>
              <a:gd name="T6" fmla="*/ 2147483647 w 736"/>
              <a:gd name="T7" fmla="*/ 2147483647 h 595"/>
              <a:gd name="T8" fmla="*/ 2147483647 w 736"/>
              <a:gd name="T9" fmla="*/ 2147483647 h 595"/>
              <a:gd name="T10" fmla="*/ 2147483647 w 736"/>
              <a:gd name="T11" fmla="*/ 2147483647 h 595"/>
              <a:gd name="T12" fmla="*/ 2147483647 w 736"/>
              <a:gd name="T13" fmla="*/ 2147483647 h 595"/>
              <a:gd name="T14" fmla="*/ 2147483647 w 736"/>
              <a:gd name="T15" fmla="*/ 2147483647 h 595"/>
              <a:gd name="T16" fmla="*/ 2147483647 w 736"/>
              <a:gd name="T17" fmla="*/ 2147483647 h 595"/>
              <a:gd name="T18" fmla="*/ 2147483647 w 736"/>
              <a:gd name="T19" fmla="*/ 2147483647 h 595"/>
              <a:gd name="T20" fmla="*/ 2147483647 w 736"/>
              <a:gd name="T21" fmla="*/ 0 h 595"/>
              <a:gd name="T22" fmla="*/ 2147483647 w 736"/>
              <a:gd name="T23" fmla="*/ 0 h 595"/>
              <a:gd name="T24" fmla="*/ 2147483647 w 736"/>
              <a:gd name="T25" fmla="*/ 2147483647 h 595"/>
              <a:gd name="T26" fmla="*/ 2147483647 w 736"/>
              <a:gd name="T27" fmla="*/ 2147483647 h 595"/>
              <a:gd name="T28" fmla="*/ 0 w 736"/>
              <a:gd name="T29" fmla="*/ 2147483647 h 595"/>
              <a:gd name="T30" fmla="*/ 2147483647 w 736"/>
              <a:gd name="T31" fmla="*/ 2147483647 h 595"/>
              <a:gd name="T32" fmla="*/ 2147483647 w 736"/>
              <a:gd name="T33" fmla="*/ 2147483647 h 5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6"/>
              <a:gd name="T52" fmla="*/ 0 h 595"/>
              <a:gd name="T53" fmla="*/ 736 w 736"/>
              <a:gd name="T54" fmla="*/ 595 h 5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6" h="595">
                <a:moveTo>
                  <a:pt x="261" y="578"/>
                </a:moveTo>
                <a:lnTo>
                  <a:pt x="342" y="578"/>
                </a:lnTo>
                <a:lnTo>
                  <a:pt x="473" y="594"/>
                </a:lnTo>
                <a:lnTo>
                  <a:pt x="587" y="594"/>
                </a:lnTo>
                <a:lnTo>
                  <a:pt x="718" y="594"/>
                </a:lnTo>
                <a:lnTo>
                  <a:pt x="718" y="346"/>
                </a:lnTo>
                <a:lnTo>
                  <a:pt x="735" y="49"/>
                </a:lnTo>
                <a:lnTo>
                  <a:pt x="604" y="32"/>
                </a:lnTo>
                <a:lnTo>
                  <a:pt x="473" y="16"/>
                </a:lnTo>
                <a:lnTo>
                  <a:pt x="327" y="16"/>
                </a:lnTo>
                <a:lnTo>
                  <a:pt x="196" y="0"/>
                </a:lnTo>
                <a:lnTo>
                  <a:pt x="49" y="0"/>
                </a:lnTo>
                <a:lnTo>
                  <a:pt x="49" y="49"/>
                </a:lnTo>
                <a:lnTo>
                  <a:pt x="16" y="412"/>
                </a:lnTo>
                <a:lnTo>
                  <a:pt x="0" y="544"/>
                </a:lnTo>
                <a:lnTo>
                  <a:pt x="196" y="561"/>
                </a:lnTo>
                <a:lnTo>
                  <a:pt x="261" y="578"/>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6" name="Freeform 53"/>
          <p:cNvSpPr>
            <a:spLocks/>
          </p:cNvSpPr>
          <p:nvPr/>
        </p:nvSpPr>
        <p:spPr bwMode="auto">
          <a:xfrm>
            <a:off x="3521094" y="1683544"/>
            <a:ext cx="1425575" cy="491729"/>
          </a:xfrm>
          <a:custGeom>
            <a:avLst/>
            <a:gdLst>
              <a:gd name="T0" fmla="*/ 0 w 898"/>
              <a:gd name="T1" fmla="*/ 2147483647 h 413"/>
              <a:gd name="T2" fmla="*/ 0 w 898"/>
              <a:gd name="T3" fmla="*/ 2147483647 h 413"/>
              <a:gd name="T4" fmla="*/ 2147483647 w 898"/>
              <a:gd name="T5" fmla="*/ 2147483647 h 413"/>
              <a:gd name="T6" fmla="*/ 2147483647 w 898"/>
              <a:gd name="T7" fmla="*/ 2147483647 h 413"/>
              <a:gd name="T8" fmla="*/ 2147483647 w 898"/>
              <a:gd name="T9" fmla="*/ 2147483647 h 413"/>
              <a:gd name="T10" fmla="*/ 2147483647 w 898"/>
              <a:gd name="T11" fmla="*/ 2147483647 h 413"/>
              <a:gd name="T12" fmla="*/ 2147483647 w 898"/>
              <a:gd name="T13" fmla="*/ 2147483647 h 413"/>
              <a:gd name="T14" fmla="*/ 2147483647 w 898"/>
              <a:gd name="T15" fmla="*/ 2147483647 h 413"/>
              <a:gd name="T16" fmla="*/ 2147483647 w 898"/>
              <a:gd name="T17" fmla="*/ 2147483647 h 413"/>
              <a:gd name="T18" fmla="*/ 2147483647 w 898"/>
              <a:gd name="T19" fmla="*/ 2147483647 h 413"/>
              <a:gd name="T20" fmla="*/ 2147483647 w 898"/>
              <a:gd name="T21" fmla="*/ 2147483647 h 413"/>
              <a:gd name="T22" fmla="*/ 2147483647 w 898"/>
              <a:gd name="T23" fmla="*/ 2147483647 h 413"/>
              <a:gd name="T24" fmla="*/ 2147483647 w 898"/>
              <a:gd name="T25" fmla="*/ 2147483647 h 413"/>
              <a:gd name="T26" fmla="*/ 2147483647 w 898"/>
              <a:gd name="T27" fmla="*/ 2147483647 h 413"/>
              <a:gd name="T28" fmla="*/ 2147483647 w 898"/>
              <a:gd name="T29" fmla="*/ 2147483647 h 413"/>
              <a:gd name="T30" fmla="*/ 2147483647 w 898"/>
              <a:gd name="T31" fmla="*/ 2147483647 h 413"/>
              <a:gd name="T32" fmla="*/ 2147483647 w 898"/>
              <a:gd name="T33" fmla="*/ 2147483647 h 413"/>
              <a:gd name="T34" fmla="*/ 2147483647 w 898"/>
              <a:gd name="T35" fmla="*/ 2147483647 h 413"/>
              <a:gd name="T36" fmla="*/ 2147483647 w 898"/>
              <a:gd name="T37" fmla="*/ 2147483647 h 413"/>
              <a:gd name="T38" fmla="*/ 2147483647 w 898"/>
              <a:gd name="T39" fmla="*/ 2147483647 h 413"/>
              <a:gd name="T40" fmla="*/ 2147483647 w 898"/>
              <a:gd name="T41" fmla="*/ 2147483647 h 413"/>
              <a:gd name="T42" fmla="*/ 2147483647 w 898"/>
              <a:gd name="T43" fmla="*/ 2147483647 h 413"/>
              <a:gd name="T44" fmla="*/ 2147483647 w 898"/>
              <a:gd name="T45" fmla="*/ 2147483647 h 413"/>
              <a:gd name="T46" fmla="*/ 2147483647 w 898"/>
              <a:gd name="T47" fmla="*/ 2147483647 h 413"/>
              <a:gd name="T48" fmla="*/ 2147483647 w 898"/>
              <a:gd name="T49" fmla="*/ 2147483647 h 413"/>
              <a:gd name="T50" fmla="*/ 2147483647 w 898"/>
              <a:gd name="T51" fmla="*/ 2147483647 h 413"/>
              <a:gd name="T52" fmla="*/ 2147483647 w 898"/>
              <a:gd name="T53" fmla="*/ 2147483647 h 413"/>
              <a:gd name="T54" fmla="*/ 2147483647 w 898"/>
              <a:gd name="T55" fmla="*/ 2147483647 h 413"/>
              <a:gd name="T56" fmla="*/ 2147483647 w 898"/>
              <a:gd name="T57" fmla="*/ 2147483647 h 413"/>
              <a:gd name="T58" fmla="*/ 2147483647 w 898"/>
              <a:gd name="T59" fmla="*/ 2147483647 h 413"/>
              <a:gd name="T60" fmla="*/ 2147483647 w 898"/>
              <a:gd name="T61" fmla="*/ 2147483647 h 413"/>
              <a:gd name="T62" fmla="*/ 2147483647 w 898"/>
              <a:gd name="T63" fmla="*/ 2147483647 h 413"/>
              <a:gd name="T64" fmla="*/ 2147483647 w 898"/>
              <a:gd name="T65" fmla="*/ 0 h 413"/>
              <a:gd name="T66" fmla="*/ 2147483647 w 898"/>
              <a:gd name="T67" fmla="*/ 0 h 413"/>
              <a:gd name="T68" fmla="*/ 2147483647 w 898"/>
              <a:gd name="T69" fmla="*/ 0 h 413"/>
              <a:gd name="T70" fmla="*/ 2147483647 w 898"/>
              <a:gd name="T71" fmla="*/ 2147483647 h 413"/>
              <a:gd name="T72" fmla="*/ 2147483647 w 898"/>
              <a:gd name="T73" fmla="*/ 2147483647 h 413"/>
              <a:gd name="T74" fmla="*/ 2147483647 w 898"/>
              <a:gd name="T75" fmla="*/ 0 h 413"/>
              <a:gd name="T76" fmla="*/ 2147483647 w 898"/>
              <a:gd name="T77" fmla="*/ 0 h 413"/>
              <a:gd name="T78" fmla="*/ 2147483647 w 898"/>
              <a:gd name="T79" fmla="*/ 0 h 413"/>
              <a:gd name="T80" fmla="*/ 2147483647 w 898"/>
              <a:gd name="T81" fmla="*/ 2147483647 h 413"/>
              <a:gd name="T82" fmla="*/ 2147483647 w 898"/>
              <a:gd name="T83" fmla="*/ 2147483647 h 413"/>
              <a:gd name="T84" fmla="*/ 2147483647 w 898"/>
              <a:gd name="T85" fmla="*/ 2147483647 h 413"/>
              <a:gd name="T86" fmla="*/ 0 w 898"/>
              <a:gd name="T87" fmla="*/ 2147483647 h 4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98"/>
              <a:gd name="T133" fmla="*/ 0 h 413"/>
              <a:gd name="T134" fmla="*/ 898 w 898"/>
              <a:gd name="T135" fmla="*/ 413 h 4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98" h="413">
                <a:moveTo>
                  <a:pt x="0" y="15"/>
                </a:moveTo>
                <a:lnTo>
                  <a:pt x="0" y="263"/>
                </a:lnTo>
                <a:lnTo>
                  <a:pt x="180" y="279"/>
                </a:lnTo>
                <a:lnTo>
                  <a:pt x="180" y="412"/>
                </a:lnTo>
                <a:lnTo>
                  <a:pt x="342" y="412"/>
                </a:lnTo>
                <a:lnTo>
                  <a:pt x="522" y="412"/>
                </a:lnTo>
                <a:lnTo>
                  <a:pt x="734" y="395"/>
                </a:lnTo>
                <a:lnTo>
                  <a:pt x="897" y="379"/>
                </a:lnTo>
                <a:lnTo>
                  <a:pt x="881" y="362"/>
                </a:lnTo>
                <a:lnTo>
                  <a:pt x="881" y="345"/>
                </a:lnTo>
                <a:lnTo>
                  <a:pt x="865" y="329"/>
                </a:lnTo>
                <a:lnTo>
                  <a:pt x="848" y="313"/>
                </a:lnTo>
                <a:lnTo>
                  <a:pt x="848" y="279"/>
                </a:lnTo>
                <a:lnTo>
                  <a:pt x="832" y="263"/>
                </a:lnTo>
                <a:lnTo>
                  <a:pt x="832" y="230"/>
                </a:lnTo>
                <a:lnTo>
                  <a:pt x="815" y="230"/>
                </a:lnTo>
                <a:lnTo>
                  <a:pt x="815" y="196"/>
                </a:lnTo>
                <a:lnTo>
                  <a:pt x="815" y="181"/>
                </a:lnTo>
                <a:lnTo>
                  <a:pt x="815" y="164"/>
                </a:lnTo>
                <a:lnTo>
                  <a:pt x="815" y="147"/>
                </a:lnTo>
                <a:lnTo>
                  <a:pt x="799" y="132"/>
                </a:lnTo>
                <a:lnTo>
                  <a:pt x="799" y="98"/>
                </a:lnTo>
                <a:lnTo>
                  <a:pt x="782" y="98"/>
                </a:lnTo>
                <a:lnTo>
                  <a:pt x="767" y="81"/>
                </a:lnTo>
                <a:lnTo>
                  <a:pt x="767" y="49"/>
                </a:lnTo>
                <a:lnTo>
                  <a:pt x="750" y="49"/>
                </a:lnTo>
                <a:lnTo>
                  <a:pt x="718" y="49"/>
                </a:lnTo>
                <a:lnTo>
                  <a:pt x="734" y="49"/>
                </a:lnTo>
                <a:lnTo>
                  <a:pt x="718" y="49"/>
                </a:lnTo>
                <a:lnTo>
                  <a:pt x="718" y="32"/>
                </a:lnTo>
                <a:lnTo>
                  <a:pt x="701" y="32"/>
                </a:lnTo>
                <a:lnTo>
                  <a:pt x="668" y="15"/>
                </a:lnTo>
                <a:lnTo>
                  <a:pt x="653" y="0"/>
                </a:lnTo>
                <a:lnTo>
                  <a:pt x="636" y="0"/>
                </a:lnTo>
                <a:lnTo>
                  <a:pt x="620" y="0"/>
                </a:lnTo>
                <a:lnTo>
                  <a:pt x="587" y="15"/>
                </a:lnTo>
                <a:lnTo>
                  <a:pt x="570" y="15"/>
                </a:lnTo>
                <a:lnTo>
                  <a:pt x="570" y="0"/>
                </a:lnTo>
                <a:lnTo>
                  <a:pt x="539" y="0"/>
                </a:lnTo>
                <a:lnTo>
                  <a:pt x="424" y="0"/>
                </a:lnTo>
                <a:lnTo>
                  <a:pt x="326" y="15"/>
                </a:lnTo>
                <a:lnTo>
                  <a:pt x="211" y="15"/>
                </a:lnTo>
                <a:lnTo>
                  <a:pt x="97" y="15"/>
                </a:lnTo>
                <a:lnTo>
                  <a:pt x="0" y="15"/>
                </a:lnTo>
              </a:path>
            </a:pathLst>
          </a:custGeom>
          <a:solidFill>
            <a:srgbClr val="FFFF00"/>
          </a:solidFill>
          <a:ln w="9525" cap="rnd">
            <a:solidFill>
              <a:schemeClr val="tx1"/>
            </a:solidFill>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7" name="Freeform 54"/>
          <p:cNvSpPr>
            <a:spLocks/>
          </p:cNvSpPr>
          <p:nvPr/>
        </p:nvSpPr>
        <p:spPr bwMode="auto">
          <a:xfrm>
            <a:off x="1758951" y="1741900"/>
            <a:ext cx="935038" cy="906065"/>
          </a:xfrm>
          <a:custGeom>
            <a:avLst/>
            <a:gdLst>
              <a:gd name="T0" fmla="*/ 2147483647 w 589"/>
              <a:gd name="T1" fmla="*/ 2147483647 h 761"/>
              <a:gd name="T2" fmla="*/ 2147483647 w 589"/>
              <a:gd name="T3" fmla="*/ 2147483647 h 761"/>
              <a:gd name="T4" fmla="*/ 2147483647 w 589"/>
              <a:gd name="T5" fmla="*/ 2147483647 h 761"/>
              <a:gd name="T6" fmla="*/ 2147483647 w 589"/>
              <a:gd name="T7" fmla="*/ 2147483647 h 761"/>
              <a:gd name="T8" fmla="*/ 2147483647 w 589"/>
              <a:gd name="T9" fmla="*/ 0 h 761"/>
              <a:gd name="T10" fmla="*/ 2147483647 w 589"/>
              <a:gd name="T11" fmla="*/ 0 h 761"/>
              <a:gd name="T12" fmla="*/ 0 w 589"/>
              <a:gd name="T13" fmla="*/ 2147483647 h 761"/>
              <a:gd name="T14" fmla="*/ 2147483647 w 589"/>
              <a:gd name="T15" fmla="*/ 2147483647 h 761"/>
              <a:gd name="T16" fmla="*/ 2147483647 w 589"/>
              <a:gd name="T17" fmla="*/ 2147483647 h 761"/>
              <a:gd name="T18" fmla="*/ 2147483647 w 589"/>
              <a:gd name="T19" fmla="*/ 2147483647 h 761"/>
              <a:gd name="T20" fmla="*/ 2147483647 w 589"/>
              <a:gd name="T21" fmla="*/ 2147483647 h 761"/>
              <a:gd name="T22" fmla="*/ 2147483647 w 589"/>
              <a:gd name="T23" fmla="*/ 2147483647 h 761"/>
              <a:gd name="T24" fmla="*/ 2147483647 w 589"/>
              <a:gd name="T25" fmla="*/ 2147483647 h 7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9"/>
              <a:gd name="T40" fmla="*/ 0 h 761"/>
              <a:gd name="T41" fmla="*/ 589 w 589"/>
              <a:gd name="T42" fmla="*/ 761 h 7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9" h="761">
                <a:moveTo>
                  <a:pt x="588" y="181"/>
                </a:moveTo>
                <a:lnTo>
                  <a:pt x="391" y="164"/>
                </a:lnTo>
                <a:lnTo>
                  <a:pt x="407" y="32"/>
                </a:lnTo>
                <a:lnTo>
                  <a:pt x="309" y="16"/>
                </a:lnTo>
                <a:lnTo>
                  <a:pt x="195" y="0"/>
                </a:lnTo>
                <a:lnTo>
                  <a:pt x="81" y="0"/>
                </a:lnTo>
                <a:lnTo>
                  <a:pt x="0" y="693"/>
                </a:lnTo>
                <a:lnTo>
                  <a:pt x="114" y="710"/>
                </a:lnTo>
                <a:lnTo>
                  <a:pt x="228" y="726"/>
                </a:lnTo>
                <a:lnTo>
                  <a:pt x="326" y="743"/>
                </a:lnTo>
                <a:lnTo>
                  <a:pt x="424" y="760"/>
                </a:lnTo>
                <a:lnTo>
                  <a:pt x="538" y="760"/>
                </a:lnTo>
                <a:lnTo>
                  <a:pt x="588" y="181"/>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8" name="Freeform 55"/>
          <p:cNvSpPr>
            <a:spLocks/>
          </p:cNvSpPr>
          <p:nvPr/>
        </p:nvSpPr>
        <p:spPr bwMode="auto">
          <a:xfrm>
            <a:off x="3521075" y="1190626"/>
            <a:ext cx="1220788" cy="552450"/>
          </a:xfrm>
          <a:custGeom>
            <a:avLst/>
            <a:gdLst>
              <a:gd name="T0" fmla="*/ 2147483647 w 769"/>
              <a:gd name="T1" fmla="*/ 0 h 464"/>
              <a:gd name="T2" fmla="*/ 2147483647 w 769"/>
              <a:gd name="T3" fmla="*/ 0 h 464"/>
              <a:gd name="T4" fmla="*/ 2147483647 w 769"/>
              <a:gd name="T5" fmla="*/ 0 h 464"/>
              <a:gd name="T6" fmla="*/ 2147483647 w 769"/>
              <a:gd name="T7" fmla="*/ 0 h 464"/>
              <a:gd name="T8" fmla="*/ 2147483647 w 769"/>
              <a:gd name="T9" fmla="*/ 0 h 464"/>
              <a:gd name="T10" fmla="*/ 2147483647 w 769"/>
              <a:gd name="T11" fmla="*/ 2147483647 h 464"/>
              <a:gd name="T12" fmla="*/ 0 w 769"/>
              <a:gd name="T13" fmla="*/ 2147483647 h 464"/>
              <a:gd name="T14" fmla="*/ 2147483647 w 769"/>
              <a:gd name="T15" fmla="*/ 2147483647 h 464"/>
              <a:gd name="T16" fmla="*/ 2147483647 w 769"/>
              <a:gd name="T17" fmla="*/ 2147483647 h 464"/>
              <a:gd name="T18" fmla="*/ 2147483647 w 769"/>
              <a:gd name="T19" fmla="*/ 2147483647 h 464"/>
              <a:gd name="T20" fmla="*/ 2147483647 w 769"/>
              <a:gd name="T21" fmla="*/ 2147483647 h 464"/>
              <a:gd name="T22" fmla="*/ 2147483647 w 769"/>
              <a:gd name="T23" fmla="*/ 2147483647 h 464"/>
              <a:gd name="T24" fmla="*/ 2147483647 w 769"/>
              <a:gd name="T25" fmla="*/ 2147483647 h 464"/>
              <a:gd name="T26" fmla="*/ 2147483647 w 769"/>
              <a:gd name="T27" fmla="*/ 2147483647 h 464"/>
              <a:gd name="T28" fmla="*/ 2147483647 w 769"/>
              <a:gd name="T29" fmla="*/ 2147483647 h 464"/>
              <a:gd name="T30" fmla="*/ 2147483647 w 769"/>
              <a:gd name="T31" fmla="*/ 2147483647 h 464"/>
              <a:gd name="T32" fmla="*/ 2147483647 w 769"/>
              <a:gd name="T33" fmla="*/ 2147483647 h 464"/>
              <a:gd name="T34" fmla="*/ 2147483647 w 769"/>
              <a:gd name="T35" fmla="*/ 2147483647 h 464"/>
              <a:gd name="T36" fmla="*/ 2147483647 w 769"/>
              <a:gd name="T37" fmla="*/ 2147483647 h 464"/>
              <a:gd name="T38" fmla="*/ 2147483647 w 769"/>
              <a:gd name="T39" fmla="*/ 2147483647 h 464"/>
              <a:gd name="T40" fmla="*/ 2147483647 w 769"/>
              <a:gd name="T41" fmla="*/ 2147483647 h 464"/>
              <a:gd name="T42" fmla="*/ 2147483647 w 769"/>
              <a:gd name="T43" fmla="*/ 2147483647 h 464"/>
              <a:gd name="T44" fmla="*/ 2147483647 w 769"/>
              <a:gd name="T45" fmla="*/ 2147483647 h 464"/>
              <a:gd name="T46" fmla="*/ 2147483647 w 769"/>
              <a:gd name="T47" fmla="*/ 2147483647 h 464"/>
              <a:gd name="T48" fmla="*/ 2147483647 w 769"/>
              <a:gd name="T49" fmla="*/ 2147483647 h 464"/>
              <a:gd name="T50" fmla="*/ 2147483647 w 769"/>
              <a:gd name="T51" fmla="*/ 2147483647 h 464"/>
              <a:gd name="T52" fmla="*/ 2147483647 w 769"/>
              <a:gd name="T53" fmla="*/ 2147483647 h 464"/>
              <a:gd name="T54" fmla="*/ 2147483647 w 769"/>
              <a:gd name="T55" fmla="*/ 2147483647 h 464"/>
              <a:gd name="T56" fmla="*/ 2147483647 w 769"/>
              <a:gd name="T57" fmla="*/ 2147483647 h 464"/>
              <a:gd name="T58" fmla="*/ 2147483647 w 769"/>
              <a:gd name="T59" fmla="*/ 2147483647 h 464"/>
              <a:gd name="T60" fmla="*/ 2147483647 w 769"/>
              <a:gd name="T61" fmla="*/ 2147483647 h 464"/>
              <a:gd name="T62" fmla="*/ 2147483647 w 769"/>
              <a:gd name="T63" fmla="*/ 2147483647 h 464"/>
              <a:gd name="T64" fmla="*/ 2147483647 w 769"/>
              <a:gd name="T65" fmla="*/ 2147483647 h 464"/>
              <a:gd name="T66" fmla="*/ 2147483647 w 769"/>
              <a:gd name="T67" fmla="*/ 2147483647 h 464"/>
              <a:gd name="T68" fmla="*/ 2147483647 w 769"/>
              <a:gd name="T69" fmla="*/ 2147483647 h 464"/>
              <a:gd name="T70" fmla="*/ 2147483647 w 769"/>
              <a:gd name="T71" fmla="*/ 2147483647 h 464"/>
              <a:gd name="T72" fmla="*/ 2147483647 w 769"/>
              <a:gd name="T73" fmla="*/ 2147483647 h 464"/>
              <a:gd name="T74" fmla="*/ 2147483647 w 769"/>
              <a:gd name="T75" fmla="*/ 0 h 464"/>
              <a:gd name="T76" fmla="*/ 2147483647 w 769"/>
              <a:gd name="T77" fmla="*/ 0 h 4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69"/>
              <a:gd name="T118" fmla="*/ 0 h 464"/>
              <a:gd name="T119" fmla="*/ 769 w 769"/>
              <a:gd name="T120" fmla="*/ 464 h 46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69" h="464">
                <a:moveTo>
                  <a:pt x="735" y="0"/>
                </a:moveTo>
                <a:lnTo>
                  <a:pt x="473" y="0"/>
                </a:lnTo>
                <a:lnTo>
                  <a:pt x="294" y="0"/>
                </a:lnTo>
                <a:lnTo>
                  <a:pt x="97" y="0"/>
                </a:lnTo>
                <a:lnTo>
                  <a:pt x="16" y="0"/>
                </a:lnTo>
                <a:lnTo>
                  <a:pt x="16" y="132"/>
                </a:lnTo>
                <a:lnTo>
                  <a:pt x="0" y="429"/>
                </a:lnTo>
                <a:lnTo>
                  <a:pt x="212" y="429"/>
                </a:lnTo>
                <a:lnTo>
                  <a:pt x="326" y="429"/>
                </a:lnTo>
                <a:lnTo>
                  <a:pt x="425" y="413"/>
                </a:lnTo>
                <a:lnTo>
                  <a:pt x="539" y="413"/>
                </a:lnTo>
                <a:lnTo>
                  <a:pt x="571" y="413"/>
                </a:lnTo>
                <a:lnTo>
                  <a:pt x="571" y="429"/>
                </a:lnTo>
                <a:lnTo>
                  <a:pt x="587" y="429"/>
                </a:lnTo>
                <a:lnTo>
                  <a:pt x="620" y="413"/>
                </a:lnTo>
                <a:lnTo>
                  <a:pt x="637" y="413"/>
                </a:lnTo>
                <a:lnTo>
                  <a:pt x="653" y="413"/>
                </a:lnTo>
                <a:lnTo>
                  <a:pt x="669" y="429"/>
                </a:lnTo>
                <a:lnTo>
                  <a:pt x="702" y="446"/>
                </a:lnTo>
                <a:lnTo>
                  <a:pt x="718" y="446"/>
                </a:lnTo>
                <a:lnTo>
                  <a:pt x="718" y="463"/>
                </a:lnTo>
                <a:lnTo>
                  <a:pt x="735" y="463"/>
                </a:lnTo>
                <a:lnTo>
                  <a:pt x="718" y="463"/>
                </a:lnTo>
                <a:lnTo>
                  <a:pt x="768" y="463"/>
                </a:lnTo>
                <a:lnTo>
                  <a:pt x="751" y="463"/>
                </a:lnTo>
                <a:lnTo>
                  <a:pt x="751" y="429"/>
                </a:lnTo>
                <a:lnTo>
                  <a:pt x="751" y="413"/>
                </a:lnTo>
                <a:lnTo>
                  <a:pt x="751" y="396"/>
                </a:lnTo>
                <a:lnTo>
                  <a:pt x="751" y="363"/>
                </a:lnTo>
                <a:lnTo>
                  <a:pt x="751" y="347"/>
                </a:lnTo>
                <a:lnTo>
                  <a:pt x="751" y="330"/>
                </a:lnTo>
                <a:lnTo>
                  <a:pt x="751" y="313"/>
                </a:lnTo>
                <a:lnTo>
                  <a:pt x="751" y="247"/>
                </a:lnTo>
                <a:lnTo>
                  <a:pt x="751" y="66"/>
                </a:lnTo>
                <a:lnTo>
                  <a:pt x="751" y="33"/>
                </a:lnTo>
                <a:lnTo>
                  <a:pt x="735" y="33"/>
                </a:lnTo>
                <a:lnTo>
                  <a:pt x="718" y="33"/>
                </a:lnTo>
                <a:lnTo>
                  <a:pt x="718" y="0"/>
                </a:lnTo>
                <a:lnTo>
                  <a:pt x="735" y="0"/>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29" name="Freeform 56"/>
          <p:cNvSpPr>
            <a:spLocks/>
          </p:cNvSpPr>
          <p:nvPr/>
        </p:nvSpPr>
        <p:spPr bwMode="auto">
          <a:xfrm>
            <a:off x="876301" y="1622824"/>
            <a:ext cx="1012825" cy="1260872"/>
          </a:xfrm>
          <a:custGeom>
            <a:avLst/>
            <a:gdLst>
              <a:gd name="T0" fmla="*/ 2147483647 w 638"/>
              <a:gd name="T1" fmla="*/ 2147483647 h 1059"/>
              <a:gd name="T2" fmla="*/ 2147483647 w 638"/>
              <a:gd name="T3" fmla="*/ 2147483647 h 1059"/>
              <a:gd name="T4" fmla="*/ 2147483647 w 638"/>
              <a:gd name="T5" fmla="*/ 0 h 1059"/>
              <a:gd name="T6" fmla="*/ 2147483647 w 638"/>
              <a:gd name="T7" fmla="*/ 2147483647 h 1059"/>
              <a:gd name="T8" fmla="*/ 0 w 638"/>
              <a:gd name="T9" fmla="*/ 2147483647 h 1059"/>
              <a:gd name="T10" fmla="*/ 2147483647 w 638"/>
              <a:gd name="T11" fmla="*/ 2147483647 h 1059"/>
              <a:gd name="T12" fmla="*/ 2147483647 w 638"/>
              <a:gd name="T13" fmla="*/ 2147483647 h 1059"/>
              <a:gd name="T14" fmla="*/ 2147483647 w 638"/>
              <a:gd name="T15" fmla="*/ 2147483647 h 1059"/>
              <a:gd name="T16" fmla="*/ 2147483647 w 638"/>
              <a:gd name="T17" fmla="*/ 2147483647 h 1059"/>
              <a:gd name="T18" fmla="*/ 2147483647 w 638"/>
              <a:gd name="T19" fmla="*/ 2147483647 h 1059"/>
              <a:gd name="T20" fmla="*/ 2147483647 w 638"/>
              <a:gd name="T21" fmla="*/ 2147483647 h 1059"/>
              <a:gd name="T22" fmla="*/ 2147483647 w 638"/>
              <a:gd name="T23" fmla="*/ 2147483647 h 1059"/>
              <a:gd name="T24" fmla="*/ 2147483647 w 638"/>
              <a:gd name="T25" fmla="*/ 2147483647 h 1059"/>
              <a:gd name="T26" fmla="*/ 2147483647 w 638"/>
              <a:gd name="T27" fmla="*/ 2147483647 h 1059"/>
              <a:gd name="T28" fmla="*/ 2147483647 w 638"/>
              <a:gd name="T29" fmla="*/ 2147483647 h 1059"/>
              <a:gd name="T30" fmla="*/ 2147483647 w 638"/>
              <a:gd name="T31" fmla="*/ 2147483647 h 1059"/>
              <a:gd name="T32" fmla="*/ 2147483647 w 638"/>
              <a:gd name="T33" fmla="*/ 2147483647 h 1059"/>
              <a:gd name="T34" fmla="*/ 2147483647 w 638"/>
              <a:gd name="T35" fmla="*/ 2147483647 h 1059"/>
              <a:gd name="T36" fmla="*/ 2147483647 w 638"/>
              <a:gd name="T37" fmla="*/ 2147483647 h 1059"/>
              <a:gd name="T38" fmla="*/ 2147483647 w 638"/>
              <a:gd name="T39" fmla="*/ 2147483647 h 10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38"/>
              <a:gd name="T61" fmla="*/ 0 h 1059"/>
              <a:gd name="T62" fmla="*/ 638 w 638"/>
              <a:gd name="T63" fmla="*/ 1059 h 10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38" h="1059">
                <a:moveTo>
                  <a:pt x="359" y="50"/>
                </a:moveTo>
                <a:lnTo>
                  <a:pt x="261" y="33"/>
                </a:lnTo>
                <a:lnTo>
                  <a:pt x="98" y="0"/>
                </a:lnTo>
                <a:lnTo>
                  <a:pt x="82" y="50"/>
                </a:lnTo>
                <a:lnTo>
                  <a:pt x="0" y="396"/>
                </a:lnTo>
                <a:lnTo>
                  <a:pt x="473" y="1041"/>
                </a:lnTo>
                <a:lnTo>
                  <a:pt x="473" y="1058"/>
                </a:lnTo>
                <a:lnTo>
                  <a:pt x="489" y="1041"/>
                </a:lnTo>
                <a:lnTo>
                  <a:pt x="489" y="991"/>
                </a:lnTo>
                <a:lnTo>
                  <a:pt x="489" y="975"/>
                </a:lnTo>
                <a:lnTo>
                  <a:pt x="489" y="925"/>
                </a:lnTo>
                <a:lnTo>
                  <a:pt x="489" y="892"/>
                </a:lnTo>
                <a:lnTo>
                  <a:pt x="522" y="925"/>
                </a:lnTo>
                <a:lnTo>
                  <a:pt x="555" y="908"/>
                </a:lnTo>
                <a:lnTo>
                  <a:pt x="555" y="892"/>
                </a:lnTo>
                <a:lnTo>
                  <a:pt x="555" y="793"/>
                </a:lnTo>
                <a:lnTo>
                  <a:pt x="637" y="99"/>
                </a:lnTo>
                <a:lnTo>
                  <a:pt x="555" y="82"/>
                </a:lnTo>
                <a:lnTo>
                  <a:pt x="425" y="66"/>
                </a:lnTo>
                <a:lnTo>
                  <a:pt x="359" y="50"/>
                </a:lnTo>
              </a:path>
            </a:pathLst>
          </a:custGeom>
          <a:solidFill>
            <a:srgbClr val="FFFF00"/>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30" name="Freeform 57"/>
          <p:cNvSpPr>
            <a:spLocks/>
          </p:cNvSpPr>
          <p:nvPr/>
        </p:nvSpPr>
        <p:spPr bwMode="auto">
          <a:xfrm>
            <a:off x="6475431" y="3413522"/>
            <a:ext cx="1608138" cy="865584"/>
          </a:xfrm>
          <a:custGeom>
            <a:avLst/>
            <a:gdLst>
              <a:gd name="T0" fmla="*/ 2147483647 w 1013"/>
              <a:gd name="T1" fmla="*/ 2147483647 h 727"/>
              <a:gd name="T2" fmla="*/ 2147483647 w 1013"/>
              <a:gd name="T3" fmla="*/ 2147483647 h 727"/>
              <a:gd name="T4" fmla="*/ 2147483647 w 1013"/>
              <a:gd name="T5" fmla="*/ 2147483647 h 727"/>
              <a:gd name="T6" fmla="*/ 2147483647 w 1013"/>
              <a:gd name="T7" fmla="*/ 2147483647 h 727"/>
              <a:gd name="T8" fmla="*/ 2147483647 w 1013"/>
              <a:gd name="T9" fmla="*/ 0 h 727"/>
              <a:gd name="T10" fmla="*/ 2147483647 w 1013"/>
              <a:gd name="T11" fmla="*/ 2147483647 h 727"/>
              <a:gd name="T12" fmla="*/ 2147483647 w 1013"/>
              <a:gd name="T13" fmla="*/ 2147483647 h 727"/>
              <a:gd name="T14" fmla="*/ 2147483647 w 1013"/>
              <a:gd name="T15" fmla="*/ 2147483647 h 727"/>
              <a:gd name="T16" fmla="*/ 2147483647 w 1013"/>
              <a:gd name="T17" fmla="*/ 2147483647 h 727"/>
              <a:gd name="T18" fmla="*/ 2147483647 w 1013"/>
              <a:gd name="T19" fmla="*/ 2147483647 h 727"/>
              <a:gd name="T20" fmla="*/ 2147483647 w 1013"/>
              <a:gd name="T21" fmla="*/ 2147483647 h 727"/>
              <a:gd name="T22" fmla="*/ 2147483647 w 1013"/>
              <a:gd name="T23" fmla="*/ 2147483647 h 727"/>
              <a:gd name="T24" fmla="*/ 2147483647 w 1013"/>
              <a:gd name="T25" fmla="*/ 2147483647 h 727"/>
              <a:gd name="T26" fmla="*/ 2147483647 w 1013"/>
              <a:gd name="T27" fmla="*/ 2147483647 h 727"/>
              <a:gd name="T28" fmla="*/ 2147483647 w 1013"/>
              <a:gd name="T29" fmla="*/ 2147483647 h 727"/>
              <a:gd name="T30" fmla="*/ 2147483647 w 1013"/>
              <a:gd name="T31" fmla="*/ 2147483647 h 727"/>
              <a:gd name="T32" fmla="*/ 2147483647 w 1013"/>
              <a:gd name="T33" fmla="*/ 2147483647 h 727"/>
              <a:gd name="T34" fmla="*/ 2147483647 w 1013"/>
              <a:gd name="T35" fmla="*/ 2147483647 h 727"/>
              <a:gd name="T36" fmla="*/ 2147483647 w 1013"/>
              <a:gd name="T37" fmla="*/ 2147483647 h 727"/>
              <a:gd name="T38" fmla="*/ 2147483647 w 1013"/>
              <a:gd name="T39" fmla="*/ 2147483647 h 727"/>
              <a:gd name="T40" fmla="*/ 2147483647 w 1013"/>
              <a:gd name="T41" fmla="*/ 2147483647 h 727"/>
              <a:gd name="T42" fmla="*/ 2147483647 w 1013"/>
              <a:gd name="T43" fmla="*/ 2147483647 h 727"/>
              <a:gd name="T44" fmla="*/ 2147483647 w 1013"/>
              <a:gd name="T45" fmla="*/ 2147483647 h 727"/>
              <a:gd name="T46" fmla="*/ 2147483647 w 1013"/>
              <a:gd name="T47" fmla="*/ 2147483647 h 727"/>
              <a:gd name="T48" fmla="*/ 2147483647 w 1013"/>
              <a:gd name="T49" fmla="*/ 2147483647 h 727"/>
              <a:gd name="T50" fmla="*/ 2147483647 w 1013"/>
              <a:gd name="T51" fmla="*/ 2147483647 h 727"/>
              <a:gd name="T52" fmla="*/ 2147483647 w 1013"/>
              <a:gd name="T53" fmla="*/ 2147483647 h 727"/>
              <a:gd name="T54" fmla="*/ 2147483647 w 1013"/>
              <a:gd name="T55" fmla="*/ 2147483647 h 727"/>
              <a:gd name="T56" fmla="*/ 2147483647 w 1013"/>
              <a:gd name="T57" fmla="*/ 2147483647 h 727"/>
              <a:gd name="T58" fmla="*/ 2147483647 w 1013"/>
              <a:gd name="T59" fmla="*/ 2147483647 h 727"/>
              <a:gd name="T60" fmla="*/ 2147483647 w 1013"/>
              <a:gd name="T61" fmla="*/ 2147483647 h 727"/>
              <a:gd name="T62" fmla="*/ 2147483647 w 1013"/>
              <a:gd name="T63" fmla="*/ 2147483647 h 727"/>
              <a:gd name="T64" fmla="*/ 2147483647 w 1013"/>
              <a:gd name="T65" fmla="*/ 2147483647 h 727"/>
              <a:gd name="T66" fmla="*/ 0 w 1013"/>
              <a:gd name="T67" fmla="*/ 2147483647 h 7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13"/>
              <a:gd name="T103" fmla="*/ 0 h 727"/>
              <a:gd name="T104" fmla="*/ 1013 w 1013"/>
              <a:gd name="T105" fmla="*/ 727 h 7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13" h="727">
                <a:moveTo>
                  <a:pt x="310" y="66"/>
                </a:moveTo>
                <a:lnTo>
                  <a:pt x="604" y="32"/>
                </a:lnTo>
                <a:lnTo>
                  <a:pt x="620" y="66"/>
                </a:lnTo>
                <a:lnTo>
                  <a:pt x="637" y="66"/>
                </a:lnTo>
                <a:lnTo>
                  <a:pt x="637" y="32"/>
                </a:lnTo>
                <a:lnTo>
                  <a:pt x="653" y="32"/>
                </a:lnTo>
                <a:lnTo>
                  <a:pt x="653" y="0"/>
                </a:lnTo>
                <a:lnTo>
                  <a:pt x="669" y="16"/>
                </a:lnTo>
                <a:lnTo>
                  <a:pt x="702" y="0"/>
                </a:lnTo>
                <a:lnTo>
                  <a:pt x="718" y="0"/>
                </a:lnTo>
                <a:lnTo>
                  <a:pt x="735" y="32"/>
                </a:lnTo>
                <a:lnTo>
                  <a:pt x="751" y="115"/>
                </a:lnTo>
                <a:lnTo>
                  <a:pt x="816" y="198"/>
                </a:lnTo>
                <a:lnTo>
                  <a:pt x="849" y="230"/>
                </a:lnTo>
                <a:lnTo>
                  <a:pt x="865" y="280"/>
                </a:lnTo>
                <a:lnTo>
                  <a:pt x="882" y="330"/>
                </a:lnTo>
                <a:lnTo>
                  <a:pt x="914" y="379"/>
                </a:lnTo>
                <a:lnTo>
                  <a:pt x="930" y="396"/>
                </a:lnTo>
                <a:lnTo>
                  <a:pt x="947" y="429"/>
                </a:lnTo>
                <a:lnTo>
                  <a:pt x="980" y="462"/>
                </a:lnTo>
                <a:lnTo>
                  <a:pt x="980" y="495"/>
                </a:lnTo>
                <a:lnTo>
                  <a:pt x="996" y="544"/>
                </a:lnTo>
                <a:lnTo>
                  <a:pt x="996" y="561"/>
                </a:lnTo>
                <a:lnTo>
                  <a:pt x="1012" y="593"/>
                </a:lnTo>
                <a:lnTo>
                  <a:pt x="1012" y="659"/>
                </a:lnTo>
                <a:lnTo>
                  <a:pt x="996" y="693"/>
                </a:lnTo>
                <a:lnTo>
                  <a:pt x="947" y="710"/>
                </a:lnTo>
                <a:lnTo>
                  <a:pt x="930" y="726"/>
                </a:lnTo>
                <a:lnTo>
                  <a:pt x="882" y="693"/>
                </a:lnTo>
                <a:lnTo>
                  <a:pt x="882" y="659"/>
                </a:lnTo>
                <a:lnTo>
                  <a:pt x="832" y="644"/>
                </a:lnTo>
                <a:lnTo>
                  <a:pt x="799" y="627"/>
                </a:lnTo>
                <a:lnTo>
                  <a:pt x="783" y="593"/>
                </a:lnTo>
                <a:lnTo>
                  <a:pt x="783" y="578"/>
                </a:lnTo>
                <a:lnTo>
                  <a:pt x="751" y="561"/>
                </a:lnTo>
                <a:lnTo>
                  <a:pt x="751" y="527"/>
                </a:lnTo>
                <a:lnTo>
                  <a:pt x="718" y="527"/>
                </a:lnTo>
                <a:lnTo>
                  <a:pt x="702" y="495"/>
                </a:lnTo>
                <a:lnTo>
                  <a:pt x="669" y="462"/>
                </a:lnTo>
                <a:lnTo>
                  <a:pt x="685" y="445"/>
                </a:lnTo>
                <a:lnTo>
                  <a:pt x="669" y="412"/>
                </a:lnTo>
                <a:lnTo>
                  <a:pt x="637" y="396"/>
                </a:lnTo>
                <a:lnTo>
                  <a:pt x="637" y="363"/>
                </a:lnTo>
                <a:lnTo>
                  <a:pt x="637" y="313"/>
                </a:lnTo>
                <a:lnTo>
                  <a:pt x="637" y="264"/>
                </a:lnTo>
                <a:lnTo>
                  <a:pt x="604" y="230"/>
                </a:lnTo>
                <a:lnTo>
                  <a:pt x="587" y="230"/>
                </a:lnTo>
                <a:lnTo>
                  <a:pt x="539" y="198"/>
                </a:lnTo>
                <a:lnTo>
                  <a:pt x="506" y="181"/>
                </a:lnTo>
                <a:lnTo>
                  <a:pt x="473" y="132"/>
                </a:lnTo>
                <a:lnTo>
                  <a:pt x="440" y="132"/>
                </a:lnTo>
                <a:lnTo>
                  <a:pt x="408" y="132"/>
                </a:lnTo>
                <a:lnTo>
                  <a:pt x="408" y="164"/>
                </a:lnTo>
                <a:lnTo>
                  <a:pt x="359" y="181"/>
                </a:lnTo>
                <a:lnTo>
                  <a:pt x="310" y="198"/>
                </a:lnTo>
                <a:lnTo>
                  <a:pt x="294" y="181"/>
                </a:lnTo>
                <a:lnTo>
                  <a:pt x="245" y="181"/>
                </a:lnTo>
                <a:lnTo>
                  <a:pt x="245" y="132"/>
                </a:lnTo>
                <a:lnTo>
                  <a:pt x="228" y="132"/>
                </a:lnTo>
                <a:lnTo>
                  <a:pt x="195" y="147"/>
                </a:lnTo>
                <a:lnTo>
                  <a:pt x="114" y="147"/>
                </a:lnTo>
                <a:lnTo>
                  <a:pt x="81" y="164"/>
                </a:lnTo>
                <a:lnTo>
                  <a:pt x="65" y="147"/>
                </a:lnTo>
                <a:lnTo>
                  <a:pt x="32" y="164"/>
                </a:lnTo>
                <a:lnTo>
                  <a:pt x="16" y="164"/>
                </a:lnTo>
                <a:lnTo>
                  <a:pt x="16" y="132"/>
                </a:lnTo>
                <a:lnTo>
                  <a:pt x="0" y="98"/>
                </a:lnTo>
                <a:lnTo>
                  <a:pt x="0" y="81"/>
                </a:lnTo>
                <a:lnTo>
                  <a:pt x="310" y="66"/>
                </a:lnTo>
              </a:path>
            </a:pathLst>
          </a:custGeom>
          <a:solidFill>
            <a:srgbClr val="6699FF"/>
          </a:solidFill>
          <a:ln w="12700" cap="rnd" cmpd="sng">
            <a:solidFill>
              <a:schemeClr val="tx1"/>
            </a:solidFill>
            <a:prstDash val="solid"/>
            <a:round/>
            <a:headEnd type="none" w="sm" len="sm"/>
            <a:tailEnd type="none" w="sm" len="sm"/>
          </a:ln>
        </p:spPr>
        <p:txBody>
          <a:bodyPr lIns="101680" tIns="50841" rIns="101680" bIns="50841"/>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31" name="Rectangle 58"/>
          <p:cNvSpPr>
            <a:spLocks noChangeArrowheads="1"/>
          </p:cNvSpPr>
          <p:nvPr/>
        </p:nvSpPr>
        <p:spPr bwMode="auto">
          <a:xfrm>
            <a:off x="974736" y="606037"/>
            <a:ext cx="53455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WA</a:t>
            </a:r>
          </a:p>
        </p:txBody>
      </p:sp>
      <p:sp>
        <p:nvSpPr>
          <p:cNvPr id="3132" name="Rectangle 59"/>
          <p:cNvSpPr>
            <a:spLocks noChangeArrowheads="1"/>
          </p:cNvSpPr>
          <p:nvPr/>
        </p:nvSpPr>
        <p:spPr bwMode="auto">
          <a:xfrm>
            <a:off x="2422540" y="820349"/>
            <a:ext cx="51615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MT</a:t>
            </a:r>
          </a:p>
        </p:txBody>
      </p:sp>
      <p:sp>
        <p:nvSpPr>
          <p:cNvPr id="3133" name="Rectangle 60"/>
          <p:cNvSpPr>
            <a:spLocks noChangeArrowheads="1"/>
          </p:cNvSpPr>
          <p:nvPr/>
        </p:nvSpPr>
        <p:spPr bwMode="auto">
          <a:xfrm>
            <a:off x="746135" y="1140628"/>
            <a:ext cx="48409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OR</a:t>
            </a:r>
          </a:p>
        </p:txBody>
      </p:sp>
      <p:sp>
        <p:nvSpPr>
          <p:cNvPr id="3134" name="Rectangle 61"/>
          <p:cNvSpPr>
            <a:spLocks noChangeArrowheads="1"/>
          </p:cNvSpPr>
          <p:nvPr/>
        </p:nvSpPr>
        <p:spPr bwMode="auto">
          <a:xfrm>
            <a:off x="1660537" y="1301363"/>
            <a:ext cx="40715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ID</a:t>
            </a:r>
          </a:p>
        </p:txBody>
      </p:sp>
      <p:sp>
        <p:nvSpPr>
          <p:cNvPr id="3135" name="Rectangle 62"/>
          <p:cNvSpPr>
            <a:spLocks noChangeArrowheads="1"/>
          </p:cNvSpPr>
          <p:nvPr/>
        </p:nvSpPr>
        <p:spPr bwMode="auto">
          <a:xfrm>
            <a:off x="2727331" y="1515676"/>
            <a:ext cx="524168"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WY</a:t>
            </a:r>
          </a:p>
        </p:txBody>
      </p:sp>
      <p:sp>
        <p:nvSpPr>
          <p:cNvPr id="3136" name="Rectangle 63"/>
          <p:cNvSpPr>
            <a:spLocks noChangeArrowheads="1"/>
          </p:cNvSpPr>
          <p:nvPr/>
        </p:nvSpPr>
        <p:spPr bwMode="auto">
          <a:xfrm>
            <a:off x="517539" y="2372926"/>
            <a:ext cx="46325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CA</a:t>
            </a:r>
          </a:p>
        </p:txBody>
      </p:sp>
      <p:sp>
        <p:nvSpPr>
          <p:cNvPr id="3137" name="Rectangle 64"/>
          <p:cNvSpPr>
            <a:spLocks noChangeArrowheads="1"/>
          </p:cNvSpPr>
          <p:nvPr/>
        </p:nvSpPr>
        <p:spPr bwMode="auto">
          <a:xfrm>
            <a:off x="1127137" y="1890721"/>
            <a:ext cx="48730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NV</a:t>
            </a:r>
          </a:p>
        </p:txBody>
      </p:sp>
      <p:sp>
        <p:nvSpPr>
          <p:cNvPr id="3138" name="Rectangle 65"/>
          <p:cNvSpPr>
            <a:spLocks noChangeArrowheads="1"/>
          </p:cNvSpPr>
          <p:nvPr/>
        </p:nvSpPr>
        <p:spPr bwMode="auto">
          <a:xfrm>
            <a:off x="1965334" y="2158613"/>
            <a:ext cx="46646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UT</a:t>
            </a:r>
          </a:p>
        </p:txBody>
      </p:sp>
      <p:sp>
        <p:nvSpPr>
          <p:cNvPr id="3139" name="Rectangle 66"/>
          <p:cNvSpPr>
            <a:spLocks noChangeArrowheads="1"/>
          </p:cNvSpPr>
          <p:nvPr/>
        </p:nvSpPr>
        <p:spPr bwMode="auto">
          <a:xfrm>
            <a:off x="2955940" y="2212190"/>
            <a:ext cx="480438"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CO</a:t>
            </a:r>
          </a:p>
        </p:txBody>
      </p:sp>
      <p:sp>
        <p:nvSpPr>
          <p:cNvPr id="3140" name="Rectangle 67"/>
          <p:cNvSpPr>
            <a:spLocks noChangeArrowheads="1"/>
          </p:cNvSpPr>
          <p:nvPr/>
        </p:nvSpPr>
        <p:spPr bwMode="auto">
          <a:xfrm>
            <a:off x="1889140" y="2853934"/>
            <a:ext cx="44722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AZ</a:t>
            </a:r>
          </a:p>
        </p:txBody>
      </p:sp>
      <p:sp>
        <p:nvSpPr>
          <p:cNvPr id="3141" name="Rectangle 68"/>
          <p:cNvSpPr>
            <a:spLocks noChangeArrowheads="1"/>
          </p:cNvSpPr>
          <p:nvPr/>
        </p:nvSpPr>
        <p:spPr bwMode="auto">
          <a:xfrm>
            <a:off x="3870333" y="820349"/>
            <a:ext cx="49852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ND</a:t>
            </a:r>
          </a:p>
        </p:txBody>
      </p:sp>
      <p:sp>
        <p:nvSpPr>
          <p:cNvPr id="3142" name="Rectangle 69"/>
          <p:cNvSpPr>
            <a:spLocks noChangeArrowheads="1"/>
          </p:cNvSpPr>
          <p:nvPr/>
        </p:nvSpPr>
        <p:spPr bwMode="auto">
          <a:xfrm>
            <a:off x="3870334" y="1301363"/>
            <a:ext cx="45524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SD</a:t>
            </a:r>
          </a:p>
        </p:txBody>
      </p:sp>
      <p:sp>
        <p:nvSpPr>
          <p:cNvPr id="3143" name="Rectangle 70"/>
          <p:cNvSpPr>
            <a:spLocks noChangeArrowheads="1"/>
          </p:cNvSpPr>
          <p:nvPr/>
        </p:nvSpPr>
        <p:spPr bwMode="auto">
          <a:xfrm>
            <a:off x="4022740" y="1837144"/>
            <a:ext cx="46806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NE</a:t>
            </a:r>
          </a:p>
        </p:txBody>
      </p:sp>
      <p:sp>
        <p:nvSpPr>
          <p:cNvPr id="3144" name="Rectangle 71"/>
          <p:cNvSpPr>
            <a:spLocks noChangeArrowheads="1"/>
          </p:cNvSpPr>
          <p:nvPr/>
        </p:nvSpPr>
        <p:spPr bwMode="auto">
          <a:xfrm>
            <a:off x="4175141" y="2319346"/>
            <a:ext cx="43074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KS</a:t>
            </a:r>
          </a:p>
        </p:txBody>
      </p:sp>
      <p:sp>
        <p:nvSpPr>
          <p:cNvPr id="3145" name="Rectangle 72"/>
          <p:cNvSpPr>
            <a:spLocks noChangeArrowheads="1"/>
          </p:cNvSpPr>
          <p:nvPr/>
        </p:nvSpPr>
        <p:spPr bwMode="auto">
          <a:xfrm>
            <a:off x="4784735" y="873928"/>
            <a:ext cx="553022"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MN</a:t>
            </a:r>
          </a:p>
        </p:txBody>
      </p:sp>
      <p:sp>
        <p:nvSpPr>
          <p:cNvPr id="3146" name="Rectangle 73"/>
          <p:cNvSpPr>
            <a:spLocks noChangeArrowheads="1"/>
          </p:cNvSpPr>
          <p:nvPr/>
        </p:nvSpPr>
        <p:spPr bwMode="auto">
          <a:xfrm>
            <a:off x="4937135" y="1622832"/>
            <a:ext cx="397532"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IA</a:t>
            </a:r>
          </a:p>
        </p:txBody>
      </p:sp>
      <p:sp>
        <p:nvSpPr>
          <p:cNvPr id="3147" name="Rectangle 74"/>
          <p:cNvSpPr>
            <a:spLocks noChangeArrowheads="1"/>
          </p:cNvSpPr>
          <p:nvPr/>
        </p:nvSpPr>
        <p:spPr bwMode="auto">
          <a:xfrm>
            <a:off x="5165736" y="2212190"/>
            <a:ext cx="556228"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MO</a:t>
            </a:r>
          </a:p>
        </p:txBody>
      </p:sp>
      <p:sp>
        <p:nvSpPr>
          <p:cNvPr id="3148" name="Rectangle 75"/>
          <p:cNvSpPr>
            <a:spLocks noChangeArrowheads="1"/>
          </p:cNvSpPr>
          <p:nvPr/>
        </p:nvSpPr>
        <p:spPr bwMode="auto">
          <a:xfrm>
            <a:off x="5470533" y="1140628"/>
            <a:ext cx="46966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WI</a:t>
            </a:r>
          </a:p>
        </p:txBody>
      </p:sp>
      <p:sp>
        <p:nvSpPr>
          <p:cNvPr id="3149" name="Rectangle 76"/>
          <p:cNvSpPr>
            <a:spLocks noChangeArrowheads="1"/>
          </p:cNvSpPr>
          <p:nvPr/>
        </p:nvSpPr>
        <p:spPr bwMode="auto">
          <a:xfrm>
            <a:off x="6232534" y="1301363"/>
            <a:ext cx="461652"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MI</a:t>
            </a:r>
          </a:p>
        </p:txBody>
      </p:sp>
      <p:sp>
        <p:nvSpPr>
          <p:cNvPr id="3150" name="Rectangle 77"/>
          <p:cNvSpPr>
            <a:spLocks noChangeArrowheads="1"/>
          </p:cNvSpPr>
          <p:nvPr/>
        </p:nvSpPr>
        <p:spPr bwMode="auto">
          <a:xfrm>
            <a:off x="5699135" y="1890721"/>
            <a:ext cx="36226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IL</a:t>
            </a:r>
          </a:p>
        </p:txBody>
      </p:sp>
      <p:sp>
        <p:nvSpPr>
          <p:cNvPr id="3151" name="Rectangle 78"/>
          <p:cNvSpPr>
            <a:spLocks noChangeArrowheads="1"/>
          </p:cNvSpPr>
          <p:nvPr/>
        </p:nvSpPr>
        <p:spPr bwMode="auto">
          <a:xfrm>
            <a:off x="6156333" y="1837144"/>
            <a:ext cx="413562"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IN</a:t>
            </a:r>
          </a:p>
        </p:txBody>
      </p:sp>
      <p:sp>
        <p:nvSpPr>
          <p:cNvPr id="3152" name="Rectangle 79"/>
          <p:cNvSpPr>
            <a:spLocks noChangeArrowheads="1"/>
          </p:cNvSpPr>
          <p:nvPr/>
        </p:nvSpPr>
        <p:spPr bwMode="auto">
          <a:xfrm>
            <a:off x="6689738" y="1783565"/>
            <a:ext cx="50333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OH</a:t>
            </a:r>
          </a:p>
        </p:txBody>
      </p:sp>
      <p:sp>
        <p:nvSpPr>
          <p:cNvPr id="3153" name="Rectangle 80"/>
          <p:cNvSpPr>
            <a:spLocks noChangeArrowheads="1"/>
          </p:cNvSpPr>
          <p:nvPr/>
        </p:nvSpPr>
        <p:spPr bwMode="auto">
          <a:xfrm>
            <a:off x="2879734" y="2907514"/>
            <a:ext cx="553022"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NM</a:t>
            </a:r>
          </a:p>
        </p:txBody>
      </p:sp>
      <p:sp>
        <p:nvSpPr>
          <p:cNvPr id="3154" name="Rectangle 81"/>
          <p:cNvSpPr>
            <a:spLocks noChangeArrowheads="1"/>
          </p:cNvSpPr>
          <p:nvPr/>
        </p:nvSpPr>
        <p:spPr bwMode="auto">
          <a:xfrm>
            <a:off x="4098936" y="3389718"/>
            <a:ext cx="43921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TX</a:t>
            </a:r>
          </a:p>
        </p:txBody>
      </p:sp>
      <p:sp>
        <p:nvSpPr>
          <p:cNvPr id="3155" name="Rectangle 82"/>
          <p:cNvSpPr>
            <a:spLocks noChangeArrowheads="1"/>
          </p:cNvSpPr>
          <p:nvPr/>
        </p:nvSpPr>
        <p:spPr bwMode="auto">
          <a:xfrm>
            <a:off x="4479932" y="2746780"/>
            <a:ext cx="47928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OK</a:t>
            </a:r>
          </a:p>
        </p:txBody>
      </p:sp>
      <p:sp>
        <p:nvSpPr>
          <p:cNvPr id="3156" name="Rectangle 83"/>
          <p:cNvSpPr>
            <a:spLocks noChangeArrowheads="1"/>
          </p:cNvSpPr>
          <p:nvPr/>
        </p:nvSpPr>
        <p:spPr bwMode="auto">
          <a:xfrm>
            <a:off x="5318134" y="2800358"/>
            <a:ext cx="464858"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AR</a:t>
            </a:r>
          </a:p>
        </p:txBody>
      </p:sp>
      <p:sp>
        <p:nvSpPr>
          <p:cNvPr id="3157" name="Rectangle 84"/>
          <p:cNvSpPr>
            <a:spLocks noChangeArrowheads="1"/>
          </p:cNvSpPr>
          <p:nvPr/>
        </p:nvSpPr>
        <p:spPr bwMode="auto">
          <a:xfrm>
            <a:off x="5318130" y="3389718"/>
            <a:ext cx="43760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LA</a:t>
            </a:r>
          </a:p>
        </p:txBody>
      </p:sp>
      <p:sp>
        <p:nvSpPr>
          <p:cNvPr id="3158" name="Rectangle 85"/>
          <p:cNvSpPr>
            <a:spLocks noChangeArrowheads="1"/>
          </p:cNvSpPr>
          <p:nvPr/>
        </p:nvSpPr>
        <p:spPr bwMode="auto">
          <a:xfrm>
            <a:off x="6537335" y="2265769"/>
            <a:ext cx="439210"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KY</a:t>
            </a:r>
          </a:p>
        </p:txBody>
      </p:sp>
      <p:sp>
        <p:nvSpPr>
          <p:cNvPr id="3159" name="Rectangle 86"/>
          <p:cNvSpPr>
            <a:spLocks noChangeArrowheads="1"/>
          </p:cNvSpPr>
          <p:nvPr/>
        </p:nvSpPr>
        <p:spPr bwMode="auto">
          <a:xfrm>
            <a:off x="6308740" y="2586046"/>
            <a:ext cx="46806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TN</a:t>
            </a:r>
          </a:p>
        </p:txBody>
      </p:sp>
      <p:sp>
        <p:nvSpPr>
          <p:cNvPr id="3160" name="Rectangle 87"/>
          <p:cNvSpPr>
            <a:spLocks noChangeArrowheads="1"/>
          </p:cNvSpPr>
          <p:nvPr/>
        </p:nvSpPr>
        <p:spPr bwMode="auto">
          <a:xfrm>
            <a:off x="5775339" y="3121827"/>
            <a:ext cx="509742"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MS</a:t>
            </a:r>
          </a:p>
        </p:txBody>
      </p:sp>
      <p:sp>
        <p:nvSpPr>
          <p:cNvPr id="3161" name="Rectangle 88"/>
          <p:cNvSpPr>
            <a:spLocks noChangeArrowheads="1"/>
          </p:cNvSpPr>
          <p:nvPr/>
        </p:nvSpPr>
        <p:spPr bwMode="auto">
          <a:xfrm>
            <a:off x="6308730" y="3068249"/>
            <a:ext cx="43760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AL</a:t>
            </a:r>
          </a:p>
        </p:txBody>
      </p:sp>
      <p:sp>
        <p:nvSpPr>
          <p:cNvPr id="3162" name="Rectangle 89"/>
          <p:cNvSpPr>
            <a:spLocks noChangeArrowheads="1"/>
          </p:cNvSpPr>
          <p:nvPr/>
        </p:nvSpPr>
        <p:spPr bwMode="auto">
          <a:xfrm>
            <a:off x="7604135" y="2158613"/>
            <a:ext cx="460433"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VA</a:t>
            </a:r>
          </a:p>
        </p:txBody>
      </p:sp>
      <p:sp>
        <p:nvSpPr>
          <p:cNvPr id="3163" name="Rectangle 90"/>
          <p:cNvSpPr>
            <a:spLocks noChangeArrowheads="1"/>
          </p:cNvSpPr>
          <p:nvPr/>
        </p:nvSpPr>
        <p:spPr bwMode="auto">
          <a:xfrm>
            <a:off x="6918334" y="3014671"/>
            <a:ext cx="48569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GA</a:t>
            </a:r>
          </a:p>
        </p:txBody>
      </p:sp>
      <p:sp>
        <p:nvSpPr>
          <p:cNvPr id="3164" name="Rectangle 91"/>
          <p:cNvSpPr>
            <a:spLocks noChangeArrowheads="1"/>
          </p:cNvSpPr>
          <p:nvPr/>
        </p:nvSpPr>
        <p:spPr bwMode="auto">
          <a:xfrm>
            <a:off x="7527936" y="3711187"/>
            <a:ext cx="410356"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FL</a:t>
            </a:r>
          </a:p>
        </p:txBody>
      </p:sp>
      <p:sp>
        <p:nvSpPr>
          <p:cNvPr id="3165" name="Rectangle 92"/>
          <p:cNvSpPr>
            <a:spLocks noChangeArrowheads="1"/>
          </p:cNvSpPr>
          <p:nvPr/>
        </p:nvSpPr>
        <p:spPr bwMode="auto">
          <a:xfrm>
            <a:off x="7273933" y="2714633"/>
            <a:ext cx="43600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SC</a:t>
            </a:r>
          </a:p>
        </p:txBody>
      </p:sp>
      <p:sp>
        <p:nvSpPr>
          <p:cNvPr id="3166" name="Rectangle 93"/>
          <p:cNvSpPr>
            <a:spLocks noChangeArrowheads="1"/>
          </p:cNvSpPr>
          <p:nvPr/>
        </p:nvSpPr>
        <p:spPr bwMode="auto">
          <a:xfrm>
            <a:off x="7604129" y="2426503"/>
            <a:ext cx="47928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NC</a:t>
            </a:r>
          </a:p>
        </p:txBody>
      </p:sp>
      <p:sp>
        <p:nvSpPr>
          <p:cNvPr id="3167" name="Rectangle 94"/>
          <p:cNvSpPr>
            <a:spLocks noChangeArrowheads="1"/>
          </p:cNvSpPr>
          <p:nvPr/>
        </p:nvSpPr>
        <p:spPr bwMode="auto">
          <a:xfrm>
            <a:off x="7146926" y="2014539"/>
            <a:ext cx="506536" cy="349609"/>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600" dirty="0" smtClean="0">
                <a:solidFill>
                  <a:srgbClr val="000000"/>
                </a:solidFill>
                <a:latin typeface="Calibri" panose="020F0502020204030204" pitchFamily="34" charset="0"/>
                <a:ea typeface="+mn-ea"/>
                <a:cs typeface="Times New Roman" charset="0"/>
              </a:rPr>
              <a:t>WV</a:t>
            </a:r>
          </a:p>
        </p:txBody>
      </p:sp>
      <p:sp>
        <p:nvSpPr>
          <p:cNvPr id="3168" name="Rectangle 95"/>
          <p:cNvSpPr>
            <a:spLocks noChangeArrowheads="1"/>
          </p:cNvSpPr>
          <p:nvPr/>
        </p:nvSpPr>
        <p:spPr bwMode="auto">
          <a:xfrm>
            <a:off x="7451736" y="1515676"/>
            <a:ext cx="441453"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PA</a:t>
            </a:r>
          </a:p>
        </p:txBody>
      </p:sp>
      <p:sp>
        <p:nvSpPr>
          <p:cNvPr id="3169" name="Rectangle 96"/>
          <p:cNvSpPr>
            <a:spLocks noChangeArrowheads="1"/>
          </p:cNvSpPr>
          <p:nvPr/>
        </p:nvSpPr>
        <p:spPr bwMode="auto">
          <a:xfrm>
            <a:off x="7756539" y="1087051"/>
            <a:ext cx="46806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NY</a:t>
            </a:r>
          </a:p>
        </p:txBody>
      </p:sp>
      <p:sp>
        <p:nvSpPr>
          <p:cNvPr id="3170" name="Rectangle 97"/>
          <p:cNvSpPr>
            <a:spLocks noChangeArrowheads="1"/>
          </p:cNvSpPr>
          <p:nvPr/>
        </p:nvSpPr>
        <p:spPr bwMode="auto">
          <a:xfrm>
            <a:off x="8518540" y="498880"/>
            <a:ext cx="516154" cy="380387"/>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800" dirty="0" smtClean="0">
                <a:solidFill>
                  <a:srgbClr val="000000"/>
                </a:solidFill>
                <a:latin typeface="Calibri" panose="020F0502020204030204" pitchFamily="34" charset="0"/>
                <a:ea typeface="+mn-ea"/>
                <a:cs typeface="Times New Roman" charset="0"/>
              </a:rPr>
              <a:t>ME</a:t>
            </a:r>
          </a:p>
        </p:txBody>
      </p:sp>
      <p:sp>
        <p:nvSpPr>
          <p:cNvPr id="3171" name="Rectangle 98"/>
          <p:cNvSpPr>
            <a:spLocks noChangeArrowheads="1"/>
          </p:cNvSpPr>
          <p:nvPr/>
        </p:nvSpPr>
        <p:spPr bwMode="auto">
          <a:xfrm>
            <a:off x="8153406" y="853688"/>
            <a:ext cx="277813" cy="503497"/>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300" dirty="0" smtClean="0">
                <a:solidFill>
                  <a:srgbClr val="000000"/>
                </a:solidFill>
                <a:latin typeface="Calibri" panose="020F0502020204030204" pitchFamily="34" charset="0"/>
                <a:ea typeface="+mn-ea"/>
                <a:cs typeface="Times New Roman" charset="0"/>
              </a:rPr>
              <a:t>VT</a:t>
            </a:r>
          </a:p>
        </p:txBody>
      </p:sp>
      <p:sp>
        <p:nvSpPr>
          <p:cNvPr id="3172" name="Rectangle 99"/>
          <p:cNvSpPr>
            <a:spLocks noChangeArrowheads="1"/>
          </p:cNvSpPr>
          <p:nvPr/>
        </p:nvSpPr>
        <p:spPr bwMode="auto">
          <a:xfrm>
            <a:off x="8366131" y="853684"/>
            <a:ext cx="184150" cy="503497"/>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300" dirty="0" smtClean="0">
                <a:solidFill>
                  <a:srgbClr val="000000"/>
                </a:solidFill>
                <a:latin typeface="Calibri" panose="020F0502020204030204" pitchFamily="34" charset="0"/>
                <a:ea typeface="+mn-ea"/>
                <a:cs typeface="Times New Roman" charset="0"/>
              </a:rPr>
              <a:t>N</a:t>
            </a:r>
          </a:p>
          <a:p>
            <a:pPr algn="l" eaLnBrk="0" hangingPunct="0">
              <a:lnSpc>
                <a:spcPct val="100000"/>
              </a:lnSpc>
              <a:spcBef>
                <a:spcPct val="0"/>
              </a:spcBef>
              <a:buClrTx/>
            </a:pPr>
            <a:r>
              <a:rPr lang="en-US" sz="1300" dirty="0" smtClean="0">
                <a:solidFill>
                  <a:srgbClr val="000000"/>
                </a:solidFill>
                <a:latin typeface="Calibri" panose="020F0502020204030204" pitchFamily="34" charset="0"/>
                <a:ea typeface="+mn-ea"/>
                <a:cs typeface="Times New Roman" charset="0"/>
              </a:rPr>
              <a:t>H</a:t>
            </a:r>
          </a:p>
        </p:txBody>
      </p:sp>
      <p:sp>
        <p:nvSpPr>
          <p:cNvPr id="3173" name="Rectangle 100"/>
          <p:cNvSpPr>
            <a:spLocks noChangeArrowheads="1"/>
          </p:cNvSpPr>
          <p:nvPr/>
        </p:nvSpPr>
        <p:spPr bwMode="auto">
          <a:xfrm>
            <a:off x="8366131" y="1141812"/>
            <a:ext cx="438150" cy="288054"/>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MA</a:t>
            </a:r>
          </a:p>
        </p:txBody>
      </p:sp>
      <p:sp>
        <p:nvSpPr>
          <p:cNvPr id="3174" name="Rectangle 101"/>
          <p:cNvSpPr>
            <a:spLocks noChangeArrowheads="1"/>
          </p:cNvSpPr>
          <p:nvPr/>
        </p:nvSpPr>
        <p:spPr bwMode="auto">
          <a:xfrm>
            <a:off x="8289930" y="1302547"/>
            <a:ext cx="438150" cy="288054"/>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CT</a:t>
            </a:r>
          </a:p>
        </p:txBody>
      </p:sp>
      <p:sp>
        <p:nvSpPr>
          <p:cNvPr id="3175" name="Rectangle 102"/>
          <p:cNvSpPr>
            <a:spLocks noChangeArrowheads="1"/>
          </p:cNvSpPr>
          <p:nvPr/>
        </p:nvSpPr>
        <p:spPr bwMode="auto">
          <a:xfrm>
            <a:off x="8594730" y="1302547"/>
            <a:ext cx="438150" cy="288054"/>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RI</a:t>
            </a:r>
          </a:p>
        </p:txBody>
      </p:sp>
      <p:sp>
        <p:nvSpPr>
          <p:cNvPr id="3176" name="Rectangle 103"/>
          <p:cNvSpPr>
            <a:spLocks noChangeArrowheads="1"/>
          </p:cNvSpPr>
          <p:nvPr/>
        </p:nvSpPr>
        <p:spPr bwMode="auto">
          <a:xfrm>
            <a:off x="8229601" y="1570442"/>
            <a:ext cx="457200" cy="472720"/>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NJ</a:t>
            </a:r>
          </a:p>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DE</a:t>
            </a:r>
          </a:p>
        </p:txBody>
      </p:sp>
      <p:sp>
        <p:nvSpPr>
          <p:cNvPr id="3177" name="Rectangle 104"/>
          <p:cNvSpPr>
            <a:spLocks noChangeArrowheads="1"/>
          </p:cNvSpPr>
          <p:nvPr/>
        </p:nvSpPr>
        <p:spPr bwMode="auto">
          <a:xfrm>
            <a:off x="8229601" y="1838328"/>
            <a:ext cx="457200" cy="288054"/>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MD</a:t>
            </a:r>
          </a:p>
        </p:txBody>
      </p:sp>
      <p:sp>
        <p:nvSpPr>
          <p:cNvPr id="3178" name="Rectangle 105"/>
          <p:cNvSpPr>
            <a:spLocks noChangeArrowheads="1"/>
          </p:cNvSpPr>
          <p:nvPr/>
        </p:nvSpPr>
        <p:spPr bwMode="auto">
          <a:xfrm>
            <a:off x="8153400" y="1945484"/>
            <a:ext cx="457200" cy="288054"/>
          </a:xfrm>
          <a:prstGeom prst="rect">
            <a:avLst/>
          </a:prstGeom>
          <a:noFill/>
          <a:ln w="9525">
            <a:noFill/>
            <a:miter lim="800000"/>
            <a:headEnd/>
            <a:tailEnd/>
          </a:ln>
        </p:spPr>
        <p:txBody>
          <a:bodyPr lIns="102387" tIns="51194" rIns="102387" bIns="51194">
            <a:spAutoFit/>
          </a:bodyPr>
          <a:lstStyle/>
          <a:p>
            <a:pPr algn="l" eaLnBrk="0" hangingPunct="0">
              <a:lnSpc>
                <a:spcPct val="100000"/>
              </a:lnSpc>
              <a:spcBef>
                <a:spcPct val="0"/>
              </a:spcBef>
              <a:buClrTx/>
            </a:pPr>
            <a:r>
              <a:rPr lang="en-US" sz="1200" dirty="0" smtClean="0">
                <a:solidFill>
                  <a:srgbClr val="000000"/>
                </a:solidFill>
                <a:latin typeface="Calibri" panose="020F0502020204030204" pitchFamily="34" charset="0"/>
                <a:ea typeface="+mn-ea"/>
                <a:cs typeface="Times New Roman" charset="0"/>
              </a:rPr>
              <a:t>DC</a:t>
            </a:r>
          </a:p>
        </p:txBody>
      </p:sp>
      <p:grpSp>
        <p:nvGrpSpPr>
          <p:cNvPr id="2" name="Group 106"/>
          <p:cNvGrpSpPr>
            <a:grpSpLocks/>
          </p:cNvGrpSpPr>
          <p:nvPr/>
        </p:nvGrpSpPr>
        <p:grpSpPr bwMode="auto">
          <a:xfrm>
            <a:off x="1" y="3774875"/>
            <a:ext cx="1501776" cy="907256"/>
            <a:chOff x="0" y="3408"/>
            <a:chExt cx="946" cy="762"/>
          </a:xfrm>
        </p:grpSpPr>
        <p:sp>
          <p:nvSpPr>
            <p:cNvPr id="3199" name="Freeform 107"/>
            <p:cNvSpPr>
              <a:spLocks/>
            </p:cNvSpPr>
            <p:nvPr/>
          </p:nvSpPr>
          <p:spPr bwMode="auto">
            <a:xfrm>
              <a:off x="127" y="3665"/>
              <a:ext cx="44" cy="46"/>
            </a:xfrm>
            <a:custGeom>
              <a:avLst/>
              <a:gdLst>
                <a:gd name="T0" fmla="*/ 8 w 44"/>
                <a:gd name="T1" fmla="*/ 0 h 46"/>
                <a:gd name="T2" fmla="*/ 43 w 44"/>
                <a:gd name="T3" fmla="*/ 17 h 46"/>
                <a:gd name="T4" fmla="*/ 43 w 44"/>
                <a:gd name="T5" fmla="*/ 45 h 46"/>
                <a:gd name="T6" fmla="*/ 0 w 44"/>
                <a:gd name="T7" fmla="*/ 8 h 46"/>
                <a:gd name="T8" fmla="*/ 8 w 44"/>
                <a:gd name="T9" fmla="*/ 0 h 46"/>
                <a:gd name="T10" fmla="*/ 0 60000 65536"/>
                <a:gd name="T11" fmla="*/ 0 60000 65536"/>
                <a:gd name="T12" fmla="*/ 0 60000 65536"/>
                <a:gd name="T13" fmla="*/ 0 60000 65536"/>
                <a:gd name="T14" fmla="*/ 0 60000 65536"/>
                <a:gd name="T15" fmla="*/ 0 w 44"/>
                <a:gd name="T16" fmla="*/ 0 h 46"/>
                <a:gd name="T17" fmla="*/ 44 w 44"/>
                <a:gd name="T18" fmla="*/ 46 h 46"/>
              </a:gdLst>
              <a:ahLst/>
              <a:cxnLst>
                <a:cxn ang="T10">
                  <a:pos x="T0" y="T1"/>
                </a:cxn>
                <a:cxn ang="T11">
                  <a:pos x="T2" y="T3"/>
                </a:cxn>
                <a:cxn ang="T12">
                  <a:pos x="T4" y="T5"/>
                </a:cxn>
                <a:cxn ang="T13">
                  <a:pos x="T6" y="T7"/>
                </a:cxn>
                <a:cxn ang="T14">
                  <a:pos x="T8" y="T9"/>
                </a:cxn>
              </a:cxnLst>
              <a:rect l="T15" t="T16" r="T17" b="T18"/>
              <a:pathLst>
                <a:path w="44" h="46">
                  <a:moveTo>
                    <a:pt x="8" y="0"/>
                  </a:moveTo>
                  <a:lnTo>
                    <a:pt x="43" y="17"/>
                  </a:lnTo>
                  <a:lnTo>
                    <a:pt x="43" y="45"/>
                  </a:lnTo>
                  <a:lnTo>
                    <a:pt x="0" y="8"/>
                  </a:lnTo>
                  <a:lnTo>
                    <a:pt x="8"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200" name="Freeform 108"/>
            <p:cNvSpPr>
              <a:spLocks/>
            </p:cNvSpPr>
            <p:nvPr/>
          </p:nvSpPr>
          <p:spPr bwMode="auto">
            <a:xfrm>
              <a:off x="187" y="3408"/>
              <a:ext cx="759" cy="670"/>
            </a:xfrm>
            <a:custGeom>
              <a:avLst/>
              <a:gdLst>
                <a:gd name="T0" fmla="*/ 289 w 759"/>
                <a:gd name="T1" fmla="*/ 494 h 670"/>
                <a:gd name="T2" fmla="*/ 340 w 759"/>
                <a:gd name="T3" fmla="*/ 467 h 670"/>
                <a:gd name="T4" fmla="*/ 357 w 759"/>
                <a:gd name="T5" fmla="*/ 421 h 670"/>
                <a:gd name="T6" fmla="*/ 400 w 759"/>
                <a:gd name="T7" fmla="*/ 440 h 670"/>
                <a:gd name="T8" fmla="*/ 442 w 759"/>
                <a:gd name="T9" fmla="*/ 448 h 670"/>
                <a:gd name="T10" fmla="*/ 528 w 759"/>
                <a:gd name="T11" fmla="*/ 467 h 670"/>
                <a:gd name="T12" fmla="*/ 621 w 759"/>
                <a:gd name="T13" fmla="*/ 485 h 670"/>
                <a:gd name="T14" fmla="*/ 630 w 759"/>
                <a:gd name="T15" fmla="*/ 476 h 670"/>
                <a:gd name="T16" fmla="*/ 732 w 759"/>
                <a:gd name="T17" fmla="*/ 558 h 670"/>
                <a:gd name="T18" fmla="*/ 758 w 759"/>
                <a:gd name="T19" fmla="*/ 558 h 670"/>
                <a:gd name="T20" fmla="*/ 672 w 759"/>
                <a:gd name="T21" fmla="*/ 485 h 670"/>
                <a:gd name="T22" fmla="*/ 578 w 759"/>
                <a:gd name="T23" fmla="*/ 467 h 670"/>
                <a:gd name="T24" fmla="*/ 544 w 759"/>
                <a:gd name="T25" fmla="*/ 440 h 670"/>
                <a:gd name="T26" fmla="*/ 511 w 759"/>
                <a:gd name="T27" fmla="*/ 421 h 670"/>
                <a:gd name="T28" fmla="*/ 425 w 759"/>
                <a:gd name="T29" fmla="*/ 45 h 670"/>
                <a:gd name="T30" fmla="*/ 340 w 759"/>
                <a:gd name="T31" fmla="*/ 45 h 670"/>
                <a:gd name="T32" fmla="*/ 255 w 759"/>
                <a:gd name="T33" fmla="*/ 18 h 670"/>
                <a:gd name="T34" fmla="*/ 246 w 759"/>
                <a:gd name="T35" fmla="*/ 0 h 670"/>
                <a:gd name="T36" fmla="*/ 179 w 759"/>
                <a:gd name="T37" fmla="*/ 18 h 670"/>
                <a:gd name="T38" fmla="*/ 119 w 759"/>
                <a:gd name="T39" fmla="*/ 82 h 670"/>
                <a:gd name="T40" fmla="*/ 85 w 759"/>
                <a:gd name="T41" fmla="*/ 110 h 670"/>
                <a:gd name="T42" fmla="*/ 127 w 759"/>
                <a:gd name="T43" fmla="*/ 164 h 670"/>
                <a:gd name="T44" fmla="*/ 136 w 759"/>
                <a:gd name="T45" fmla="*/ 192 h 670"/>
                <a:gd name="T46" fmla="*/ 93 w 759"/>
                <a:gd name="T47" fmla="*/ 183 h 670"/>
                <a:gd name="T48" fmla="*/ 42 w 759"/>
                <a:gd name="T49" fmla="*/ 220 h 670"/>
                <a:gd name="T50" fmla="*/ 68 w 759"/>
                <a:gd name="T51" fmla="*/ 256 h 670"/>
                <a:gd name="T52" fmla="*/ 110 w 759"/>
                <a:gd name="T53" fmla="*/ 265 h 670"/>
                <a:gd name="T54" fmla="*/ 127 w 759"/>
                <a:gd name="T55" fmla="*/ 274 h 670"/>
                <a:gd name="T56" fmla="*/ 110 w 759"/>
                <a:gd name="T57" fmla="*/ 311 h 670"/>
                <a:gd name="T58" fmla="*/ 25 w 759"/>
                <a:gd name="T59" fmla="*/ 375 h 670"/>
                <a:gd name="T60" fmla="*/ 59 w 759"/>
                <a:gd name="T61" fmla="*/ 467 h 670"/>
                <a:gd name="T62" fmla="*/ 93 w 759"/>
                <a:gd name="T63" fmla="*/ 440 h 670"/>
                <a:gd name="T64" fmla="*/ 102 w 759"/>
                <a:gd name="T65" fmla="*/ 504 h 670"/>
                <a:gd name="T66" fmla="*/ 136 w 759"/>
                <a:gd name="T67" fmla="*/ 513 h 670"/>
                <a:gd name="T68" fmla="*/ 162 w 759"/>
                <a:gd name="T69" fmla="*/ 513 h 670"/>
                <a:gd name="T70" fmla="*/ 136 w 759"/>
                <a:gd name="T71" fmla="*/ 595 h 670"/>
                <a:gd name="T72" fmla="*/ 59 w 759"/>
                <a:gd name="T73" fmla="*/ 641 h 670"/>
                <a:gd name="T74" fmla="*/ 0 w 759"/>
                <a:gd name="T75" fmla="*/ 669 h 670"/>
                <a:gd name="T76" fmla="*/ 153 w 759"/>
                <a:gd name="T77" fmla="*/ 604 h 670"/>
                <a:gd name="T78" fmla="*/ 238 w 759"/>
                <a:gd name="T79" fmla="*/ 531 h 670"/>
                <a:gd name="T80" fmla="*/ 255 w 759"/>
                <a:gd name="T81" fmla="*/ 504 h 670"/>
                <a:gd name="T82" fmla="*/ 272 w 759"/>
                <a:gd name="T83" fmla="*/ 467 h 670"/>
                <a:gd name="T84" fmla="*/ 315 w 759"/>
                <a:gd name="T85" fmla="*/ 394 h 6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59"/>
                <a:gd name="T130" fmla="*/ 0 h 670"/>
                <a:gd name="T131" fmla="*/ 759 w 759"/>
                <a:gd name="T132" fmla="*/ 670 h 6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59" h="670">
                  <a:moveTo>
                    <a:pt x="315" y="394"/>
                  </a:moveTo>
                  <a:lnTo>
                    <a:pt x="289" y="476"/>
                  </a:lnTo>
                  <a:lnTo>
                    <a:pt x="289" y="494"/>
                  </a:lnTo>
                  <a:lnTo>
                    <a:pt x="323" y="485"/>
                  </a:lnTo>
                  <a:lnTo>
                    <a:pt x="332" y="476"/>
                  </a:lnTo>
                  <a:lnTo>
                    <a:pt x="340" y="467"/>
                  </a:lnTo>
                  <a:lnTo>
                    <a:pt x="357" y="476"/>
                  </a:lnTo>
                  <a:lnTo>
                    <a:pt x="357" y="457"/>
                  </a:lnTo>
                  <a:lnTo>
                    <a:pt x="357" y="421"/>
                  </a:lnTo>
                  <a:lnTo>
                    <a:pt x="383" y="421"/>
                  </a:lnTo>
                  <a:lnTo>
                    <a:pt x="391" y="440"/>
                  </a:lnTo>
                  <a:lnTo>
                    <a:pt x="400" y="440"/>
                  </a:lnTo>
                  <a:lnTo>
                    <a:pt x="417" y="440"/>
                  </a:lnTo>
                  <a:lnTo>
                    <a:pt x="425" y="448"/>
                  </a:lnTo>
                  <a:lnTo>
                    <a:pt x="442" y="448"/>
                  </a:lnTo>
                  <a:lnTo>
                    <a:pt x="460" y="457"/>
                  </a:lnTo>
                  <a:lnTo>
                    <a:pt x="528" y="457"/>
                  </a:lnTo>
                  <a:lnTo>
                    <a:pt x="528" y="467"/>
                  </a:lnTo>
                  <a:lnTo>
                    <a:pt x="604" y="504"/>
                  </a:lnTo>
                  <a:lnTo>
                    <a:pt x="604" y="485"/>
                  </a:lnTo>
                  <a:lnTo>
                    <a:pt x="621" y="485"/>
                  </a:lnTo>
                  <a:lnTo>
                    <a:pt x="621" y="467"/>
                  </a:lnTo>
                  <a:lnTo>
                    <a:pt x="612" y="457"/>
                  </a:lnTo>
                  <a:lnTo>
                    <a:pt x="630" y="476"/>
                  </a:lnTo>
                  <a:lnTo>
                    <a:pt x="715" y="558"/>
                  </a:lnTo>
                  <a:lnTo>
                    <a:pt x="715" y="577"/>
                  </a:lnTo>
                  <a:lnTo>
                    <a:pt x="732" y="558"/>
                  </a:lnTo>
                  <a:lnTo>
                    <a:pt x="749" y="577"/>
                  </a:lnTo>
                  <a:lnTo>
                    <a:pt x="758" y="604"/>
                  </a:lnTo>
                  <a:lnTo>
                    <a:pt x="758" y="558"/>
                  </a:lnTo>
                  <a:lnTo>
                    <a:pt x="740" y="550"/>
                  </a:lnTo>
                  <a:lnTo>
                    <a:pt x="698" y="531"/>
                  </a:lnTo>
                  <a:lnTo>
                    <a:pt x="672" y="485"/>
                  </a:lnTo>
                  <a:lnTo>
                    <a:pt x="612" y="431"/>
                  </a:lnTo>
                  <a:lnTo>
                    <a:pt x="604" y="440"/>
                  </a:lnTo>
                  <a:lnTo>
                    <a:pt x="578" y="467"/>
                  </a:lnTo>
                  <a:lnTo>
                    <a:pt x="570" y="467"/>
                  </a:lnTo>
                  <a:lnTo>
                    <a:pt x="561" y="448"/>
                  </a:lnTo>
                  <a:lnTo>
                    <a:pt x="544" y="440"/>
                  </a:lnTo>
                  <a:lnTo>
                    <a:pt x="536" y="421"/>
                  </a:lnTo>
                  <a:lnTo>
                    <a:pt x="528" y="421"/>
                  </a:lnTo>
                  <a:lnTo>
                    <a:pt x="511" y="421"/>
                  </a:lnTo>
                  <a:lnTo>
                    <a:pt x="502" y="431"/>
                  </a:lnTo>
                  <a:lnTo>
                    <a:pt x="485" y="403"/>
                  </a:lnTo>
                  <a:lnTo>
                    <a:pt x="425" y="45"/>
                  </a:lnTo>
                  <a:lnTo>
                    <a:pt x="391" y="45"/>
                  </a:lnTo>
                  <a:lnTo>
                    <a:pt x="383" y="54"/>
                  </a:lnTo>
                  <a:lnTo>
                    <a:pt x="340" y="45"/>
                  </a:lnTo>
                  <a:lnTo>
                    <a:pt x="289" y="36"/>
                  </a:lnTo>
                  <a:lnTo>
                    <a:pt x="272" y="18"/>
                  </a:lnTo>
                  <a:lnTo>
                    <a:pt x="255" y="18"/>
                  </a:lnTo>
                  <a:lnTo>
                    <a:pt x="255" y="8"/>
                  </a:lnTo>
                  <a:lnTo>
                    <a:pt x="238" y="27"/>
                  </a:lnTo>
                  <a:lnTo>
                    <a:pt x="246" y="0"/>
                  </a:lnTo>
                  <a:lnTo>
                    <a:pt x="230" y="0"/>
                  </a:lnTo>
                  <a:lnTo>
                    <a:pt x="204" y="18"/>
                  </a:lnTo>
                  <a:lnTo>
                    <a:pt x="179" y="18"/>
                  </a:lnTo>
                  <a:lnTo>
                    <a:pt x="170" y="36"/>
                  </a:lnTo>
                  <a:lnTo>
                    <a:pt x="153" y="45"/>
                  </a:lnTo>
                  <a:lnTo>
                    <a:pt x="119" y="82"/>
                  </a:lnTo>
                  <a:lnTo>
                    <a:pt x="85" y="91"/>
                  </a:lnTo>
                  <a:lnTo>
                    <a:pt x="76" y="101"/>
                  </a:lnTo>
                  <a:lnTo>
                    <a:pt x="85" y="110"/>
                  </a:lnTo>
                  <a:lnTo>
                    <a:pt x="102" y="118"/>
                  </a:lnTo>
                  <a:lnTo>
                    <a:pt x="102" y="137"/>
                  </a:lnTo>
                  <a:lnTo>
                    <a:pt x="127" y="164"/>
                  </a:lnTo>
                  <a:lnTo>
                    <a:pt x="153" y="183"/>
                  </a:lnTo>
                  <a:lnTo>
                    <a:pt x="127" y="183"/>
                  </a:lnTo>
                  <a:lnTo>
                    <a:pt x="136" y="192"/>
                  </a:lnTo>
                  <a:lnTo>
                    <a:pt x="145" y="201"/>
                  </a:lnTo>
                  <a:lnTo>
                    <a:pt x="93" y="201"/>
                  </a:lnTo>
                  <a:lnTo>
                    <a:pt x="93" y="183"/>
                  </a:lnTo>
                  <a:lnTo>
                    <a:pt x="59" y="183"/>
                  </a:lnTo>
                  <a:lnTo>
                    <a:pt x="25" y="201"/>
                  </a:lnTo>
                  <a:lnTo>
                    <a:pt x="42" y="220"/>
                  </a:lnTo>
                  <a:lnTo>
                    <a:pt x="42" y="237"/>
                  </a:lnTo>
                  <a:lnTo>
                    <a:pt x="51" y="256"/>
                  </a:lnTo>
                  <a:lnTo>
                    <a:pt x="68" y="256"/>
                  </a:lnTo>
                  <a:lnTo>
                    <a:pt x="93" y="265"/>
                  </a:lnTo>
                  <a:lnTo>
                    <a:pt x="102" y="265"/>
                  </a:lnTo>
                  <a:lnTo>
                    <a:pt x="110" y="265"/>
                  </a:lnTo>
                  <a:lnTo>
                    <a:pt x="136" y="256"/>
                  </a:lnTo>
                  <a:lnTo>
                    <a:pt x="136" y="265"/>
                  </a:lnTo>
                  <a:lnTo>
                    <a:pt x="127" y="274"/>
                  </a:lnTo>
                  <a:lnTo>
                    <a:pt x="145" y="293"/>
                  </a:lnTo>
                  <a:lnTo>
                    <a:pt x="136" y="311"/>
                  </a:lnTo>
                  <a:lnTo>
                    <a:pt x="110" y="311"/>
                  </a:lnTo>
                  <a:lnTo>
                    <a:pt x="93" y="330"/>
                  </a:lnTo>
                  <a:lnTo>
                    <a:pt x="68" y="321"/>
                  </a:lnTo>
                  <a:lnTo>
                    <a:pt x="25" y="375"/>
                  </a:lnTo>
                  <a:lnTo>
                    <a:pt x="42" y="431"/>
                  </a:lnTo>
                  <a:lnTo>
                    <a:pt x="42" y="448"/>
                  </a:lnTo>
                  <a:lnTo>
                    <a:pt x="59" y="467"/>
                  </a:lnTo>
                  <a:lnTo>
                    <a:pt x="85" y="440"/>
                  </a:lnTo>
                  <a:lnTo>
                    <a:pt x="85" y="431"/>
                  </a:lnTo>
                  <a:lnTo>
                    <a:pt x="93" y="440"/>
                  </a:lnTo>
                  <a:lnTo>
                    <a:pt x="93" y="485"/>
                  </a:lnTo>
                  <a:lnTo>
                    <a:pt x="93" y="513"/>
                  </a:lnTo>
                  <a:lnTo>
                    <a:pt x="102" y="504"/>
                  </a:lnTo>
                  <a:lnTo>
                    <a:pt x="110" y="504"/>
                  </a:lnTo>
                  <a:lnTo>
                    <a:pt x="127" y="504"/>
                  </a:lnTo>
                  <a:lnTo>
                    <a:pt x="136" y="513"/>
                  </a:lnTo>
                  <a:lnTo>
                    <a:pt x="145" y="513"/>
                  </a:lnTo>
                  <a:lnTo>
                    <a:pt x="153" y="531"/>
                  </a:lnTo>
                  <a:lnTo>
                    <a:pt x="162" y="513"/>
                  </a:lnTo>
                  <a:lnTo>
                    <a:pt x="179" y="513"/>
                  </a:lnTo>
                  <a:lnTo>
                    <a:pt x="196" y="504"/>
                  </a:lnTo>
                  <a:lnTo>
                    <a:pt x="136" y="595"/>
                  </a:lnTo>
                  <a:lnTo>
                    <a:pt x="85" y="623"/>
                  </a:lnTo>
                  <a:lnTo>
                    <a:pt x="68" y="623"/>
                  </a:lnTo>
                  <a:lnTo>
                    <a:pt x="59" y="641"/>
                  </a:lnTo>
                  <a:lnTo>
                    <a:pt x="25" y="660"/>
                  </a:lnTo>
                  <a:lnTo>
                    <a:pt x="17" y="651"/>
                  </a:lnTo>
                  <a:lnTo>
                    <a:pt x="0" y="669"/>
                  </a:lnTo>
                  <a:lnTo>
                    <a:pt x="76" y="651"/>
                  </a:lnTo>
                  <a:lnTo>
                    <a:pt x="145" y="623"/>
                  </a:lnTo>
                  <a:lnTo>
                    <a:pt x="153" y="604"/>
                  </a:lnTo>
                  <a:lnTo>
                    <a:pt x="187" y="595"/>
                  </a:lnTo>
                  <a:lnTo>
                    <a:pt x="196" y="567"/>
                  </a:lnTo>
                  <a:lnTo>
                    <a:pt x="238" y="531"/>
                  </a:lnTo>
                  <a:lnTo>
                    <a:pt x="246" y="522"/>
                  </a:lnTo>
                  <a:lnTo>
                    <a:pt x="263" y="513"/>
                  </a:lnTo>
                  <a:lnTo>
                    <a:pt x="255" y="504"/>
                  </a:lnTo>
                  <a:lnTo>
                    <a:pt x="238" y="494"/>
                  </a:lnTo>
                  <a:lnTo>
                    <a:pt x="255" y="476"/>
                  </a:lnTo>
                  <a:lnTo>
                    <a:pt x="272" y="467"/>
                  </a:lnTo>
                  <a:lnTo>
                    <a:pt x="272" y="457"/>
                  </a:lnTo>
                  <a:lnTo>
                    <a:pt x="289" y="440"/>
                  </a:lnTo>
                  <a:lnTo>
                    <a:pt x="315" y="394"/>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201" name="Freeform 109"/>
            <p:cNvSpPr>
              <a:spLocks/>
            </p:cNvSpPr>
            <p:nvPr/>
          </p:nvSpPr>
          <p:spPr bwMode="auto">
            <a:xfrm>
              <a:off x="417" y="3958"/>
              <a:ext cx="43" cy="47"/>
            </a:xfrm>
            <a:custGeom>
              <a:avLst/>
              <a:gdLst>
                <a:gd name="T0" fmla="*/ 24 w 43"/>
                <a:gd name="T1" fmla="*/ 0 h 47"/>
                <a:gd name="T2" fmla="*/ 42 w 43"/>
                <a:gd name="T3" fmla="*/ 9 h 47"/>
                <a:gd name="T4" fmla="*/ 16 w 43"/>
                <a:gd name="T5" fmla="*/ 46 h 47"/>
                <a:gd name="T6" fmla="*/ 0 w 43"/>
                <a:gd name="T7" fmla="*/ 9 h 47"/>
                <a:gd name="T8" fmla="*/ 24 w 43"/>
                <a:gd name="T9" fmla="*/ 0 h 47"/>
                <a:gd name="T10" fmla="*/ 0 60000 65536"/>
                <a:gd name="T11" fmla="*/ 0 60000 65536"/>
                <a:gd name="T12" fmla="*/ 0 60000 65536"/>
                <a:gd name="T13" fmla="*/ 0 60000 65536"/>
                <a:gd name="T14" fmla="*/ 0 60000 65536"/>
                <a:gd name="T15" fmla="*/ 0 w 43"/>
                <a:gd name="T16" fmla="*/ 0 h 47"/>
                <a:gd name="T17" fmla="*/ 43 w 43"/>
                <a:gd name="T18" fmla="*/ 47 h 47"/>
              </a:gdLst>
              <a:ahLst/>
              <a:cxnLst>
                <a:cxn ang="T10">
                  <a:pos x="T0" y="T1"/>
                </a:cxn>
                <a:cxn ang="T11">
                  <a:pos x="T2" y="T3"/>
                </a:cxn>
                <a:cxn ang="T12">
                  <a:pos x="T4" y="T5"/>
                </a:cxn>
                <a:cxn ang="T13">
                  <a:pos x="T6" y="T7"/>
                </a:cxn>
                <a:cxn ang="T14">
                  <a:pos x="T8" y="T9"/>
                </a:cxn>
              </a:cxnLst>
              <a:rect l="T15" t="T16" r="T17" b="T18"/>
              <a:pathLst>
                <a:path w="43" h="47">
                  <a:moveTo>
                    <a:pt x="24" y="0"/>
                  </a:moveTo>
                  <a:lnTo>
                    <a:pt x="42" y="9"/>
                  </a:lnTo>
                  <a:lnTo>
                    <a:pt x="16" y="46"/>
                  </a:lnTo>
                  <a:lnTo>
                    <a:pt x="0" y="9"/>
                  </a:lnTo>
                  <a:lnTo>
                    <a:pt x="24"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202" name="Freeform 110"/>
            <p:cNvSpPr>
              <a:spLocks/>
            </p:cNvSpPr>
            <p:nvPr/>
          </p:nvSpPr>
          <p:spPr bwMode="auto">
            <a:xfrm>
              <a:off x="885" y="3967"/>
              <a:ext cx="35" cy="47"/>
            </a:xfrm>
            <a:custGeom>
              <a:avLst/>
              <a:gdLst>
                <a:gd name="T0" fmla="*/ 0 w 35"/>
                <a:gd name="T1" fmla="*/ 0 h 47"/>
                <a:gd name="T2" fmla="*/ 17 w 35"/>
                <a:gd name="T3" fmla="*/ 36 h 47"/>
                <a:gd name="T4" fmla="*/ 34 w 35"/>
                <a:gd name="T5" fmla="*/ 36 h 47"/>
                <a:gd name="T6" fmla="*/ 25 w 35"/>
                <a:gd name="T7" fmla="*/ 46 h 47"/>
                <a:gd name="T8" fmla="*/ 0 w 35"/>
                <a:gd name="T9" fmla="*/ 27 h 47"/>
                <a:gd name="T10" fmla="*/ 0 w 35"/>
                <a:gd name="T11" fmla="*/ 18 h 47"/>
                <a:gd name="T12" fmla="*/ 0 w 35"/>
                <a:gd name="T13" fmla="*/ 0 h 47"/>
                <a:gd name="T14" fmla="*/ 0 60000 65536"/>
                <a:gd name="T15" fmla="*/ 0 60000 65536"/>
                <a:gd name="T16" fmla="*/ 0 60000 65536"/>
                <a:gd name="T17" fmla="*/ 0 60000 65536"/>
                <a:gd name="T18" fmla="*/ 0 60000 65536"/>
                <a:gd name="T19" fmla="*/ 0 60000 65536"/>
                <a:gd name="T20" fmla="*/ 0 60000 65536"/>
                <a:gd name="T21" fmla="*/ 0 w 35"/>
                <a:gd name="T22" fmla="*/ 0 h 47"/>
                <a:gd name="T23" fmla="*/ 35 w 35"/>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7">
                  <a:moveTo>
                    <a:pt x="0" y="0"/>
                  </a:moveTo>
                  <a:lnTo>
                    <a:pt x="17" y="36"/>
                  </a:lnTo>
                  <a:lnTo>
                    <a:pt x="34" y="36"/>
                  </a:lnTo>
                  <a:lnTo>
                    <a:pt x="25" y="46"/>
                  </a:lnTo>
                  <a:lnTo>
                    <a:pt x="0" y="27"/>
                  </a:lnTo>
                  <a:lnTo>
                    <a:pt x="0" y="18"/>
                  </a:lnTo>
                  <a:lnTo>
                    <a:pt x="0"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203" name="Freeform 111"/>
            <p:cNvSpPr>
              <a:spLocks/>
            </p:cNvSpPr>
            <p:nvPr/>
          </p:nvSpPr>
          <p:spPr bwMode="auto">
            <a:xfrm>
              <a:off x="102" y="4077"/>
              <a:ext cx="43" cy="29"/>
            </a:xfrm>
            <a:custGeom>
              <a:avLst/>
              <a:gdLst>
                <a:gd name="T0" fmla="*/ 33 w 43"/>
                <a:gd name="T1" fmla="*/ 0 h 29"/>
                <a:gd name="T2" fmla="*/ 42 w 43"/>
                <a:gd name="T3" fmla="*/ 9 h 29"/>
                <a:gd name="T4" fmla="*/ 33 w 43"/>
                <a:gd name="T5" fmla="*/ 28 h 29"/>
                <a:gd name="T6" fmla="*/ 0 w 43"/>
                <a:gd name="T7" fmla="*/ 28 h 29"/>
                <a:gd name="T8" fmla="*/ 33 w 43"/>
                <a:gd name="T9" fmla="*/ 0 h 29"/>
                <a:gd name="T10" fmla="*/ 0 60000 65536"/>
                <a:gd name="T11" fmla="*/ 0 60000 65536"/>
                <a:gd name="T12" fmla="*/ 0 60000 65536"/>
                <a:gd name="T13" fmla="*/ 0 60000 65536"/>
                <a:gd name="T14" fmla="*/ 0 60000 65536"/>
                <a:gd name="T15" fmla="*/ 0 w 43"/>
                <a:gd name="T16" fmla="*/ 0 h 29"/>
                <a:gd name="T17" fmla="*/ 43 w 43"/>
                <a:gd name="T18" fmla="*/ 29 h 29"/>
              </a:gdLst>
              <a:ahLst/>
              <a:cxnLst>
                <a:cxn ang="T10">
                  <a:pos x="T0" y="T1"/>
                </a:cxn>
                <a:cxn ang="T11">
                  <a:pos x="T2" y="T3"/>
                </a:cxn>
                <a:cxn ang="T12">
                  <a:pos x="T4" y="T5"/>
                </a:cxn>
                <a:cxn ang="T13">
                  <a:pos x="T6" y="T7"/>
                </a:cxn>
                <a:cxn ang="T14">
                  <a:pos x="T8" y="T9"/>
                </a:cxn>
              </a:cxnLst>
              <a:rect l="T15" t="T16" r="T17" b="T18"/>
              <a:pathLst>
                <a:path w="43" h="29">
                  <a:moveTo>
                    <a:pt x="33" y="0"/>
                  </a:moveTo>
                  <a:lnTo>
                    <a:pt x="42" y="9"/>
                  </a:lnTo>
                  <a:lnTo>
                    <a:pt x="33" y="28"/>
                  </a:lnTo>
                  <a:lnTo>
                    <a:pt x="0" y="28"/>
                  </a:lnTo>
                  <a:lnTo>
                    <a:pt x="33"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204" name="Freeform 112"/>
            <p:cNvSpPr>
              <a:spLocks/>
            </p:cNvSpPr>
            <p:nvPr/>
          </p:nvSpPr>
          <p:spPr bwMode="auto">
            <a:xfrm>
              <a:off x="0" y="4132"/>
              <a:ext cx="27" cy="38"/>
            </a:xfrm>
            <a:custGeom>
              <a:avLst/>
              <a:gdLst>
                <a:gd name="T0" fmla="*/ 26 w 27"/>
                <a:gd name="T1" fmla="*/ 0 h 38"/>
                <a:gd name="T2" fmla="*/ 26 w 27"/>
                <a:gd name="T3" fmla="*/ 9 h 38"/>
                <a:gd name="T4" fmla="*/ 26 w 27"/>
                <a:gd name="T5" fmla="*/ 37 h 38"/>
                <a:gd name="T6" fmla="*/ 0 w 27"/>
                <a:gd name="T7" fmla="*/ 37 h 38"/>
                <a:gd name="T8" fmla="*/ 17 w 27"/>
                <a:gd name="T9" fmla="*/ 9 h 38"/>
                <a:gd name="T10" fmla="*/ 26 w 27"/>
                <a:gd name="T11" fmla="*/ 0 h 38"/>
                <a:gd name="T12" fmla="*/ 0 60000 65536"/>
                <a:gd name="T13" fmla="*/ 0 60000 65536"/>
                <a:gd name="T14" fmla="*/ 0 60000 65536"/>
                <a:gd name="T15" fmla="*/ 0 60000 65536"/>
                <a:gd name="T16" fmla="*/ 0 60000 65536"/>
                <a:gd name="T17" fmla="*/ 0 60000 65536"/>
                <a:gd name="T18" fmla="*/ 0 w 27"/>
                <a:gd name="T19" fmla="*/ 0 h 38"/>
                <a:gd name="T20" fmla="*/ 27 w 27"/>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27" h="38">
                  <a:moveTo>
                    <a:pt x="26" y="0"/>
                  </a:moveTo>
                  <a:lnTo>
                    <a:pt x="26" y="9"/>
                  </a:lnTo>
                  <a:lnTo>
                    <a:pt x="26" y="37"/>
                  </a:lnTo>
                  <a:lnTo>
                    <a:pt x="0" y="37"/>
                  </a:lnTo>
                  <a:lnTo>
                    <a:pt x="17" y="9"/>
                  </a:lnTo>
                  <a:lnTo>
                    <a:pt x="26"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grpSp>
      <p:sp>
        <p:nvSpPr>
          <p:cNvPr id="3180" name="Rectangle 113"/>
          <p:cNvSpPr>
            <a:spLocks noChangeArrowheads="1"/>
          </p:cNvSpPr>
          <p:nvPr/>
        </p:nvSpPr>
        <p:spPr bwMode="auto">
          <a:xfrm>
            <a:off x="6191948" y="4400399"/>
            <a:ext cx="1066800" cy="171450"/>
          </a:xfrm>
          <a:prstGeom prst="rect">
            <a:avLst/>
          </a:prstGeom>
          <a:noFill/>
          <a:ln w="9525">
            <a:noFill/>
            <a:miter lim="800000"/>
            <a:headEnd/>
            <a:tailEnd/>
          </a:ln>
        </p:spPr>
        <p:txBody>
          <a:bodyPr wrap="none" lIns="101680" tIns="50841" rIns="101680" bIns="50841" anchor="ctr"/>
          <a:lstStyle/>
          <a:p>
            <a:r>
              <a:rPr lang="en-CA" sz="1800" dirty="0" smtClean="0">
                <a:latin typeface="Calibri" panose="020F0502020204030204" pitchFamily="34" charset="0"/>
              </a:rPr>
              <a:t>Engineered Systems – Norma Dubois</a:t>
            </a:r>
            <a:endParaRPr lang="en-US" sz="1800" dirty="0">
              <a:latin typeface="Calibri" panose="020F0502020204030204" pitchFamily="34" charset="0"/>
            </a:endParaRPr>
          </a:p>
        </p:txBody>
      </p:sp>
      <p:grpSp>
        <p:nvGrpSpPr>
          <p:cNvPr id="3" name="Group 114"/>
          <p:cNvGrpSpPr>
            <a:grpSpLocks/>
          </p:cNvGrpSpPr>
          <p:nvPr/>
        </p:nvGrpSpPr>
        <p:grpSpPr bwMode="auto">
          <a:xfrm>
            <a:off x="274639" y="3520693"/>
            <a:ext cx="1601787" cy="686990"/>
            <a:chOff x="48" y="2784"/>
            <a:chExt cx="1009" cy="577"/>
          </a:xfrm>
        </p:grpSpPr>
        <p:sp>
          <p:nvSpPr>
            <p:cNvPr id="3192" name="Freeform 115"/>
            <p:cNvSpPr>
              <a:spLocks/>
            </p:cNvSpPr>
            <p:nvPr/>
          </p:nvSpPr>
          <p:spPr bwMode="auto">
            <a:xfrm>
              <a:off x="139" y="2784"/>
              <a:ext cx="103" cy="53"/>
            </a:xfrm>
            <a:custGeom>
              <a:avLst/>
              <a:gdLst>
                <a:gd name="T0" fmla="*/ 56 w 103"/>
                <a:gd name="T1" fmla="*/ 0 h 53"/>
                <a:gd name="T2" fmla="*/ 90 w 103"/>
                <a:gd name="T3" fmla="*/ 10 h 53"/>
                <a:gd name="T4" fmla="*/ 90 w 103"/>
                <a:gd name="T5" fmla="*/ 20 h 53"/>
                <a:gd name="T6" fmla="*/ 102 w 103"/>
                <a:gd name="T7" fmla="*/ 41 h 53"/>
                <a:gd name="T8" fmla="*/ 68 w 103"/>
                <a:gd name="T9" fmla="*/ 52 h 53"/>
                <a:gd name="T10" fmla="*/ 22 w 103"/>
                <a:gd name="T11" fmla="*/ 52 h 53"/>
                <a:gd name="T12" fmla="*/ 0 w 103"/>
                <a:gd name="T13" fmla="*/ 31 h 53"/>
                <a:gd name="T14" fmla="*/ 34 w 103"/>
                <a:gd name="T15" fmla="*/ 0 h 53"/>
                <a:gd name="T16" fmla="*/ 56 w 103"/>
                <a:gd name="T17" fmla="*/ 0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53"/>
                <a:gd name="T29" fmla="*/ 103 w 103"/>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53">
                  <a:moveTo>
                    <a:pt x="56" y="0"/>
                  </a:moveTo>
                  <a:lnTo>
                    <a:pt x="90" y="10"/>
                  </a:lnTo>
                  <a:lnTo>
                    <a:pt x="90" y="20"/>
                  </a:lnTo>
                  <a:lnTo>
                    <a:pt x="102" y="41"/>
                  </a:lnTo>
                  <a:lnTo>
                    <a:pt x="68" y="52"/>
                  </a:lnTo>
                  <a:lnTo>
                    <a:pt x="22" y="52"/>
                  </a:lnTo>
                  <a:lnTo>
                    <a:pt x="0" y="31"/>
                  </a:lnTo>
                  <a:lnTo>
                    <a:pt x="34" y="0"/>
                  </a:lnTo>
                  <a:lnTo>
                    <a:pt x="56"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93" name="Freeform 116"/>
            <p:cNvSpPr>
              <a:spLocks/>
            </p:cNvSpPr>
            <p:nvPr/>
          </p:nvSpPr>
          <p:spPr bwMode="auto">
            <a:xfrm>
              <a:off x="421" y="2868"/>
              <a:ext cx="126" cy="85"/>
            </a:xfrm>
            <a:custGeom>
              <a:avLst/>
              <a:gdLst>
                <a:gd name="T0" fmla="*/ 56 w 126"/>
                <a:gd name="T1" fmla="*/ 0 h 85"/>
                <a:gd name="T2" fmla="*/ 79 w 126"/>
                <a:gd name="T3" fmla="*/ 31 h 85"/>
                <a:gd name="T4" fmla="*/ 90 w 126"/>
                <a:gd name="T5" fmla="*/ 42 h 85"/>
                <a:gd name="T6" fmla="*/ 113 w 126"/>
                <a:gd name="T7" fmla="*/ 42 h 85"/>
                <a:gd name="T8" fmla="*/ 113 w 126"/>
                <a:gd name="T9" fmla="*/ 73 h 85"/>
                <a:gd name="T10" fmla="*/ 125 w 126"/>
                <a:gd name="T11" fmla="*/ 84 h 85"/>
                <a:gd name="T12" fmla="*/ 45 w 126"/>
                <a:gd name="T13" fmla="*/ 73 h 85"/>
                <a:gd name="T14" fmla="*/ 22 w 126"/>
                <a:gd name="T15" fmla="*/ 73 h 85"/>
                <a:gd name="T16" fmla="*/ 22 w 126"/>
                <a:gd name="T17" fmla="*/ 52 h 85"/>
                <a:gd name="T18" fmla="*/ 0 w 126"/>
                <a:gd name="T19" fmla="*/ 20 h 85"/>
                <a:gd name="T20" fmla="*/ 11 w 126"/>
                <a:gd name="T21" fmla="*/ 20 h 85"/>
                <a:gd name="T22" fmla="*/ 22 w 126"/>
                <a:gd name="T23" fmla="*/ 20 h 85"/>
                <a:gd name="T24" fmla="*/ 34 w 126"/>
                <a:gd name="T25" fmla="*/ 20 h 85"/>
                <a:gd name="T26" fmla="*/ 56 w 126"/>
                <a:gd name="T27" fmla="*/ 0 h 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
                <a:gd name="T43" fmla="*/ 0 h 85"/>
                <a:gd name="T44" fmla="*/ 126 w 126"/>
                <a:gd name="T45" fmla="*/ 85 h 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 h="85">
                  <a:moveTo>
                    <a:pt x="56" y="0"/>
                  </a:moveTo>
                  <a:lnTo>
                    <a:pt x="79" y="31"/>
                  </a:lnTo>
                  <a:lnTo>
                    <a:pt x="90" y="42"/>
                  </a:lnTo>
                  <a:lnTo>
                    <a:pt x="113" y="42"/>
                  </a:lnTo>
                  <a:lnTo>
                    <a:pt x="113" y="73"/>
                  </a:lnTo>
                  <a:lnTo>
                    <a:pt x="125" y="84"/>
                  </a:lnTo>
                  <a:lnTo>
                    <a:pt x="45" y="73"/>
                  </a:lnTo>
                  <a:lnTo>
                    <a:pt x="22" y="73"/>
                  </a:lnTo>
                  <a:lnTo>
                    <a:pt x="22" y="52"/>
                  </a:lnTo>
                  <a:lnTo>
                    <a:pt x="0" y="20"/>
                  </a:lnTo>
                  <a:lnTo>
                    <a:pt x="11" y="20"/>
                  </a:lnTo>
                  <a:lnTo>
                    <a:pt x="22" y="20"/>
                  </a:lnTo>
                  <a:lnTo>
                    <a:pt x="34" y="20"/>
                  </a:lnTo>
                  <a:lnTo>
                    <a:pt x="56"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94" name="Freeform 117"/>
            <p:cNvSpPr>
              <a:spLocks/>
            </p:cNvSpPr>
            <p:nvPr/>
          </p:nvSpPr>
          <p:spPr bwMode="auto">
            <a:xfrm>
              <a:off x="717" y="2983"/>
              <a:ext cx="124" cy="74"/>
            </a:xfrm>
            <a:custGeom>
              <a:avLst/>
              <a:gdLst>
                <a:gd name="T0" fmla="*/ 22 w 124"/>
                <a:gd name="T1" fmla="*/ 0 h 74"/>
                <a:gd name="T2" fmla="*/ 56 w 124"/>
                <a:gd name="T3" fmla="*/ 20 h 74"/>
                <a:gd name="T4" fmla="*/ 89 w 124"/>
                <a:gd name="T5" fmla="*/ 20 h 74"/>
                <a:gd name="T6" fmla="*/ 100 w 124"/>
                <a:gd name="T7" fmla="*/ 30 h 74"/>
                <a:gd name="T8" fmla="*/ 123 w 124"/>
                <a:gd name="T9" fmla="*/ 52 h 74"/>
                <a:gd name="T10" fmla="*/ 111 w 124"/>
                <a:gd name="T11" fmla="*/ 62 h 74"/>
                <a:gd name="T12" fmla="*/ 89 w 124"/>
                <a:gd name="T13" fmla="*/ 62 h 74"/>
                <a:gd name="T14" fmla="*/ 45 w 124"/>
                <a:gd name="T15" fmla="*/ 73 h 74"/>
                <a:gd name="T16" fmla="*/ 45 w 124"/>
                <a:gd name="T17" fmla="*/ 52 h 74"/>
                <a:gd name="T18" fmla="*/ 0 w 124"/>
                <a:gd name="T19" fmla="*/ 30 h 74"/>
                <a:gd name="T20" fmla="*/ 11 w 124"/>
                <a:gd name="T21" fmla="*/ 0 h 74"/>
                <a:gd name="T22" fmla="*/ 22 w 124"/>
                <a:gd name="T23" fmla="*/ 0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
                <a:gd name="T37" fmla="*/ 0 h 74"/>
                <a:gd name="T38" fmla="*/ 124 w 124"/>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 h="74">
                  <a:moveTo>
                    <a:pt x="22" y="0"/>
                  </a:moveTo>
                  <a:lnTo>
                    <a:pt x="56" y="20"/>
                  </a:lnTo>
                  <a:lnTo>
                    <a:pt x="89" y="20"/>
                  </a:lnTo>
                  <a:lnTo>
                    <a:pt x="100" y="30"/>
                  </a:lnTo>
                  <a:lnTo>
                    <a:pt x="123" y="52"/>
                  </a:lnTo>
                  <a:lnTo>
                    <a:pt x="111" y="62"/>
                  </a:lnTo>
                  <a:lnTo>
                    <a:pt x="89" y="62"/>
                  </a:lnTo>
                  <a:lnTo>
                    <a:pt x="45" y="73"/>
                  </a:lnTo>
                  <a:lnTo>
                    <a:pt x="45" y="52"/>
                  </a:lnTo>
                  <a:lnTo>
                    <a:pt x="0" y="30"/>
                  </a:lnTo>
                  <a:lnTo>
                    <a:pt x="11" y="0"/>
                  </a:lnTo>
                  <a:lnTo>
                    <a:pt x="22"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95" name="Freeform 118"/>
            <p:cNvSpPr>
              <a:spLocks/>
            </p:cNvSpPr>
            <p:nvPr/>
          </p:nvSpPr>
          <p:spPr bwMode="auto">
            <a:xfrm>
              <a:off x="648" y="3014"/>
              <a:ext cx="47" cy="32"/>
            </a:xfrm>
            <a:custGeom>
              <a:avLst/>
              <a:gdLst>
                <a:gd name="T0" fmla="*/ 0 w 47"/>
                <a:gd name="T1" fmla="*/ 0 h 32"/>
                <a:gd name="T2" fmla="*/ 34 w 47"/>
                <a:gd name="T3" fmla="*/ 0 h 32"/>
                <a:gd name="T4" fmla="*/ 46 w 47"/>
                <a:gd name="T5" fmla="*/ 20 h 32"/>
                <a:gd name="T6" fmla="*/ 11 w 47"/>
                <a:gd name="T7" fmla="*/ 31 h 32"/>
                <a:gd name="T8" fmla="*/ 11 w 47"/>
                <a:gd name="T9" fmla="*/ 10 h 32"/>
                <a:gd name="T10" fmla="*/ 0 w 47"/>
                <a:gd name="T11" fmla="*/ 0 h 32"/>
                <a:gd name="T12" fmla="*/ 0 60000 65536"/>
                <a:gd name="T13" fmla="*/ 0 60000 65536"/>
                <a:gd name="T14" fmla="*/ 0 60000 65536"/>
                <a:gd name="T15" fmla="*/ 0 60000 65536"/>
                <a:gd name="T16" fmla="*/ 0 60000 65536"/>
                <a:gd name="T17" fmla="*/ 0 60000 65536"/>
                <a:gd name="T18" fmla="*/ 0 w 47"/>
                <a:gd name="T19" fmla="*/ 0 h 32"/>
                <a:gd name="T20" fmla="*/ 47 w 4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47" h="32">
                  <a:moveTo>
                    <a:pt x="0" y="0"/>
                  </a:moveTo>
                  <a:lnTo>
                    <a:pt x="34" y="0"/>
                  </a:lnTo>
                  <a:lnTo>
                    <a:pt x="46" y="20"/>
                  </a:lnTo>
                  <a:lnTo>
                    <a:pt x="11" y="31"/>
                  </a:lnTo>
                  <a:lnTo>
                    <a:pt x="11" y="10"/>
                  </a:lnTo>
                  <a:lnTo>
                    <a:pt x="0"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96" name="Freeform 119"/>
            <p:cNvSpPr>
              <a:spLocks/>
            </p:cNvSpPr>
            <p:nvPr/>
          </p:nvSpPr>
          <p:spPr bwMode="auto">
            <a:xfrm>
              <a:off x="818" y="3119"/>
              <a:ext cx="239" cy="242"/>
            </a:xfrm>
            <a:custGeom>
              <a:avLst/>
              <a:gdLst>
                <a:gd name="T0" fmla="*/ 45 w 239"/>
                <a:gd name="T1" fmla="*/ 0 h 242"/>
                <a:gd name="T2" fmla="*/ 113 w 239"/>
                <a:gd name="T3" fmla="*/ 31 h 242"/>
                <a:gd name="T4" fmla="*/ 124 w 239"/>
                <a:gd name="T5" fmla="*/ 31 h 242"/>
                <a:gd name="T6" fmla="*/ 192 w 239"/>
                <a:gd name="T7" fmla="*/ 73 h 242"/>
                <a:gd name="T8" fmla="*/ 204 w 239"/>
                <a:gd name="T9" fmla="*/ 104 h 242"/>
                <a:gd name="T10" fmla="*/ 226 w 239"/>
                <a:gd name="T11" fmla="*/ 125 h 242"/>
                <a:gd name="T12" fmla="*/ 238 w 239"/>
                <a:gd name="T13" fmla="*/ 135 h 242"/>
                <a:gd name="T14" fmla="*/ 238 w 239"/>
                <a:gd name="T15" fmla="*/ 146 h 242"/>
                <a:gd name="T16" fmla="*/ 215 w 239"/>
                <a:gd name="T17" fmla="*/ 177 h 242"/>
                <a:gd name="T18" fmla="*/ 158 w 239"/>
                <a:gd name="T19" fmla="*/ 177 h 242"/>
                <a:gd name="T20" fmla="*/ 113 w 239"/>
                <a:gd name="T21" fmla="*/ 209 h 242"/>
                <a:gd name="T22" fmla="*/ 102 w 239"/>
                <a:gd name="T23" fmla="*/ 241 h 242"/>
                <a:gd name="T24" fmla="*/ 34 w 239"/>
                <a:gd name="T25" fmla="*/ 209 h 242"/>
                <a:gd name="T26" fmla="*/ 34 w 239"/>
                <a:gd name="T27" fmla="*/ 177 h 242"/>
                <a:gd name="T28" fmla="*/ 34 w 239"/>
                <a:gd name="T29" fmla="*/ 146 h 242"/>
                <a:gd name="T30" fmla="*/ 0 w 239"/>
                <a:gd name="T31" fmla="*/ 104 h 242"/>
                <a:gd name="T32" fmla="*/ 11 w 239"/>
                <a:gd name="T33" fmla="*/ 93 h 242"/>
                <a:gd name="T34" fmla="*/ 56 w 239"/>
                <a:gd name="T35" fmla="*/ 52 h 242"/>
                <a:gd name="T36" fmla="*/ 34 w 239"/>
                <a:gd name="T37" fmla="*/ 10 h 242"/>
                <a:gd name="T38" fmla="*/ 45 w 239"/>
                <a:gd name="T39" fmla="*/ 10 h 242"/>
                <a:gd name="T40" fmla="*/ 45 w 239"/>
                <a:gd name="T41" fmla="*/ 0 h 2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9"/>
                <a:gd name="T64" fmla="*/ 0 h 242"/>
                <a:gd name="T65" fmla="*/ 239 w 239"/>
                <a:gd name="T66" fmla="*/ 242 h 2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9" h="242">
                  <a:moveTo>
                    <a:pt x="45" y="0"/>
                  </a:moveTo>
                  <a:lnTo>
                    <a:pt x="113" y="31"/>
                  </a:lnTo>
                  <a:lnTo>
                    <a:pt x="124" y="31"/>
                  </a:lnTo>
                  <a:lnTo>
                    <a:pt x="192" y="73"/>
                  </a:lnTo>
                  <a:lnTo>
                    <a:pt x="204" y="104"/>
                  </a:lnTo>
                  <a:lnTo>
                    <a:pt x="226" y="125"/>
                  </a:lnTo>
                  <a:lnTo>
                    <a:pt x="238" y="135"/>
                  </a:lnTo>
                  <a:lnTo>
                    <a:pt x="238" y="146"/>
                  </a:lnTo>
                  <a:lnTo>
                    <a:pt x="215" y="177"/>
                  </a:lnTo>
                  <a:lnTo>
                    <a:pt x="158" y="177"/>
                  </a:lnTo>
                  <a:lnTo>
                    <a:pt x="113" y="209"/>
                  </a:lnTo>
                  <a:lnTo>
                    <a:pt x="102" y="241"/>
                  </a:lnTo>
                  <a:lnTo>
                    <a:pt x="34" y="209"/>
                  </a:lnTo>
                  <a:lnTo>
                    <a:pt x="34" y="177"/>
                  </a:lnTo>
                  <a:lnTo>
                    <a:pt x="34" y="146"/>
                  </a:lnTo>
                  <a:lnTo>
                    <a:pt x="0" y="104"/>
                  </a:lnTo>
                  <a:lnTo>
                    <a:pt x="11" y="93"/>
                  </a:lnTo>
                  <a:lnTo>
                    <a:pt x="56" y="52"/>
                  </a:lnTo>
                  <a:lnTo>
                    <a:pt x="34" y="10"/>
                  </a:lnTo>
                  <a:lnTo>
                    <a:pt x="45" y="10"/>
                  </a:lnTo>
                  <a:lnTo>
                    <a:pt x="45" y="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97" name="Freeform 120"/>
            <p:cNvSpPr>
              <a:spLocks/>
            </p:cNvSpPr>
            <p:nvPr/>
          </p:nvSpPr>
          <p:spPr bwMode="auto">
            <a:xfrm>
              <a:off x="48" y="2836"/>
              <a:ext cx="35" cy="33"/>
            </a:xfrm>
            <a:custGeom>
              <a:avLst/>
              <a:gdLst>
                <a:gd name="T0" fmla="*/ 11 w 35"/>
                <a:gd name="T1" fmla="*/ 10 h 33"/>
                <a:gd name="T2" fmla="*/ 0 w 35"/>
                <a:gd name="T3" fmla="*/ 32 h 33"/>
                <a:gd name="T4" fmla="*/ 22 w 35"/>
                <a:gd name="T5" fmla="*/ 21 h 33"/>
                <a:gd name="T6" fmla="*/ 34 w 35"/>
                <a:gd name="T7" fmla="*/ 0 h 33"/>
                <a:gd name="T8" fmla="*/ 22 w 35"/>
                <a:gd name="T9" fmla="*/ 0 h 33"/>
                <a:gd name="T10" fmla="*/ 11 w 35"/>
                <a:gd name="T11" fmla="*/ 10 h 33"/>
                <a:gd name="T12" fmla="*/ 0 w 35"/>
                <a:gd name="T13" fmla="*/ 32 h 33"/>
                <a:gd name="T14" fmla="*/ 11 w 35"/>
                <a:gd name="T15" fmla="*/ 10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11" y="10"/>
                  </a:moveTo>
                  <a:lnTo>
                    <a:pt x="0" y="32"/>
                  </a:lnTo>
                  <a:lnTo>
                    <a:pt x="22" y="21"/>
                  </a:lnTo>
                  <a:lnTo>
                    <a:pt x="34" y="0"/>
                  </a:lnTo>
                  <a:lnTo>
                    <a:pt x="22" y="0"/>
                  </a:lnTo>
                  <a:lnTo>
                    <a:pt x="11" y="10"/>
                  </a:lnTo>
                  <a:lnTo>
                    <a:pt x="0" y="32"/>
                  </a:lnTo>
                  <a:lnTo>
                    <a:pt x="11" y="1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sp>
          <p:nvSpPr>
            <p:cNvPr id="3198" name="Freeform 121"/>
            <p:cNvSpPr>
              <a:spLocks/>
            </p:cNvSpPr>
            <p:nvPr/>
          </p:nvSpPr>
          <p:spPr bwMode="auto">
            <a:xfrm>
              <a:off x="48" y="2836"/>
              <a:ext cx="35" cy="33"/>
            </a:xfrm>
            <a:custGeom>
              <a:avLst/>
              <a:gdLst>
                <a:gd name="T0" fmla="*/ 11 w 35"/>
                <a:gd name="T1" fmla="*/ 10 h 33"/>
                <a:gd name="T2" fmla="*/ 0 w 35"/>
                <a:gd name="T3" fmla="*/ 32 h 33"/>
                <a:gd name="T4" fmla="*/ 22 w 35"/>
                <a:gd name="T5" fmla="*/ 21 h 33"/>
                <a:gd name="T6" fmla="*/ 34 w 35"/>
                <a:gd name="T7" fmla="*/ 0 h 33"/>
                <a:gd name="T8" fmla="*/ 22 w 35"/>
                <a:gd name="T9" fmla="*/ 0 h 33"/>
                <a:gd name="T10" fmla="*/ 11 w 35"/>
                <a:gd name="T11" fmla="*/ 10 h 33"/>
                <a:gd name="T12" fmla="*/ 0 w 35"/>
                <a:gd name="T13" fmla="*/ 32 h 33"/>
                <a:gd name="T14" fmla="*/ 11 w 35"/>
                <a:gd name="T15" fmla="*/ 10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11" y="10"/>
                  </a:moveTo>
                  <a:lnTo>
                    <a:pt x="0" y="32"/>
                  </a:lnTo>
                  <a:lnTo>
                    <a:pt x="22" y="21"/>
                  </a:lnTo>
                  <a:lnTo>
                    <a:pt x="34" y="0"/>
                  </a:lnTo>
                  <a:lnTo>
                    <a:pt x="22" y="0"/>
                  </a:lnTo>
                  <a:lnTo>
                    <a:pt x="11" y="10"/>
                  </a:lnTo>
                  <a:lnTo>
                    <a:pt x="0" y="32"/>
                  </a:lnTo>
                  <a:lnTo>
                    <a:pt x="11" y="10"/>
                  </a:lnTo>
                </a:path>
              </a:pathLst>
            </a:custGeom>
            <a:solidFill>
              <a:srgbClr val="66FFCC"/>
            </a:solidFill>
            <a:ln w="12700" cap="rnd" cmpd="sng">
              <a:solidFill>
                <a:schemeClr val="tx1"/>
              </a:solidFill>
              <a:prstDash val="solid"/>
              <a:round/>
              <a:headEnd type="none" w="sm" len="sm"/>
              <a:tailEnd type="none" w="sm" len="sm"/>
            </a:ln>
          </p:spPr>
          <p:txBody>
            <a:bodyPr/>
            <a:lstStyle/>
            <a:p>
              <a:pPr eaLnBrk="0" hangingPunct="0">
                <a:lnSpc>
                  <a:spcPct val="100000"/>
                </a:lnSpc>
                <a:spcBef>
                  <a:spcPct val="0"/>
                </a:spcBef>
                <a:buClrTx/>
              </a:pPr>
              <a:endParaRPr lang="en-US" sz="2700" b="0" dirty="0" smtClean="0">
                <a:solidFill>
                  <a:srgbClr val="000000"/>
                </a:solidFill>
                <a:latin typeface="Calibri" panose="020F0502020204030204" pitchFamily="34" charset="0"/>
                <a:ea typeface="+mn-ea"/>
                <a:cs typeface="+mn-cs"/>
              </a:endParaRPr>
            </a:p>
          </p:txBody>
        </p:sp>
      </p:grpSp>
      <p:sp>
        <p:nvSpPr>
          <p:cNvPr id="3182" name="Rectangle 122"/>
          <p:cNvSpPr>
            <a:spLocks noChangeArrowheads="1"/>
          </p:cNvSpPr>
          <p:nvPr/>
        </p:nvSpPr>
        <p:spPr bwMode="auto">
          <a:xfrm>
            <a:off x="517772" y="3980115"/>
            <a:ext cx="389516" cy="303443"/>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300" dirty="0" smtClean="0">
                <a:solidFill>
                  <a:srgbClr val="000000"/>
                </a:solidFill>
                <a:latin typeface="Calibri" panose="020F0502020204030204" pitchFamily="34" charset="0"/>
                <a:ea typeface="+mn-ea"/>
                <a:cs typeface="Times New Roman" charset="0"/>
              </a:rPr>
              <a:t>AK</a:t>
            </a:r>
          </a:p>
        </p:txBody>
      </p:sp>
      <p:sp>
        <p:nvSpPr>
          <p:cNvPr id="3183" name="Rectangle 123"/>
          <p:cNvSpPr>
            <a:spLocks noChangeArrowheads="1"/>
          </p:cNvSpPr>
          <p:nvPr/>
        </p:nvSpPr>
        <p:spPr bwMode="auto">
          <a:xfrm>
            <a:off x="1138255" y="3887396"/>
            <a:ext cx="352648" cy="303443"/>
          </a:xfrm>
          <a:prstGeom prst="rect">
            <a:avLst/>
          </a:prstGeom>
          <a:noFill/>
          <a:ln w="9525">
            <a:noFill/>
            <a:miter lim="800000"/>
            <a:headEnd/>
            <a:tailEnd/>
          </a:ln>
        </p:spPr>
        <p:txBody>
          <a:bodyPr wrap="none" lIns="102387" tIns="51194" rIns="102387" bIns="51194">
            <a:spAutoFit/>
          </a:bodyPr>
          <a:lstStyle/>
          <a:p>
            <a:pPr algn="l" eaLnBrk="0" hangingPunct="0">
              <a:lnSpc>
                <a:spcPct val="100000"/>
              </a:lnSpc>
              <a:spcBef>
                <a:spcPct val="0"/>
              </a:spcBef>
              <a:buClrTx/>
            </a:pPr>
            <a:r>
              <a:rPr lang="en-US" sz="1300" dirty="0" smtClean="0">
                <a:solidFill>
                  <a:srgbClr val="000000"/>
                </a:solidFill>
                <a:latin typeface="Calibri" panose="020F0502020204030204" pitchFamily="34" charset="0"/>
                <a:ea typeface="+mn-ea"/>
                <a:cs typeface="Times New Roman" charset="0"/>
              </a:rPr>
              <a:t>HI</a:t>
            </a:r>
          </a:p>
        </p:txBody>
      </p:sp>
      <p:sp>
        <p:nvSpPr>
          <p:cNvPr id="3186" name="Text Box 126"/>
          <p:cNvSpPr txBox="1">
            <a:spLocks noChangeArrowheads="1"/>
          </p:cNvSpPr>
          <p:nvPr/>
        </p:nvSpPr>
        <p:spPr bwMode="auto">
          <a:xfrm>
            <a:off x="174625" y="2976568"/>
            <a:ext cx="1493839" cy="718228"/>
          </a:xfrm>
          <a:prstGeom prst="rect">
            <a:avLst/>
          </a:prstGeom>
          <a:noFill/>
          <a:ln w="9525">
            <a:noFill/>
            <a:miter lim="800000"/>
            <a:headEnd/>
            <a:tailEnd/>
          </a:ln>
        </p:spPr>
        <p:txBody>
          <a:bodyPr lIns="101680" tIns="50841" rIns="101680" bIns="50841">
            <a:spAutoFit/>
          </a:bodyPr>
          <a:lstStyle/>
          <a:p>
            <a:pPr algn="l">
              <a:lnSpc>
                <a:spcPct val="100000"/>
              </a:lnSpc>
              <a:spcBef>
                <a:spcPct val="0"/>
              </a:spcBef>
              <a:buClrTx/>
            </a:pPr>
            <a:r>
              <a:rPr lang="en-US" sz="2000" dirty="0" smtClean="0">
                <a:solidFill>
                  <a:srgbClr val="667263"/>
                </a:solidFill>
                <a:latin typeface="Calibri" panose="020F0502020204030204" pitchFamily="34" charset="0"/>
                <a:ea typeface="+mn-ea"/>
                <a:cs typeface="Times New Roman" charset="0"/>
              </a:rPr>
              <a:t>West</a:t>
            </a:r>
          </a:p>
          <a:p>
            <a:pPr algn="l">
              <a:lnSpc>
                <a:spcPct val="100000"/>
              </a:lnSpc>
              <a:spcBef>
                <a:spcPct val="0"/>
              </a:spcBef>
              <a:buClrTx/>
            </a:pPr>
            <a:r>
              <a:rPr lang="en-US" sz="2000" dirty="0" smtClean="0">
                <a:solidFill>
                  <a:srgbClr val="000000"/>
                </a:solidFill>
                <a:latin typeface="Calibri" panose="020F0502020204030204" pitchFamily="34" charset="0"/>
                <a:ea typeface="+mn-ea"/>
                <a:cs typeface="Times New Roman" charset="0"/>
              </a:rPr>
              <a:t>Jim Sanchez</a:t>
            </a:r>
          </a:p>
        </p:txBody>
      </p:sp>
      <p:sp>
        <p:nvSpPr>
          <p:cNvPr id="3187" name="Text Box 127"/>
          <p:cNvSpPr txBox="1">
            <a:spLocks noChangeArrowheads="1"/>
          </p:cNvSpPr>
          <p:nvPr/>
        </p:nvSpPr>
        <p:spPr bwMode="auto">
          <a:xfrm>
            <a:off x="5847974" y="3828908"/>
            <a:ext cx="1677737" cy="718228"/>
          </a:xfrm>
          <a:prstGeom prst="rect">
            <a:avLst/>
          </a:prstGeom>
          <a:noFill/>
          <a:ln w="9525">
            <a:noFill/>
            <a:miter lim="800000"/>
            <a:headEnd/>
            <a:tailEnd/>
          </a:ln>
        </p:spPr>
        <p:txBody>
          <a:bodyPr wrap="none" lIns="101680" tIns="50841" rIns="101680" bIns="50841">
            <a:spAutoFit/>
          </a:bodyPr>
          <a:lstStyle/>
          <a:p>
            <a:pPr algn="l">
              <a:lnSpc>
                <a:spcPct val="100000"/>
              </a:lnSpc>
              <a:spcBef>
                <a:spcPct val="0"/>
              </a:spcBef>
              <a:buClrTx/>
            </a:pPr>
            <a:r>
              <a:rPr lang="en-US" sz="2000" dirty="0" smtClean="0">
                <a:solidFill>
                  <a:srgbClr val="3366FF"/>
                </a:solidFill>
                <a:latin typeface="Calibri" panose="020F0502020204030204" pitchFamily="34" charset="0"/>
                <a:ea typeface="+mn-ea"/>
                <a:cs typeface="Times New Roman" charset="0"/>
              </a:rPr>
              <a:t>       South</a:t>
            </a:r>
          </a:p>
          <a:p>
            <a:pPr algn="l">
              <a:lnSpc>
                <a:spcPct val="100000"/>
              </a:lnSpc>
              <a:spcBef>
                <a:spcPct val="0"/>
              </a:spcBef>
              <a:buClrTx/>
            </a:pPr>
            <a:r>
              <a:rPr lang="en-US" sz="2000" dirty="0" smtClean="0">
                <a:solidFill>
                  <a:srgbClr val="000000"/>
                </a:solidFill>
                <a:latin typeface="Calibri" panose="020F0502020204030204" pitchFamily="34" charset="0"/>
                <a:ea typeface="+mn-ea"/>
                <a:cs typeface="Times New Roman" charset="0"/>
              </a:rPr>
              <a:t> Heather Sklar</a:t>
            </a:r>
          </a:p>
        </p:txBody>
      </p:sp>
      <p:sp>
        <p:nvSpPr>
          <p:cNvPr id="3188" name="Text Box 128"/>
          <p:cNvSpPr txBox="1">
            <a:spLocks noChangeArrowheads="1"/>
          </p:cNvSpPr>
          <p:nvPr/>
        </p:nvSpPr>
        <p:spPr bwMode="auto">
          <a:xfrm>
            <a:off x="6164831" y="407695"/>
            <a:ext cx="2540000" cy="718228"/>
          </a:xfrm>
          <a:prstGeom prst="rect">
            <a:avLst/>
          </a:prstGeom>
          <a:noFill/>
          <a:ln w="9525">
            <a:noFill/>
            <a:miter lim="800000"/>
            <a:headEnd/>
            <a:tailEnd/>
          </a:ln>
        </p:spPr>
        <p:txBody>
          <a:bodyPr lIns="101680" tIns="50841" rIns="101680" bIns="50841">
            <a:spAutoFit/>
          </a:bodyPr>
          <a:lstStyle/>
          <a:p>
            <a:pPr algn="l">
              <a:lnSpc>
                <a:spcPct val="100000"/>
              </a:lnSpc>
              <a:spcBef>
                <a:spcPct val="0"/>
              </a:spcBef>
              <a:buClrTx/>
              <a:defRPr/>
            </a:pPr>
            <a:r>
              <a:rPr lang="en-US" sz="2000" dirty="0" smtClean="0">
                <a:solidFill>
                  <a:srgbClr val="FEAAAA">
                    <a:lumMod val="90000"/>
                  </a:srgbClr>
                </a:solidFill>
                <a:latin typeface="Calibri" panose="020F0502020204030204" pitchFamily="34" charset="0"/>
                <a:ea typeface="+mn-ea"/>
                <a:cs typeface="Times New Roman" charset="0"/>
              </a:rPr>
              <a:t>          </a:t>
            </a:r>
            <a:r>
              <a:rPr lang="en-US" sz="2000" dirty="0" smtClean="0">
                <a:solidFill>
                  <a:srgbClr val="0070C0"/>
                </a:solidFill>
                <a:latin typeface="Calibri" panose="020F0502020204030204" pitchFamily="34" charset="0"/>
                <a:ea typeface="+mn-ea"/>
                <a:cs typeface="Times New Roman" charset="0"/>
              </a:rPr>
              <a:t>Northeast</a:t>
            </a:r>
            <a:r>
              <a:rPr lang="en-US" sz="2000" dirty="0" smtClean="0">
                <a:solidFill>
                  <a:srgbClr val="000000"/>
                </a:solidFill>
                <a:latin typeface="Calibri" panose="020F0502020204030204" pitchFamily="34" charset="0"/>
                <a:ea typeface="+mn-ea"/>
                <a:cs typeface="Times New Roman" charset="0"/>
              </a:rPr>
              <a:t> </a:t>
            </a:r>
            <a:endParaRPr lang="en-US" sz="2000" dirty="0">
              <a:solidFill>
                <a:srgbClr val="000000"/>
              </a:solidFill>
              <a:latin typeface="Calibri" panose="020F0502020204030204" pitchFamily="34" charset="0"/>
              <a:ea typeface="+mn-ea"/>
              <a:cs typeface="Times New Roman" charset="0"/>
            </a:endParaRPr>
          </a:p>
          <a:p>
            <a:pPr algn="l">
              <a:lnSpc>
                <a:spcPct val="100000"/>
              </a:lnSpc>
              <a:spcBef>
                <a:spcPct val="0"/>
              </a:spcBef>
              <a:buClrTx/>
              <a:defRPr/>
            </a:pPr>
            <a:r>
              <a:rPr lang="en-US" sz="2000" dirty="0">
                <a:solidFill>
                  <a:srgbClr val="000000"/>
                </a:solidFill>
                <a:latin typeface="Calibri" panose="020F0502020204030204" pitchFamily="34" charset="0"/>
                <a:ea typeface="+mn-ea"/>
                <a:cs typeface="Times New Roman" charset="0"/>
              </a:rPr>
              <a:t>        Sarah Bobby</a:t>
            </a:r>
          </a:p>
        </p:txBody>
      </p:sp>
      <p:sp>
        <p:nvSpPr>
          <p:cNvPr id="3189" name="Text Box 129"/>
          <p:cNvSpPr txBox="1">
            <a:spLocks noChangeArrowheads="1"/>
          </p:cNvSpPr>
          <p:nvPr/>
        </p:nvSpPr>
        <p:spPr bwMode="auto">
          <a:xfrm>
            <a:off x="1933584" y="3617128"/>
            <a:ext cx="1675813" cy="1026005"/>
          </a:xfrm>
          <a:prstGeom prst="rect">
            <a:avLst/>
          </a:prstGeom>
          <a:noFill/>
          <a:ln w="9525">
            <a:noFill/>
            <a:miter lim="800000"/>
            <a:headEnd/>
            <a:tailEnd/>
          </a:ln>
        </p:spPr>
        <p:txBody>
          <a:bodyPr wrap="none" lIns="101680" tIns="50841" rIns="101680" bIns="50841">
            <a:spAutoFit/>
          </a:bodyPr>
          <a:lstStyle/>
          <a:p>
            <a:pPr algn="l">
              <a:lnSpc>
                <a:spcPct val="100000"/>
              </a:lnSpc>
              <a:spcBef>
                <a:spcPct val="0"/>
              </a:spcBef>
              <a:buClrTx/>
              <a:defRPr/>
            </a:pPr>
            <a:r>
              <a:rPr lang="en-US" sz="2000" dirty="0" smtClean="0">
                <a:solidFill>
                  <a:srgbClr val="FFCC00"/>
                </a:solidFill>
                <a:effectLst>
                  <a:outerShdw blurRad="38100" dist="38100" dir="2700000" algn="tl">
                    <a:srgbClr val="000000">
                      <a:alpha val="43137"/>
                    </a:srgbClr>
                  </a:outerShdw>
                </a:effectLst>
                <a:latin typeface="Calibri" panose="020F0502020204030204" pitchFamily="34" charset="0"/>
                <a:ea typeface="+mn-ea"/>
                <a:cs typeface="Times New Roman" charset="0"/>
              </a:rPr>
              <a:t>Rockies &amp;</a:t>
            </a:r>
          </a:p>
          <a:p>
            <a:pPr algn="l">
              <a:lnSpc>
                <a:spcPct val="100000"/>
              </a:lnSpc>
              <a:spcBef>
                <a:spcPct val="0"/>
              </a:spcBef>
              <a:buClrTx/>
              <a:defRPr/>
            </a:pPr>
            <a:r>
              <a:rPr lang="en-CA" sz="2000" dirty="0" smtClean="0">
                <a:solidFill>
                  <a:srgbClr val="FFCC00"/>
                </a:solidFill>
                <a:effectLst>
                  <a:outerShdw blurRad="38100" dist="38100" dir="2700000" algn="tl">
                    <a:srgbClr val="000000">
                      <a:alpha val="43137"/>
                    </a:srgbClr>
                  </a:outerShdw>
                </a:effectLst>
                <a:latin typeface="Calibri" panose="020F0502020204030204" pitchFamily="34" charset="0"/>
                <a:ea typeface="+mn-ea"/>
                <a:cs typeface="Times New Roman" charset="0"/>
              </a:rPr>
              <a:t>Central</a:t>
            </a:r>
            <a:endParaRPr lang="en-US" sz="2000" dirty="0">
              <a:solidFill>
                <a:srgbClr val="FFCC00"/>
              </a:solidFill>
              <a:effectLst>
                <a:outerShdw blurRad="38100" dist="38100" dir="2700000" algn="tl">
                  <a:srgbClr val="000000">
                    <a:alpha val="43137"/>
                  </a:srgbClr>
                </a:outerShdw>
              </a:effectLst>
              <a:latin typeface="Calibri" panose="020F0502020204030204" pitchFamily="34" charset="0"/>
              <a:ea typeface="+mn-ea"/>
              <a:cs typeface="Times New Roman" charset="0"/>
            </a:endParaRPr>
          </a:p>
          <a:p>
            <a:pPr algn="l">
              <a:lnSpc>
                <a:spcPct val="100000"/>
              </a:lnSpc>
              <a:spcBef>
                <a:spcPct val="0"/>
              </a:spcBef>
              <a:buClrTx/>
              <a:defRPr/>
            </a:pPr>
            <a:r>
              <a:rPr lang="en-US" sz="2000" dirty="0">
                <a:solidFill>
                  <a:srgbClr val="000000"/>
                </a:solidFill>
                <a:latin typeface="Calibri" panose="020F0502020204030204" pitchFamily="34" charset="0"/>
                <a:ea typeface="+mn-ea"/>
                <a:cs typeface="Times New Roman" charset="0"/>
              </a:rPr>
              <a:t>Julie Guerrero</a:t>
            </a:r>
          </a:p>
        </p:txBody>
      </p:sp>
      <p:sp>
        <p:nvSpPr>
          <p:cNvPr id="3190" name="Text Box 130"/>
          <p:cNvSpPr txBox="1">
            <a:spLocks noChangeArrowheads="1"/>
          </p:cNvSpPr>
          <p:nvPr/>
        </p:nvSpPr>
        <p:spPr bwMode="auto">
          <a:xfrm>
            <a:off x="1181189" y="160614"/>
            <a:ext cx="7254875" cy="533562"/>
          </a:xfrm>
          <a:prstGeom prst="rect">
            <a:avLst/>
          </a:prstGeom>
          <a:noFill/>
          <a:ln w="9525">
            <a:noFill/>
            <a:miter lim="800000"/>
            <a:headEnd/>
            <a:tailEnd/>
          </a:ln>
        </p:spPr>
        <p:txBody>
          <a:bodyPr lIns="101680" tIns="50841" rIns="101680" bIns="50841">
            <a:spAutoFit/>
          </a:bodyPr>
          <a:lstStyle/>
          <a:p>
            <a:pPr algn="l">
              <a:lnSpc>
                <a:spcPct val="100000"/>
              </a:lnSpc>
              <a:buClrTx/>
            </a:pPr>
            <a:r>
              <a:rPr lang="en-US" sz="2800" dirty="0" smtClean="0">
                <a:solidFill>
                  <a:srgbClr val="000000"/>
                </a:solidFill>
                <a:latin typeface="Calibri" panose="020F0502020204030204" pitchFamily="34" charset="0"/>
                <a:ea typeface="+mn-ea"/>
                <a:cs typeface="Times New Roman" charset="0"/>
              </a:rPr>
              <a:t>FY15 S&amp;L SW Channels Coverage Map</a:t>
            </a:r>
          </a:p>
        </p:txBody>
      </p:sp>
      <p:sp>
        <p:nvSpPr>
          <p:cNvPr id="3191" name="Text Box 132"/>
          <p:cNvSpPr txBox="1">
            <a:spLocks noChangeArrowheads="1"/>
          </p:cNvSpPr>
          <p:nvPr/>
        </p:nvSpPr>
        <p:spPr bwMode="auto">
          <a:xfrm>
            <a:off x="7707318" y="2878938"/>
            <a:ext cx="1436687" cy="656673"/>
          </a:xfrm>
          <a:prstGeom prst="rect">
            <a:avLst/>
          </a:prstGeom>
          <a:noFill/>
          <a:ln w="9525">
            <a:noFill/>
            <a:miter lim="800000"/>
            <a:headEnd/>
            <a:tailEnd/>
          </a:ln>
        </p:spPr>
        <p:txBody>
          <a:bodyPr lIns="101680" tIns="50841" rIns="101680" bIns="50841">
            <a:spAutoFit/>
          </a:bodyPr>
          <a:lstStyle/>
          <a:p>
            <a:pPr eaLnBrk="0" hangingPunct="0">
              <a:lnSpc>
                <a:spcPct val="100000"/>
              </a:lnSpc>
              <a:buClrTx/>
            </a:pPr>
            <a:r>
              <a:rPr lang="en-US" sz="1800" dirty="0" smtClean="0">
                <a:solidFill>
                  <a:srgbClr val="00FF00"/>
                </a:solidFill>
                <a:latin typeface="Calibri" panose="020F0502020204030204" pitchFamily="34" charset="0"/>
                <a:ea typeface="+mn-ea"/>
                <a:cs typeface="Times New Roman" charset="0"/>
              </a:rPr>
              <a:t>Mid-Atlantic</a:t>
            </a:r>
            <a:r>
              <a:rPr lang="en-US" sz="1800" dirty="0" smtClean="0">
                <a:solidFill>
                  <a:srgbClr val="000000"/>
                </a:solidFill>
                <a:latin typeface="Calibri" panose="020F0502020204030204" pitchFamily="34" charset="0"/>
                <a:ea typeface="+mn-ea"/>
                <a:cs typeface="Times New Roman" charset="0"/>
              </a:rPr>
              <a:t>  </a:t>
            </a:r>
          </a:p>
          <a:p>
            <a:pPr eaLnBrk="0" hangingPunct="0">
              <a:lnSpc>
                <a:spcPct val="100000"/>
              </a:lnSpc>
              <a:buClrTx/>
            </a:pPr>
            <a:r>
              <a:rPr lang="en-US" sz="1800" dirty="0" smtClean="0">
                <a:solidFill>
                  <a:srgbClr val="000000"/>
                </a:solidFill>
                <a:latin typeface="Calibri" panose="020F0502020204030204" pitchFamily="34" charset="0"/>
                <a:ea typeface="+mn-ea"/>
                <a:cs typeface="Times New Roman" charset="0"/>
              </a:rPr>
              <a:t> Jodi Thomas</a:t>
            </a:r>
          </a:p>
        </p:txBody>
      </p:sp>
      <p:sp>
        <p:nvSpPr>
          <p:cNvPr id="131" name="TextBox 130"/>
          <p:cNvSpPr txBox="1"/>
          <p:nvPr/>
        </p:nvSpPr>
        <p:spPr>
          <a:xfrm>
            <a:off x="1508106" y="4380329"/>
            <a:ext cx="3355406" cy="369332"/>
          </a:xfrm>
          <a:prstGeom prst="rect">
            <a:avLst/>
          </a:prstGeom>
          <a:noFill/>
        </p:spPr>
        <p:txBody>
          <a:bodyPr wrap="none" rtlCol="0">
            <a:spAutoFit/>
          </a:bodyPr>
          <a:lstStyle/>
          <a:p>
            <a:r>
              <a:rPr lang="en-CA" sz="1800" dirty="0" smtClean="0">
                <a:latin typeface="Calibri" panose="020F0502020204030204" pitchFamily="34" charset="0"/>
              </a:rPr>
              <a:t>Engineered Systems – Erin Ireland</a:t>
            </a:r>
            <a:endParaRPr lang="en-US" sz="1800" dirty="0">
              <a:latin typeface="Calibri" panose="020F050202020403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735546"/>
            <a:ext cx="8229600" cy="2808312"/>
          </a:xfrm>
        </p:spPr>
        <p:txBody>
          <a:bodyPr/>
          <a:lstStyle/>
          <a:p>
            <a:pPr marL="342795" indent="-342795">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795" indent="-342795">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795" indent="-342795">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16" name="圆角矩形 15">
            <a:hlinkClick r:id="rId3"/>
          </p:cNvPr>
          <p:cNvSpPr/>
          <p:nvPr/>
        </p:nvSpPr>
        <p:spPr>
          <a:xfrm>
            <a:off x="5148067" y="2832156"/>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a:r>
              <a:rPr lang="en-US" altLang="zh-CN" sz="1600" b="1" dirty="0">
                <a:solidFill>
                  <a:prstClr val="white"/>
                </a:solidFill>
                <a:latin typeface="微软雅黑"/>
                <a:cs typeface="Segoe UI" pitchFamily="34" charset="0"/>
              </a:rPr>
              <a:t>https://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5148067" y="3160568"/>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a:r>
              <a:rPr lang="en-US" altLang="zh-CN" sz="1600" b="1" dirty="0">
                <a:solidFill>
                  <a:prstClr val="white"/>
                </a:solidFill>
                <a:latin typeface="微软雅黑"/>
                <a:cs typeface="Segoe UI" pitchFamily="34" charset="0"/>
              </a:rPr>
              <a:t>https://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871354" y="2190877"/>
            <a:ext cx="7293930" cy="507807"/>
          </a:xfrm>
          <a:prstGeom prst="rect">
            <a:avLst/>
          </a:prstGeom>
        </p:spPr>
        <p:txBody>
          <a:bodyPr wrap="none" lIns="91413" tIns="45708" rIns="91413" bIns="45708">
            <a:spAutoFit/>
          </a:bodyPr>
          <a:lstStyle/>
          <a:p>
            <a:pPr defTabSz="914119" fontAlgn="base">
              <a:lnSpc>
                <a:spcPct val="150000"/>
              </a:lnSpc>
              <a:spcBef>
                <a:spcPct val="0"/>
              </a:spcBef>
              <a:spcAft>
                <a:spcPct val="0"/>
              </a:spcAft>
            </a:pPr>
            <a:r>
              <a:rPr lang="zh-CN" altLang="en-US" dirty="0">
                <a:solidFill>
                  <a:srgbClr val="4F81BD">
                    <a:lumMod val="75000"/>
                  </a:srgbClr>
                </a:solidFill>
                <a:latin typeface="微软雅黑"/>
                <a:cs typeface="Segoe UI" pitchFamily="34" charset="0"/>
              </a:rPr>
              <a:t>学习世界五百强和咨询公司</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课程请访问如下网站搜索：“司马懿”</a:t>
            </a:r>
          </a:p>
        </p:txBody>
      </p:sp>
      <p:sp>
        <p:nvSpPr>
          <p:cNvPr id="19" name="圆角矩形 18">
            <a:hlinkClick r:id="rId3"/>
          </p:cNvPr>
          <p:cNvSpPr/>
          <p:nvPr/>
        </p:nvSpPr>
        <p:spPr>
          <a:xfrm>
            <a:off x="5148067" y="3489852"/>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a:r>
              <a:rPr lang="en-US" altLang="zh-CN" sz="1600" b="1" dirty="0">
                <a:solidFill>
                  <a:prstClr val="white"/>
                </a:solidFill>
                <a:latin typeface="微软雅黑"/>
                <a:cs typeface="Segoe UI" pitchFamily="34" charset="0"/>
              </a:rPr>
              <a:t>https://www.zhiu.com</a:t>
            </a:r>
            <a:endParaRPr lang="zh-CN" altLang="en-US" sz="1600" b="1" dirty="0">
              <a:solidFill>
                <a:prstClr val="white"/>
              </a:solidFill>
              <a:latin typeface="微软雅黑"/>
              <a:cs typeface="Segoe UI" pitchFamily="34" charset="0"/>
            </a:endParaRPr>
          </a:p>
        </p:txBody>
      </p:sp>
      <p:sp>
        <p:nvSpPr>
          <p:cNvPr id="12" name="圆角矩形 11">
            <a:hlinkClick r:id="rId3"/>
          </p:cNvPr>
          <p:cNvSpPr/>
          <p:nvPr/>
        </p:nvSpPr>
        <p:spPr>
          <a:xfrm>
            <a:off x="537104" y="2832156"/>
            <a:ext cx="4525135"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a:r>
              <a:rPr lang="zh-CN" altLang="en-US" sz="1600" b="1" dirty="0">
                <a:solidFill>
                  <a:prstClr val="white"/>
                </a:solidFill>
                <a:latin typeface="微软雅黑"/>
                <a:cs typeface="Segoe UI" pitchFamily="34" charset="0"/>
              </a:rPr>
              <a:t>百度传课：司马懿</a:t>
            </a:r>
            <a:r>
              <a:rPr lang="en-US" altLang="zh-CN" sz="1600" b="1" dirty="0">
                <a:solidFill>
                  <a:prstClr val="white"/>
                </a:solidFill>
                <a:latin typeface="微软雅黑"/>
                <a:cs typeface="Segoe UI" pitchFamily="34" charset="0"/>
              </a:rPr>
              <a:t>PPT</a:t>
            </a:r>
            <a:r>
              <a:rPr lang="zh-CN" altLang="en-US" sz="1600" b="1" dirty="0">
                <a:solidFill>
                  <a:prstClr val="white"/>
                </a:solidFill>
                <a:latin typeface="微软雅黑"/>
                <a:cs typeface="Segoe UI" pitchFamily="34" charset="0"/>
              </a:rPr>
              <a:t>学校</a:t>
            </a:r>
          </a:p>
        </p:txBody>
      </p:sp>
      <p:sp>
        <p:nvSpPr>
          <p:cNvPr id="13" name="圆角矩形 12">
            <a:hlinkClick r:id="rId3"/>
          </p:cNvPr>
          <p:cNvSpPr/>
          <p:nvPr/>
        </p:nvSpPr>
        <p:spPr>
          <a:xfrm>
            <a:off x="537104" y="3160568"/>
            <a:ext cx="4525135"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a:r>
              <a:rPr lang="zh-CN" altLang="en-US" sz="1600" b="1" dirty="0">
                <a:solidFill>
                  <a:prstClr val="white"/>
                </a:solidFill>
                <a:latin typeface="微软雅黑"/>
                <a:cs typeface="Segoe UI" pitchFamily="34" charset="0"/>
              </a:rPr>
              <a:t>网易学堂：司马懿</a:t>
            </a:r>
            <a:r>
              <a:rPr lang="en-US" altLang="zh-CN" sz="1600" b="1" dirty="0">
                <a:solidFill>
                  <a:prstClr val="white"/>
                </a:solidFill>
                <a:latin typeface="微软雅黑"/>
                <a:cs typeface="Segoe UI" pitchFamily="34" charset="0"/>
              </a:rPr>
              <a:t>PPT</a:t>
            </a:r>
            <a:r>
              <a:rPr lang="zh-CN" altLang="en-US" sz="1600" b="1" dirty="0">
                <a:solidFill>
                  <a:prstClr val="white"/>
                </a:solidFill>
                <a:latin typeface="微软雅黑"/>
                <a:cs typeface="Segoe UI" pitchFamily="34" charset="0"/>
              </a:rPr>
              <a:t>学校</a:t>
            </a:r>
          </a:p>
        </p:txBody>
      </p:sp>
      <p:sp>
        <p:nvSpPr>
          <p:cNvPr id="14" name="圆角矩形 13">
            <a:hlinkClick r:id="rId3"/>
          </p:cNvPr>
          <p:cNvSpPr/>
          <p:nvPr/>
        </p:nvSpPr>
        <p:spPr>
          <a:xfrm>
            <a:off x="537104" y="3489852"/>
            <a:ext cx="4525135"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a:r>
              <a:rPr lang="zh-CN" altLang="en-US" sz="1600" b="1" dirty="0">
                <a:solidFill>
                  <a:prstClr val="white"/>
                </a:solidFill>
                <a:latin typeface="微软雅黑"/>
                <a:cs typeface="Segoe UI" pitchFamily="34" charset="0"/>
              </a:rPr>
              <a:t>知乎：       司马懿</a:t>
            </a:r>
            <a:r>
              <a:rPr lang="en-US" altLang="zh-CN" sz="1600" b="1" dirty="0">
                <a:solidFill>
                  <a:prstClr val="white"/>
                </a:solidFill>
                <a:latin typeface="微软雅黑"/>
                <a:cs typeface="Segoe UI" pitchFamily="34" charset="0"/>
              </a:rPr>
              <a:t>PPT</a:t>
            </a:r>
            <a:r>
              <a:rPr lang="zh-CN" altLang="en-US" sz="1600" b="1" dirty="0">
                <a:solidFill>
                  <a:prstClr val="white"/>
                </a:solidFill>
                <a:latin typeface="微软雅黑"/>
                <a:cs typeface="Segoe UI" pitchFamily="34" charset="0"/>
              </a:rPr>
              <a:t>学校</a:t>
            </a:r>
          </a:p>
        </p:txBody>
      </p:sp>
    </p:spTree>
    <p:extLst>
      <p:ext uri="{BB962C8B-B14F-4D97-AF65-F5344CB8AC3E}">
        <p14:creationId xmlns:p14="http://schemas.microsoft.com/office/powerpoint/2010/main" val="6216963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vestment in Innovation and Integration</a:t>
            </a:r>
            <a:endParaRPr lang="en-US" dirty="0"/>
          </a:p>
        </p:txBody>
      </p:sp>
      <p:grpSp>
        <p:nvGrpSpPr>
          <p:cNvPr id="3" name="Group 7"/>
          <p:cNvGrpSpPr/>
          <p:nvPr/>
        </p:nvGrpSpPr>
        <p:grpSpPr>
          <a:xfrm>
            <a:off x="5804983" y="1435694"/>
            <a:ext cx="3271661" cy="2337314"/>
            <a:chOff x="5804983" y="1435694"/>
            <a:chExt cx="3271661" cy="2337314"/>
          </a:xfrm>
        </p:grpSpPr>
        <p:cxnSp>
          <p:nvCxnSpPr>
            <p:cNvPr id="6" name="Straight Connector 5"/>
            <p:cNvCxnSpPr/>
            <p:nvPr/>
          </p:nvCxnSpPr>
          <p:spPr bwMode="auto">
            <a:xfrm>
              <a:off x="5804983" y="1435694"/>
              <a:ext cx="1" cy="2337314"/>
            </a:xfrm>
            <a:prstGeom prst="line">
              <a:avLst/>
            </a:prstGeom>
            <a:noFill/>
            <a:ln w="12700" cap="flat" cmpd="sng" algn="ctr">
              <a:solidFill>
                <a:schemeClr val="accent1"/>
              </a:solidFill>
              <a:prstDash val="solid"/>
              <a:round/>
              <a:headEnd type="none" w="med" len="med"/>
              <a:tailEnd type="none" w="med" len="med"/>
            </a:ln>
            <a:effectLst/>
          </p:spPr>
        </p:cxnSp>
        <p:sp>
          <p:nvSpPr>
            <p:cNvPr id="7" name="TextBox 6"/>
            <p:cNvSpPr txBox="1">
              <a:spLocks noChangeArrowheads="1"/>
            </p:cNvSpPr>
            <p:nvPr/>
          </p:nvSpPr>
          <p:spPr bwMode="auto">
            <a:xfrm>
              <a:off x="6043878" y="1848380"/>
              <a:ext cx="3032766" cy="1511942"/>
            </a:xfrm>
            <a:prstGeom prst="rect">
              <a:avLst/>
            </a:prstGeom>
            <a:noFill/>
            <a:ln w="9525">
              <a:noFill/>
              <a:miter lim="800000"/>
              <a:headEnd/>
              <a:tailEnd/>
            </a:ln>
          </p:spPr>
          <p:txBody>
            <a:bodyPr wrap="square" lIns="34281" tIns="17140" rIns="34281" bIns="17140" anchor="ctr">
              <a:spAutoFit/>
            </a:bodyPr>
            <a:lstStyle/>
            <a:p>
              <a:pPr>
                <a:spcBef>
                  <a:spcPts val="450"/>
                </a:spcBef>
              </a:pPr>
              <a:r>
                <a:rPr lang="en-US" sz="3200" b="1" cap="all" dirty="0" smtClean="0">
                  <a:gradFill>
                    <a:gsLst>
                      <a:gs pos="100000">
                        <a:srgbClr val="AA0000"/>
                      </a:gs>
                      <a:gs pos="0">
                        <a:srgbClr val="FF1414"/>
                      </a:gs>
                    </a:gsLst>
                    <a:lin ang="5400000" scaled="0"/>
                  </a:gradFill>
                  <a:cs typeface="Arial" pitchFamily="34" charset="0"/>
                </a:rPr>
                <a:t>MORE THAN </a:t>
              </a:r>
              <a:r>
                <a:rPr lang="en-US" sz="3200" b="1" cap="all" dirty="0" smtClean="0">
                  <a:solidFill>
                    <a:srgbClr val="000000"/>
                  </a:solidFill>
                  <a:cs typeface="Arial" pitchFamily="34" charset="0"/>
                </a:rPr>
                <a:t>$29B IN </a:t>
              </a:r>
              <a:r>
                <a:rPr lang="en-US" sz="3200" b="1" cap="all" dirty="0">
                  <a:solidFill>
                    <a:srgbClr val="000000"/>
                  </a:solidFill>
                  <a:cs typeface="Arial" pitchFamily="34" charset="0"/>
                </a:rPr>
                <a:t>R&amp;D SINCE 2004</a:t>
              </a:r>
            </a:p>
          </p:txBody>
        </p:sp>
      </p:grpSp>
      <p:graphicFrame>
        <p:nvGraphicFramePr>
          <p:cNvPr id="9" name="Chart 8"/>
          <p:cNvGraphicFramePr/>
          <p:nvPr/>
        </p:nvGraphicFramePr>
        <p:xfrm>
          <a:off x="324007" y="1423806"/>
          <a:ext cx="5245687" cy="240030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502920" y="4343400"/>
            <a:ext cx="1097280" cy="182880"/>
          </a:xfrm>
          <a:prstGeom prst="rect">
            <a:avLst/>
          </a:prstGeom>
        </p:spPr>
        <p:txBody>
          <a:bodyPr wrap="square" lIns="34279" tIns="17140" rIns="34279" bIns="17140">
            <a:noAutofit/>
          </a:bodyPr>
          <a:lstStyle/>
          <a:p>
            <a:r>
              <a:rPr lang="en-US" sz="1000" dirty="0" smtClean="0">
                <a:solidFill>
                  <a:srgbClr val="000000"/>
                </a:solidFill>
                <a:cs typeface="Arial" pitchFamily="34" charset="0"/>
              </a:rPr>
              <a:t>Figures in GAAP</a:t>
            </a:r>
            <a:endParaRPr lang="en-US" sz="1000" dirty="0">
              <a:solidFill>
                <a:srgbClr val="000000"/>
              </a:solidFill>
              <a:cs typeface="Arial" pitchFamily="34" charset="0"/>
            </a:endParaRP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Oracle Acquisitions</a:t>
            </a:r>
            <a:endParaRPr lang="en-US" dirty="0"/>
          </a:p>
        </p:txBody>
      </p:sp>
      <p:grpSp>
        <p:nvGrpSpPr>
          <p:cNvPr id="3" name="Group 150"/>
          <p:cNvGrpSpPr/>
          <p:nvPr/>
        </p:nvGrpSpPr>
        <p:grpSpPr>
          <a:xfrm>
            <a:off x="346309" y="770005"/>
            <a:ext cx="6685105" cy="3794761"/>
            <a:chOff x="346309" y="770005"/>
            <a:chExt cx="6685105" cy="3794761"/>
          </a:xfrm>
        </p:grpSpPr>
        <p:sp>
          <p:nvSpPr>
            <p:cNvPr id="17" name="Rectangle 16"/>
            <p:cNvSpPr/>
            <p:nvPr/>
          </p:nvSpPr>
          <p:spPr bwMode="auto">
            <a:xfrm>
              <a:off x="347471" y="770006"/>
              <a:ext cx="6683874" cy="3794760"/>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fontAlgn="base">
                <a:spcBef>
                  <a:spcPct val="0"/>
                </a:spcBef>
                <a:spcAft>
                  <a:spcPct val="0"/>
                </a:spcAft>
              </a:pPr>
              <a:endParaRPr lang="en-US" b="1" dirty="0">
                <a:solidFill>
                  <a:srgbClr val="000000"/>
                </a:solidFill>
                <a:cs typeface="Arial" pitchFamily="34" charset="0"/>
              </a:endParaRPr>
            </a:p>
          </p:txBody>
        </p:sp>
        <p:pic>
          <p:nvPicPr>
            <p:cNvPr id="24" name="Picture 23" descr="C:\Users\dave\AppData\Local\Temp\O_Communications_wht\O_Communications_clr.bm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929" y="947440"/>
              <a:ext cx="563147" cy="2400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C:\Users\dave\AppData\Local\Temp\O_FinancialServices_wht\O_FinancialServices_clr.bm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5092" y="947440"/>
              <a:ext cx="606611" cy="24003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C:\Users\dave\AppData\Local\Temp\O_Healthsciences_wht\O_Healthsciences_clr.bm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90549" y="947440"/>
              <a:ext cx="539525" cy="2400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C:\Users\dave\AppData\Local\Temp\O_Insurance_wht\O_Insurance_clr.bm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386" y="947440"/>
              <a:ext cx="496061" cy="2400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Users\dave\AppData\Local\Temp\O_Retail_wht\O_Retail_clr.bm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13726" y="947440"/>
              <a:ext cx="496061" cy="24003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Users\dave\AppData\Local\Temp\O_Utilities_wht\O_Utilities_clr.bm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97365" y="947440"/>
              <a:ext cx="496061" cy="24003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20"/>
            <p:cNvPicPr>
              <a:picLocks noChangeAspect="1" noChangeArrowheads="1"/>
            </p:cNvPicPr>
            <p:nvPr/>
          </p:nvPicPr>
          <p:blipFill>
            <a:blip r:embed="rId9" cstate="print"/>
            <a:stretch>
              <a:fillRect/>
            </a:stretch>
          </p:blipFill>
          <p:spPr bwMode="auto">
            <a:xfrm>
              <a:off x="2002445" y="1269347"/>
              <a:ext cx="348792" cy="165116"/>
            </a:xfrm>
            <a:prstGeom prst="rect">
              <a:avLst/>
            </a:prstGeom>
            <a:noFill/>
            <a:ln w="9525">
              <a:noFill/>
              <a:miter lim="800000"/>
              <a:headEnd/>
              <a:tailEnd/>
            </a:ln>
          </p:spPr>
        </p:pic>
        <p:pic>
          <p:nvPicPr>
            <p:cNvPr id="31" name="Picture 421" descr="logo"/>
            <p:cNvPicPr>
              <a:picLocks noChangeAspect="1" noChangeArrowheads="1"/>
            </p:cNvPicPr>
            <p:nvPr/>
          </p:nvPicPr>
          <p:blipFill>
            <a:blip r:embed="rId10" cstate="print"/>
            <a:stretch>
              <a:fillRect/>
            </a:stretch>
          </p:blipFill>
          <p:spPr bwMode="auto">
            <a:xfrm>
              <a:off x="2362672" y="1238985"/>
              <a:ext cx="480371" cy="189024"/>
            </a:xfrm>
            <a:prstGeom prst="rect">
              <a:avLst/>
            </a:prstGeom>
            <a:noFill/>
            <a:ln w="9525">
              <a:noFill/>
              <a:miter lim="800000"/>
              <a:headEnd/>
              <a:tailEnd/>
            </a:ln>
          </p:spPr>
        </p:pic>
        <p:pic>
          <p:nvPicPr>
            <p:cNvPr id="32" name="Picture 422" descr="logo"/>
            <p:cNvPicPr>
              <a:picLocks noChangeAspect="1" noChangeArrowheads="1"/>
            </p:cNvPicPr>
            <p:nvPr/>
          </p:nvPicPr>
          <p:blipFill>
            <a:blip r:embed="rId11" cstate="print"/>
            <a:stretch>
              <a:fillRect/>
            </a:stretch>
          </p:blipFill>
          <p:spPr bwMode="auto">
            <a:xfrm>
              <a:off x="2965095" y="1317113"/>
              <a:ext cx="507436" cy="150779"/>
            </a:xfrm>
            <a:prstGeom prst="rect">
              <a:avLst/>
            </a:prstGeom>
            <a:noFill/>
            <a:ln w="9525">
              <a:noFill/>
              <a:miter lim="800000"/>
              <a:headEnd/>
              <a:tailEnd/>
            </a:ln>
          </p:spPr>
        </p:pic>
        <p:pic>
          <p:nvPicPr>
            <p:cNvPr id="33" name="Picture 424"/>
            <p:cNvPicPr>
              <a:picLocks noChangeAspect="1" noChangeArrowheads="1"/>
            </p:cNvPicPr>
            <p:nvPr/>
          </p:nvPicPr>
          <p:blipFill>
            <a:blip r:embed="rId12" cstate="print"/>
            <a:stretch>
              <a:fillRect/>
            </a:stretch>
          </p:blipFill>
          <p:spPr bwMode="auto">
            <a:xfrm>
              <a:off x="4194564" y="1179700"/>
              <a:ext cx="441624" cy="86888"/>
            </a:xfrm>
            <a:prstGeom prst="rect">
              <a:avLst/>
            </a:prstGeom>
            <a:noFill/>
            <a:ln w="9525">
              <a:noFill/>
              <a:miter lim="800000"/>
              <a:headEnd/>
              <a:tailEnd/>
            </a:ln>
          </p:spPr>
        </p:pic>
        <p:pic>
          <p:nvPicPr>
            <p:cNvPr id="34" name="Picture 425" descr="sky_headerlogo"/>
            <p:cNvPicPr>
              <a:picLocks noChangeAspect="1" noChangeArrowheads="1"/>
            </p:cNvPicPr>
            <p:nvPr/>
          </p:nvPicPr>
          <p:blipFill>
            <a:blip r:embed="rId13" cstate="print"/>
            <a:stretch>
              <a:fillRect/>
            </a:stretch>
          </p:blipFill>
          <p:spPr bwMode="auto">
            <a:xfrm>
              <a:off x="4207019" y="1274252"/>
              <a:ext cx="467833" cy="271279"/>
            </a:xfrm>
            <a:prstGeom prst="rect">
              <a:avLst/>
            </a:prstGeom>
            <a:noFill/>
            <a:ln w="9525">
              <a:noFill/>
              <a:miter lim="800000"/>
              <a:headEnd/>
              <a:tailEnd/>
            </a:ln>
          </p:spPr>
        </p:pic>
        <p:pic>
          <p:nvPicPr>
            <p:cNvPr id="35" name="Picture 336" descr="oracle_retek_profit"/>
            <p:cNvPicPr>
              <a:picLocks noChangeAspect="1" noChangeArrowheads="1"/>
            </p:cNvPicPr>
            <p:nvPr/>
          </p:nvPicPr>
          <p:blipFill rotWithShape="1">
            <a:blip r:embed="rId14" cstate="print"/>
            <a:srcRect l="74103" r="5285"/>
            <a:stretch/>
          </p:blipFill>
          <p:spPr bwMode="auto">
            <a:xfrm>
              <a:off x="4918894" y="1299989"/>
              <a:ext cx="289442" cy="255111"/>
            </a:xfrm>
            <a:prstGeom prst="rect">
              <a:avLst/>
            </a:prstGeom>
            <a:noFill/>
            <a:ln w="9525">
              <a:noFill/>
              <a:miter lim="800000"/>
              <a:headEnd/>
              <a:tailEnd/>
            </a:ln>
          </p:spPr>
        </p:pic>
        <p:pic>
          <p:nvPicPr>
            <p:cNvPr id="36" name="Picture 428" descr="logo"/>
            <p:cNvPicPr>
              <a:picLocks noChangeAspect="1" noChangeArrowheads="1"/>
            </p:cNvPicPr>
            <p:nvPr/>
          </p:nvPicPr>
          <p:blipFill>
            <a:blip r:embed="rId15" cstate="print"/>
            <a:stretch>
              <a:fillRect/>
            </a:stretch>
          </p:blipFill>
          <p:spPr bwMode="auto">
            <a:xfrm>
              <a:off x="5340413" y="1202826"/>
              <a:ext cx="464278" cy="98621"/>
            </a:xfrm>
            <a:prstGeom prst="rect">
              <a:avLst/>
            </a:prstGeom>
            <a:noFill/>
            <a:ln w="9525">
              <a:noFill/>
              <a:miter lim="800000"/>
              <a:headEnd/>
              <a:tailEnd/>
            </a:ln>
          </p:spPr>
        </p:pic>
        <p:pic>
          <p:nvPicPr>
            <p:cNvPr id="37" name="Picture 429" descr="3d_rendered_web_logo"/>
            <p:cNvPicPr>
              <a:picLocks noChangeAspect="1" noChangeArrowheads="1"/>
            </p:cNvPicPr>
            <p:nvPr/>
          </p:nvPicPr>
          <p:blipFill>
            <a:blip r:embed="rId16" cstate="print"/>
            <a:stretch>
              <a:fillRect/>
            </a:stretch>
          </p:blipFill>
          <p:spPr bwMode="auto">
            <a:xfrm>
              <a:off x="5331039" y="1383311"/>
              <a:ext cx="483026" cy="105402"/>
            </a:xfrm>
            <a:prstGeom prst="rect">
              <a:avLst/>
            </a:prstGeom>
            <a:noFill/>
            <a:ln w="9525">
              <a:noFill/>
              <a:miter lim="800000"/>
              <a:headEnd/>
              <a:tailEnd/>
            </a:ln>
          </p:spPr>
        </p:pic>
        <p:pic>
          <p:nvPicPr>
            <p:cNvPr id="38" name="Picture 426" descr="logo"/>
            <p:cNvPicPr>
              <a:picLocks noChangeAspect="1" noChangeArrowheads="1"/>
            </p:cNvPicPr>
            <p:nvPr/>
          </p:nvPicPr>
          <p:blipFill>
            <a:blip r:embed="rId17" cstate="print"/>
            <a:stretch>
              <a:fillRect/>
            </a:stretch>
          </p:blipFill>
          <p:spPr bwMode="auto">
            <a:xfrm>
              <a:off x="6026553" y="1345061"/>
              <a:ext cx="593467" cy="162280"/>
            </a:xfrm>
            <a:prstGeom prst="rect">
              <a:avLst/>
            </a:prstGeom>
            <a:noFill/>
            <a:ln w="9525">
              <a:noFill/>
              <a:miter lim="800000"/>
              <a:headEnd/>
              <a:tailEnd/>
            </a:ln>
          </p:spPr>
        </p:pic>
        <p:pic>
          <p:nvPicPr>
            <p:cNvPr id="39" name="Picture 427"/>
            <p:cNvPicPr>
              <a:picLocks noChangeAspect="1" noChangeArrowheads="1"/>
            </p:cNvPicPr>
            <p:nvPr/>
          </p:nvPicPr>
          <p:blipFill>
            <a:blip r:embed="rId18" cstate="print"/>
            <a:stretch>
              <a:fillRect/>
            </a:stretch>
          </p:blipFill>
          <p:spPr bwMode="auto">
            <a:xfrm>
              <a:off x="6422918" y="1321984"/>
              <a:ext cx="404025" cy="109728"/>
            </a:xfrm>
            <a:prstGeom prst="rect">
              <a:avLst/>
            </a:prstGeom>
            <a:noFill/>
            <a:ln>
              <a:noFill/>
            </a:ln>
          </p:spPr>
        </p:pic>
        <p:pic>
          <p:nvPicPr>
            <p:cNvPr id="41" name="Picture 415" descr="portal_logo"/>
            <p:cNvPicPr>
              <a:picLocks noChangeAspect="1" noChangeArrowheads="1"/>
            </p:cNvPicPr>
            <p:nvPr/>
          </p:nvPicPr>
          <p:blipFill>
            <a:blip r:embed="rId19" cstate="print"/>
            <a:stretch>
              <a:fillRect/>
            </a:stretch>
          </p:blipFill>
          <p:spPr bwMode="auto">
            <a:xfrm>
              <a:off x="1622761" y="1445076"/>
              <a:ext cx="313683" cy="28235"/>
            </a:xfrm>
            <a:prstGeom prst="rect">
              <a:avLst/>
            </a:prstGeom>
            <a:noFill/>
            <a:ln w="9525">
              <a:noFill/>
              <a:miter lim="800000"/>
              <a:headEnd/>
              <a:tailEnd/>
            </a:ln>
          </p:spPr>
        </p:pic>
        <p:pic>
          <p:nvPicPr>
            <p:cNvPr id="42" name="Picture 416" descr="MetaSolv Software"/>
            <p:cNvPicPr>
              <a:picLocks noChangeAspect="1" noChangeArrowheads="1"/>
            </p:cNvPicPr>
            <p:nvPr/>
          </p:nvPicPr>
          <p:blipFill>
            <a:blip r:embed="rId20" cstate="print"/>
            <a:stretch>
              <a:fillRect/>
            </a:stretch>
          </p:blipFill>
          <p:spPr bwMode="auto">
            <a:xfrm>
              <a:off x="384378" y="1416638"/>
              <a:ext cx="364568" cy="72075"/>
            </a:xfrm>
            <a:prstGeom prst="rect">
              <a:avLst/>
            </a:prstGeom>
            <a:noFill/>
            <a:ln w="9525">
              <a:noFill/>
              <a:miter lim="800000"/>
              <a:headEnd/>
              <a:tailEnd/>
            </a:ln>
          </p:spPr>
        </p:pic>
        <p:pic>
          <p:nvPicPr>
            <p:cNvPr id="44" name="Picture 419" descr="hotsip_logo_180x35"/>
            <p:cNvPicPr>
              <a:picLocks noChangeAspect="1" noChangeArrowheads="1"/>
            </p:cNvPicPr>
            <p:nvPr/>
          </p:nvPicPr>
          <p:blipFill>
            <a:blip r:embed="rId21" cstate="print"/>
            <a:stretch>
              <a:fillRect/>
            </a:stretch>
          </p:blipFill>
          <p:spPr bwMode="auto">
            <a:xfrm>
              <a:off x="397121" y="1285994"/>
              <a:ext cx="370190" cy="72967"/>
            </a:xfrm>
            <a:prstGeom prst="rect">
              <a:avLst/>
            </a:prstGeom>
            <a:noFill/>
            <a:ln w="9525">
              <a:noFill/>
              <a:miter lim="800000"/>
              <a:headEnd/>
              <a:tailEnd/>
            </a:ln>
          </p:spPr>
        </p:pic>
        <p:pic>
          <p:nvPicPr>
            <p:cNvPr id="45" name="Picture 7" descr="sophoi_logo"/>
            <p:cNvPicPr>
              <a:picLocks noChangeAspect="1" noChangeArrowheads="1"/>
            </p:cNvPicPr>
            <p:nvPr/>
          </p:nvPicPr>
          <p:blipFill>
            <a:blip r:embed="rId22" cstate="print"/>
            <a:stretch>
              <a:fillRect/>
            </a:stretch>
          </p:blipFill>
          <p:spPr bwMode="auto">
            <a:xfrm>
              <a:off x="778047" y="1434473"/>
              <a:ext cx="414167" cy="42297"/>
            </a:xfrm>
            <a:prstGeom prst="rect">
              <a:avLst/>
            </a:prstGeom>
            <a:noFill/>
            <a:ln w="9525">
              <a:noFill/>
              <a:miter lim="800000"/>
              <a:headEnd/>
              <a:tailEnd/>
            </a:ln>
          </p:spPr>
        </p:pic>
        <p:pic>
          <p:nvPicPr>
            <p:cNvPr id="46" name="Picture 101" descr="convergin_logo.bmp                                             000C19D4Macintosh HD                   C5CC1302:"/>
            <p:cNvPicPr>
              <a:picLocks noChangeAspect="1" noChangeArrowheads="1"/>
            </p:cNvPicPr>
            <p:nvPr/>
          </p:nvPicPr>
          <p:blipFill>
            <a:blip r:embed="rId23" cstate="print"/>
            <a:stretch>
              <a:fillRect/>
            </a:stretch>
          </p:blipFill>
          <p:spPr bwMode="auto">
            <a:xfrm>
              <a:off x="408280" y="1157592"/>
              <a:ext cx="344741" cy="78590"/>
            </a:xfrm>
            <a:prstGeom prst="rect">
              <a:avLst/>
            </a:prstGeom>
            <a:noFill/>
            <a:ln>
              <a:noFill/>
            </a:ln>
          </p:spPr>
        </p:pic>
        <p:pic>
          <p:nvPicPr>
            <p:cNvPr id="47" name="Picture 4"/>
            <p:cNvPicPr>
              <a:picLocks noChangeAspect="1" noChangeArrowheads="1"/>
            </p:cNvPicPr>
            <p:nvPr/>
          </p:nvPicPr>
          <p:blipFill>
            <a:blip r:embed="rId24" cstate="print"/>
            <a:stretch>
              <a:fillRect/>
            </a:stretch>
          </p:blipFill>
          <p:spPr bwMode="auto">
            <a:xfrm>
              <a:off x="1221923" y="1425289"/>
              <a:ext cx="362705" cy="60459"/>
            </a:xfrm>
            <a:prstGeom prst="rect">
              <a:avLst/>
            </a:prstGeom>
            <a:noFill/>
            <a:ln w="9525">
              <a:noFill/>
              <a:miter lim="800000"/>
              <a:headEnd/>
              <a:tailEnd/>
            </a:ln>
            <a:effectLst/>
          </p:spPr>
        </p:pic>
        <p:pic>
          <p:nvPicPr>
            <p:cNvPr id="49" name="Picture 379" descr="logo_block_05"/>
            <p:cNvPicPr>
              <a:picLocks noChangeAspect="1" noChangeArrowheads="1"/>
            </p:cNvPicPr>
            <p:nvPr/>
          </p:nvPicPr>
          <p:blipFill rotWithShape="1">
            <a:blip r:embed="rId25" cstate="print"/>
            <a:srcRect l="63293" t="35398" r="3548" b="32275"/>
            <a:stretch/>
          </p:blipFill>
          <p:spPr bwMode="auto">
            <a:xfrm>
              <a:off x="2815692" y="3675328"/>
              <a:ext cx="373838" cy="117384"/>
            </a:xfrm>
            <a:prstGeom prst="rect">
              <a:avLst/>
            </a:prstGeom>
            <a:noFill/>
            <a:ln w="9525">
              <a:noFill/>
              <a:miter lim="800000"/>
              <a:headEnd/>
              <a:tailEnd/>
            </a:ln>
          </p:spPr>
        </p:pic>
        <p:pic>
          <p:nvPicPr>
            <p:cNvPr id="50" name="Picture 334" descr="BEA Logo"/>
            <p:cNvPicPr>
              <a:picLocks noChangeAspect="1" noChangeArrowheads="1"/>
            </p:cNvPicPr>
            <p:nvPr/>
          </p:nvPicPr>
          <p:blipFill rotWithShape="1">
            <a:blip r:embed="rId26" cstate="print"/>
            <a:srcRect b="28579"/>
            <a:stretch/>
          </p:blipFill>
          <p:spPr bwMode="auto">
            <a:xfrm>
              <a:off x="1129675" y="2427696"/>
              <a:ext cx="428033" cy="270714"/>
            </a:xfrm>
            <a:prstGeom prst="rect">
              <a:avLst/>
            </a:prstGeom>
            <a:noFill/>
            <a:ln w="9525">
              <a:noFill/>
              <a:miter lim="800000"/>
              <a:headEnd/>
              <a:tailEnd/>
            </a:ln>
          </p:spPr>
        </p:pic>
        <p:pic>
          <p:nvPicPr>
            <p:cNvPr id="51" name="Picture 344" descr="Go to fullsize image"/>
            <p:cNvPicPr>
              <a:picLocks noChangeAspect="1" noChangeArrowheads="1"/>
            </p:cNvPicPr>
            <p:nvPr/>
          </p:nvPicPr>
          <p:blipFill>
            <a:blip r:embed="rId27" cstate="print"/>
            <a:stretch>
              <a:fillRect/>
            </a:stretch>
          </p:blipFill>
          <p:spPr bwMode="auto">
            <a:xfrm>
              <a:off x="413429" y="2440542"/>
              <a:ext cx="153758" cy="248663"/>
            </a:xfrm>
            <a:prstGeom prst="rect">
              <a:avLst/>
            </a:prstGeom>
            <a:noFill/>
            <a:ln w="9525">
              <a:noFill/>
              <a:miter lim="800000"/>
              <a:headEnd/>
              <a:tailEnd/>
            </a:ln>
          </p:spPr>
        </p:pic>
        <p:pic>
          <p:nvPicPr>
            <p:cNvPr id="52" name="Picture 361"/>
            <p:cNvPicPr>
              <a:picLocks noChangeAspect="1" noChangeArrowheads="1"/>
            </p:cNvPicPr>
            <p:nvPr/>
          </p:nvPicPr>
          <p:blipFill>
            <a:blip r:embed="rId28" cstate="print"/>
            <a:stretch>
              <a:fillRect/>
            </a:stretch>
          </p:blipFill>
          <p:spPr bwMode="auto">
            <a:xfrm>
              <a:off x="588349" y="2611907"/>
              <a:ext cx="537098" cy="51275"/>
            </a:xfrm>
            <a:prstGeom prst="rect">
              <a:avLst/>
            </a:prstGeom>
            <a:noFill/>
            <a:ln w="9525">
              <a:noFill/>
              <a:miter lim="800000"/>
              <a:headEnd/>
              <a:tailEnd/>
            </a:ln>
          </p:spPr>
        </p:pic>
        <p:pic>
          <p:nvPicPr>
            <p:cNvPr id="53" name="Picture 439" descr="gg_logo"/>
            <p:cNvPicPr>
              <a:picLocks noChangeAspect="1" noChangeArrowheads="1"/>
            </p:cNvPicPr>
            <p:nvPr/>
          </p:nvPicPr>
          <p:blipFill>
            <a:blip r:embed="rId29" cstate="print"/>
            <a:stretch>
              <a:fillRect/>
            </a:stretch>
          </p:blipFill>
          <p:spPr bwMode="auto">
            <a:xfrm>
              <a:off x="1570069" y="2577290"/>
              <a:ext cx="501585" cy="151894"/>
            </a:xfrm>
            <a:prstGeom prst="rect">
              <a:avLst/>
            </a:prstGeom>
            <a:noFill/>
            <a:ln w="9525">
              <a:noFill/>
              <a:miter lim="800000"/>
              <a:headEnd/>
              <a:tailEnd/>
            </a:ln>
          </p:spPr>
        </p:pic>
        <p:pic>
          <p:nvPicPr>
            <p:cNvPr id="54" name="Picture 5" descr="silverCreek.jpg"/>
            <p:cNvPicPr>
              <a:picLocks noChangeAspect="1"/>
            </p:cNvPicPr>
            <p:nvPr/>
          </p:nvPicPr>
          <p:blipFill>
            <a:blip r:embed="rId30" cstate="print"/>
            <a:stretch>
              <a:fillRect/>
            </a:stretch>
          </p:blipFill>
          <p:spPr bwMode="auto">
            <a:xfrm>
              <a:off x="2665728" y="2487283"/>
              <a:ext cx="305968" cy="134345"/>
            </a:xfrm>
            <a:prstGeom prst="rect">
              <a:avLst/>
            </a:prstGeom>
            <a:noFill/>
            <a:ln>
              <a:noFill/>
            </a:ln>
          </p:spPr>
        </p:pic>
        <p:pic>
          <p:nvPicPr>
            <p:cNvPr id="55" name="Picture 356"/>
            <p:cNvPicPr>
              <a:picLocks noChangeAspect="1" noChangeArrowheads="1"/>
            </p:cNvPicPr>
            <p:nvPr/>
          </p:nvPicPr>
          <p:blipFill>
            <a:blip r:embed="rId31" cstate="print"/>
            <a:stretch>
              <a:fillRect/>
            </a:stretch>
          </p:blipFill>
          <p:spPr bwMode="auto">
            <a:xfrm>
              <a:off x="4011239" y="2614956"/>
              <a:ext cx="273057" cy="91031"/>
            </a:xfrm>
            <a:prstGeom prst="rect">
              <a:avLst/>
            </a:prstGeom>
            <a:noFill/>
            <a:ln w="9525">
              <a:noFill/>
              <a:miter lim="800000"/>
              <a:headEnd/>
              <a:tailEnd/>
            </a:ln>
          </p:spPr>
        </p:pic>
        <p:pic>
          <p:nvPicPr>
            <p:cNvPr id="56" name="Picture 357" descr="Thor_logo"/>
            <p:cNvPicPr>
              <a:picLocks noChangeAspect="1" noChangeArrowheads="1"/>
            </p:cNvPicPr>
            <p:nvPr/>
          </p:nvPicPr>
          <p:blipFill>
            <a:blip r:embed="rId32" cstate="print"/>
            <a:stretch>
              <a:fillRect/>
            </a:stretch>
          </p:blipFill>
          <p:spPr bwMode="auto">
            <a:xfrm>
              <a:off x="4001042" y="2462046"/>
              <a:ext cx="302685" cy="101879"/>
            </a:xfrm>
            <a:prstGeom prst="rect">
              <a:avLst/>
            </a:prstGeom>
            <a:noFill/>
            <a:ln w="9525">
              <a:noFill/>
              <a:miter lim="800000"/>
              <a:headEnd/>
              <a:tailEnd/>
            </a:ln>
          </p:spPr>
        </p:pic>
        <p:pic>
          <p:nvPicPr>
            <p:cNvPr id="57" name="Picture 358" descr="Bharosa_logo"/>
            <p:cNvPicPr>
              <a:picLocks noChangeAspect="1" noChangeArrowheads="1"/>
            </p:cNvPicPr>
            <p:nvPr/>
          </p:nvPicPr>
          <p:blipFill>
            <a:blip r:embed="rId33" cstate="print"/>
            <a:stretch>
              <a:fillRect/>
            </a:stretch>
          </p:blipFill>
          <p:spPr bwMode="auto">
            <a:xfrm>
              <a:off x="3564498" y="2473165"/>
              <a:ext cx="309988" cy="94802"/>
            </a:xfrm>
            <a:prstGeom prst="rect">
              <a:avLst/>
            </a:prstGeom>
            <a:noFill/>
            <a:ln w="9525">
              <a:noFill/>
              <a:miter lim="800000"/>
              <a:headEnd/>
              <a:tailEnd/>
            </a:ln>
          </p:spPr>
        </p:pic>
        <p:pic>
          <p:nvPicPr>
            <p:cNvPr id="58" name="Picture 359" descr="Bay logo"/>
            <p:cNvPicPr>
              <a:picLocks noChangeAspect="1" noChangeArrowheads="1"/>
            </p:cNvPicPr>
            <p:nvPr/>
          </p:nvPicPr>
          <p:blipFill rotWithShape="1">
            <a:blip r:embed="rId34" cstate="print"/>
            <a:srcRect l="4946" t="13860" b="19713"/>
            <a:stretch/>
          </p:blipFill>
          <p:spPr bwMode="auto">
            <a:xfrm>
              <a:off x="3551958" y="2600928"/>
              <a:ext cx="390431" cy="108514"/>
            </a:xfrm>
            <a:prstGeom prst="rect">
              <a:avLst/>
            </a:prstGeom>
            <a:noFill/>
            <a:ln w="9525">
              <a:noFill/>
              <a:miter lim="800000"/>
              <a:headEnd/>
              <a:tailEnd/>
            </a:ln>
          </p:spPr>
        </p:pic>
        <p:pic>
          <p:nvPicPr>
            <p:cNvPr id="59" name="Picture 360" descr="oracle_octet_rgb"/>
            <p:cNvPicPr>
              <a:picLocks noChangeAspect="1" noChangeArrowheads="1"/>
            </p:cNvPicPr>
            <p:nvPr/>
          </p:nvPicPr>
          <p:blipFill rotWithShape="1">
            <a:blip r:embed="rId35" cstate="print"/>
            <a:srcRect l="42386" t="9976" b="8709"/>
            <a:stretch/>
          </p:blipFill>
          <p:spPr bwMode="auto">
            <a:xfrm>
              <a:off x="3073546" y="2471033"/>
              <a:ext cx="412435" cy="71978"/>
            </a:xfrm>
            <a:prstGeom prst="rect">
              <a:avLst/>
            </a:prstGeom>
            <a:noFill/>
            <a:ln w="9525">
              <a:noFill/>
              <a:miter lim="800000"/>
              <a:headEnd/>
              <a:tailEnd/>
            </a:ln>
          </p:spPr>
        </p:pic>
        <p:pic>
          <p:nvPicPr>
            <p:cNvPr id="60" name="Picture 366" descr="Untitled-11"/>
            <p:cNvPicPr>
              <a:picLocks noChangeAspect="1" noChangeArrowheads="1"/>
            </p:cNvPicPr>
            <p:nvPr/>
          </p:nvPicPr>
          <p:blipFill>
            <a:blip r:embed="rId36" cstate="print"/>
            <a:stretch>
              <a:fillRect/>
            </a:stretch>
          </p:blipFill>
          <p:spPr bwMode="auto">
            <a:xfrm>
              <a:off x="4998380" y="2482023"/>
              <a:ext cx="641127" cy="118118"/>
            </a:xfrm>
            <a:prstGeom prst="rect">
              <a:avLst/>
            </a:prstGeom>
            <a:noFill/>
            <a:ln w="9525">
              <a:noFill/>
              <a:miter lim="800000"/>
              <a:headEnd/>
              <a:tailEnd/>
            </a:ln>
          </p:spPr>
        </p:pic>
        <p:pic>
          <p:nvPicPr>
            <p:cNvPr id="61" name="Picture 367" descr="IS_Logo"/>
            <p:cNvPicPr>
              <a:picLocks noChangeAspect="1" noChangeArrowheads="1"/>
            </p:cNvPicPr>
            <p:nvPr/>
          </p:nvPicPr>
          <p:blipFill>
            <a:blip r:embed="rId37" cstate="print"/>
            <a:stretch>
              <a:fillRect/>
            </a:stretch>
          </p:blipFill>
          <p:spPr bwMode="auto">
            <a:xfrm>
              <a:off x="4414625" y="2472597"/>
              <a:ext cx="506523" cy="132761"/>
            </a:xfrm>
            <a:prstGeom prst="rect">
              <a:avLst/>
            </a:prstGeom>
            <a:noFill/>
            <a:ln w="9525">
              <a:noFill/>
              <a:miter lim="800000"/>
              <a:headEnd/>
              <a:tailEnd/>
            </a:ln>
          </p:spPr>
        </p:pic>
        <p:pic>
          <p:nvPicPr>
            <p:cNvPr id="62" name="Picture 444" descr="logo_hyperroll"/>
            <p:cNvPicPr>
              <a:picLocks noChangeAspect="1" noChangeArrowheads="1"/>
            </p:cNvPicPr>
            <p:nvPr/>
          </p:nvPicPr>
          <p:blipFill rotWithShape="1">
            <a:blip r:embed="rId38" cstate="print"/>
            <a:srcRect t="-3119" b="23798"/>
            <a:stretch/>
          </p:blipFill>
          <p:spPr bwMode="auto">
            <a:xfrm>
              <a:off x="4825603" y="2607272"/>
              <a:ext cx="420930" cy="116334"/>
            </a:xfrm>
            <a:prstGeom prst="rect">
              <a:avLst/>
            </a:prstGeom>
            <a:noFill/>
            <a:ln w="9525">
              <a:noFill/>
              <a:miter lim="800000"/>
              <a:headEnd/>
              <a:tailEnd/>
            </a:ln>
          </p:spPr>
        </p:pic>
        <p:pic>
          <p:nvPicPr>
            <p:cNvPr id="63" name="Picture 346" descr="Stell_notag_color_M"/>
            <p:cNvPicPr>
              <a:picLocks noChangeAspect="1" noChangeArrowheads="1"/>
            </p:cNvPicPr>
            <p:nvPr/>
          </p:nvPicPr>
          <p:blipFill>
            <a:blip r:embed="rId39" cstate="print"/>
            <a:stretch>
              <a:fillRect/>
            </a:stretch>
          </p:blipFill>
          <p:spPr bwMode="auto">
            <a:xfrm>
              <a:off x="5803620" y="2451324"/>
              <a:ext cx="489632" cy="135659"/>
            </a:xfrm>
            <a:prstGeom prst="rect">
              <a:avLst/>
            </a:prstGeom>
            <a:noFill/>
            <a:ln w="9525">
              <a:noFill/>
              <a:miter lim="800000"/>
              <a:headEnd/>
              <a:tailEnd/>
            </a:ln>
          </p:spPr>
        </p:pic>
        <p:pic>
          <p:nvPicPr>
            <p:cNvPr id="64" name="Picture 369" descr="Context Media"/>
            <p:cNvPicPr>
              <a:picLocks noChangeAspect="1" noChangeArrowheads="1"/>
            </p:cNvPicPr>
            <p:nvPr/>
          </p:nvPicPr>
          <p:blipFill>
            <a:blip r:embed="rId40" cstate="print"/>
            <a:stretch>
              <a:fillRect/>
            </a:stretch>
          </p:blipFill>
          <p:spPr bwMode="auto">
            <a:xfrm>
              <a:off x="6497191" y="2402530"/>
              <a:ext cx="404718" cy="183559"/>
            </a:xfrm>
            <a:prstGeom prst="rect">
              <a:avLst/>
            </a:prstGeom>
            <a:noFill/>
            <a:ln w="9525">
              <a:noFill/>
              <a:miter lim="800000"/>
              <a:headEnd/>
              <a:tailEnd/>
            </a:ln>
          </p:spPr>
        </p:pic>
        <p:pic>
          <p:nvPicPr>
            <p:cNvPr id="65" name="Picture 370" descr="Image Preview"/>
            <p:cNvPicPr>
              <a:picLocks noChangeAspect="1" noChangeArrowheads="1"/>
            </p:cNvPicPr>
            <p:nvPr/>
          </p:nvPicPr>
          <p:blipFill>
            <a:blip r:embed="rId41" cstate="print"/>
            <a:stretch>
              <a:fillRect/>
            </a:stretch>
          </p:blipFill>
          <p:spPr bwMode="auto">
            <a:xfrm>
              <a:off x="5852892" y="2594967"/>
              <a:ext cx="401662" cy="114334"/>
            </a:xfrm>
            <a:prstGeom prst="rect">
              <a:avLst/>
            </a:prstGeom>
            <a:noFill/>
            <a:ln w="9525">
              <a:noFill/>
              <a:miter lim="800000"/>
              <a:headEnd/>
              <a:tailEnd/>
            </a:ln>
          </p:spPr>
        </p:pic>
        <p:pic>
          <p:nvPicPr>
            <p:cNvPr id="66" name="Picture 371"/>
            <p:cNvPicPr>
              <a:picLocks noChangeAspect="1" noChangeArrowheads="1"/>
            </p:cNvPicPr>
            <p:nvPr/>
          </p:nvPicPr>
          <p:blipFill rotWithShape="1">
            <a:blip r:embed="rId42" cstate="print"/>
            <a:srcRect l="48707" r="4155" b="7626"/>
            <a:stretch/>
          </p:blipFill>
          <p:spPr bwMode="auto">
            <a:xfrm>
              <a:off x="3125309" y="3007731"/>
              <a:ext cx="573938" cy="228444"/>
            </a:xfrm>
            <a:prstGeom prst="rect">
              <a:avLst/>
            </a:prstGeom>
            <a:noFill/>
            <a:ln w="12700">
              <a:noFill/>
              <a:miter lim="800000"/>
              <a:headEnd type="none" w="sm" len="sm"/>
              <a:tailEnd type="none" w="lg" len="lg"/>
            </a:ln>
          </p:spPr>
        </p:pic>
        <p:pic>
          <p:nvPicPr>
            <p:cNvPr id="67" name="Picture 372" descr="TT_TitleBar"/>
            <p:cNvPicPr>
              <a:picLocks noChangeAspect="1" noChangeArrowheads="1"/>
            </p:cNvPicPr>
            <p:nvPr/>
          </p:nvPicPr>
          <p:blipFill rotWithShape="1">
            <a:blip r:embed="rId43" cstate="print"/>
            <a:srcRect l="898" t="10594" r="83504"/>
            <a:stretch/>
          </p:blipFill>
          <p:spPr bwMode="auto">
            <a:xfrm>
              <a:off x="4011660" y="2987113"/>
              <a:ext cx="443070" cy="297176"/>
            </a:xfrm>
            <a:prstGeom prst="rect">
              <a:avLst/>
            </a:prstGeom>
            <a:noFill/>
            <a:ln w="9525">
              <a:noFill/>
              <a:miter lim="800000"/>
              <a:headEnd/>
              <a:tailEnd/>
            </a:ln>
          </p:spPr>
        </p:pic>
        <p:pic>
          <p:nvPicPr>
            <p:cNvPr id="68" name="Picture 373" descr="InnoDB"/>
            <p:cNvPicPr>
              <a:picLocks noChangeAspect="1" noChangeArrowheads="1"/>
            </p:cNvPicPr>
            <p:nvPr/>
          </p:nvPicPr>
          <p:blipFill>
            <a:blip r:embed="rId44" cstate="print"/>
            <a:stretch>
              <a:fillRect/>
            </a:stretch>
          </p:blipFill>
          <p:spPr bwMode="auto">
            <a:xfrm>
              <a:off x="2270259" y="3054774"/>
              <a:ext cx="553552" cy="145690"/>
            </a:xfrm>
            <a:prstGeom prst="rect">
              <a:avLst/>
            </a:prstGeom>
            <a:noFill/>
            <a:ln w="9525">
              <a:noFill/>
              <a:miter lim="800000"/>
              <a:headEnd/>
              <a:tailEnd/>
            </a:ln>
          </p:spPr>
        </p:pic>
        <p:pic>
          <p:nvPicPr>
            <p:cNvPr id="69" name="Picture 374" descr="TripleHop Technologies"/>
            <p:cNvPicPr>
              <a:picLocks noChangeAspect="1" noChangeArrowheads="1"/>
            </p:cNvPicPr>
            <p:nvPr/>
          </p:nvPicPr>
          <p:blipFill>
            <a:blip r:embed="rId45" cstate="print"/>
            <a:stretch>
              <a:fillRect/>
            </a:stretch>
          </p:blipFill>
          <p:spPr bwMode="auto">
            <a:xfrm>
              <a:off x="4783931" y="3069613"/>
              <a:ext cx="769009" cy="121973"/>
            </a:xfrm>
            <a:prstGeom prst="rect">
              <a:avLst/>
            </a:prstGeom>
            <a:noFill/>
            <a:ln w="9525">
              <a:noFill/>
              <a:miter lim="800000"/>
              <a:headEnd/>
              <a:tailEnd/>
            </a:ln>
          </p:spPr>
        </p:pic>
        <p:pic>
          <p:nvPicPr>
            <p:cNvPr id="70" name="Picture 345" descr="Logo-moniforce-com"/>
            <p:cNvPicPr>
              <a:picLocks noChangeAspect="1" noChangeArrowheads="1"/>
            </p:cNvPicPr>
            <p:nvPr/>
          </p:nvPicPr>
          <p:blipFill>
            <a:blip r:embed="rId46" cstate="print"/>
            <a:stretch>
              <a:fillRect/>
            </a:stretch>
          </p:blipFill>
          <p:spPr bwMode="auto">
            <a:xfrm>
              <a:off x="3427163" y="3631877"/>
              <a:ext cx="526404" cy="105811"/>
            </a:xfrm>
            <a:prstGeom prst="rect">
              <a:avLst/>
            </a:prstGeom>
            <a:noFill/>
            <a:ln w="9525">
              <a:noFill/>
              <a:miter lim="800000"/>
              <a:headEnd/>
              <a:tailEnd/>
            </a:ln>
          </p:spPr>
        </p:pic>
        <p:pic>
          <p:nvPicPr>
            <p:cNvPr id="71" name="Picture 376" descr="utls_item_hits_pkg"/>
            <p:cNvPicPr>
              <a:picLocks noChangeAspect="1" noChangeArrowheads="1"/>
            </p:cNvPicPr>
            <p:nvPr/>
          </p:nvPicPr>
          <p:blipFill>
            <a:blip r:embed="rId47" cstate="print"/>
            <a:stretch>
              <a:fillRect/>
            </a:stretch>
          </p:blipFill>
          <p:spPr bwMode="auto">
            <a:xfrm>
              <a:off x="2807861" y="3537701"/>
              <a:ext cx="404128" cy="101045"/>
            </a:xfrm>
            <a:prstGeom prst="rect">
              <a:avLst/>
            </a:prstGeom>
            <a:noFill/>
            <a:ln w="9525">
              <a:noFill/>
              <a:miter lim="800000"/>
              <a:headEnd/>
              <a:tailEnd/>
            </a:ln>
          </p:spPr>
        </p:pic>
        <p:pic>
          <p:nvPicPr>
            <p:cNvPr id="72" name="Picture 377" descr="Auptyma The Peak of Performance"/>
            <p:cNvPicPr>
              <a:picLocks noChangeAspect="1" noChangeArrowheads="1"/>
            </p:cNvPicPr>
            <p:nvPr/>
          </p:nvPicPr>
          <p:blipFill>
            <a:blip r:embed="rId48" cstate="print"/>
            <a:stretch>
              <a:fillRect/>
            </a:stretch>
          </p:blipFill>
          <p:spPr bwMode="auto">
            <a:xfrm>
              <a:off x="2742184" y="3792712"/>
              <a:ext cx="484432" cy="147079"/>
            </a:xfrm>
            <a:prstGeom prst="rect">
              <a:avLst/>
            </a:prstGeom>
            <a:noFill/>
            <a:ln w="9525">
              <a:noFill/>
              <a:miter lim="800000"/>
              <a:headEnd/>
              <a:tailEnd/>
            </a:ln>
          </p:spPr>
        </p:pic>
        <p:pic>
          <p:nvPicPr>
            <p:cNvPr id="73" name="Picture 380" descr="Virtual Iron"/>
            <p:cNvPicPr>
              <a:picLocks noChangeAspect="1" noChangeArrowheads="1"/>
            </p:cNvPicPr>
            <p:nvPr/>
          </p:nvPicPr>
          <p:blipFill>
            <a:blip r:embed="rId49" cstate="print"/>
            <a:stretch>
              <a:fillRect/>
            </a:stretch>
          </p:blipFill>
          <p:spPr bwMode="auto">
            <a:xfrm>
              <a:off x="5618156" y="3734853"/>
              <a:ext cx="537786" cy="81047"/>
            </a:xfrm>
            <a:prstGeom prst="rect">
              <a:avLst/>
            </a:prstGeom>
            <a:noFill/>
            <a:ln w="9525">
              <a:noFill/>
              <a:miter lim="800000"/>
              <a:headEnd/>
              <a:tailEnd/>
            </a:ln>
          </p:spPr>
        </p:pic>
        <p:pic>
          <p:nvPicPr>
            <p:cNvPr id="74" name="Picture 391" descr="ClearApp - Speed. Visibility. Control."/>
            <p:cNvPicPr>
              <a:picLocks noChangeAspect="1" noChangeArrowheads="1"/>
            </p:cNvPicPr>
            <p:nvPr/>
          </p:nvPicPr>
          <p:blipFill>
            <a:blip r:embed="rId50" cstate="print"/>
            <a:stretch>
              <a:fillRect/>
            </a:stretch>
          </p:blipFill>
          <p:spPr bwMode="auto">
            <a:xfrm>
              <a:off x="4237566" y="3545582"/>
              <a:ext cx="386835" cy="141605"/>
            </a:xfrm>
            <a:prstGeom prst="rect">
              <a:avLst/>
            </a:prstGeom>
            <a:noFill/>
            <a:ln w="9525">
              <a:noFill/>
              <a:miter lim="800000"/>
              <a:headEnd/>
              <a:tailEnd/>
            </a:ln>
          </p:spPr>
        </p:pic>
        <p:pic>
          <p:nvPicPr>
            <p:cNvPr id="75" name="Picture 5" descr="Sun_no_micro.bmp                                               00544195Macintosh HD                   C6C5A59D:"/>
            <p:cNvPicPr>
              <a:picLocks noChangeAspect="1" noChangeArrowheads="1"/>
            </p:cNvPicPr>
            <p:nvPr/>
          </p:nvPicPr>
          <p:blipFill>
            <a:blip r:embed="rId51" cstate="print"/>
            <a:stretch>
              <a:fillRect/>
            </a:stretch>
          </p:blipFill>
          <p:spPr bwMode="auto">
            <a:xfrm>
              <a:off x="1912100" y="4233028"/>
              <a:ext cx="656457" cy="234347"/>
            </a:xfrm>
            <a:prstGeom prst="rect">
              <a:avLst/>
            </a:prstGeom>
            <a:noFill/>
            <a:ln w="9525">
              <a:noFill/>
              <a:miter lim="800000"/>
              <a:headEnd/>
              <a:tailEnd/>
            </a:ln>
          </p:spPr>
        </p:pic>
        <p:pic>
          <p:nvPicPr>
            <p:cNvPr id="76" name="Picture 72" descr="Go to fullsize image"/>
            <p:cNvPicPr>
              <a:picLocks noChangeAspect="1" noChangeArrowheads="1"/>
            </p:cNvPicPr>
            <p:nvPr/>
          </p:nvPicPr>
          <p:blipFill>
            <a:blip r:embed="rId52" cstate="print"/>
            <a:stretch>
              <a:fillRect/>
            </a:stretch>
          </p:blipFill>
          <p:spPr bwMode="auto">
            <a:xfrm>
              <a:off x="741905" y="3638746"/>
              <a:ext cx="483216" cy="270636"/>
            </a:xfrm>
            <a:prstGeom prst="rect">
              <a:avLst/>
            </a:prstGeom>
            <a:noFill/>
            <a:ln w="9525">
              <a:noFill/>
              <a:miter lim="800000"/>
              <a:headEnd/>
              <a:tailEnd/>
            </a:ln>
          </p:spPr>
        </p:pic>
        <p:pic>
          <p:nvPicPr>
            <p:cNvPr id="77" name="Picture 71" descr="Go to fullsize image"/>
            <p:cNvPicPr>
              <a:picLocks noChangeAspect="1" noChangeArrowheads="1"/>
            </p:cNvPicPr>
            <p:nvPr/>
          </p:nvPicPr>
          <p:blipFill>
            <a:blip r:embed="rId53" cstate="print"/>
            <a:stretch>
              <a:fillRect/>
            </a:stretch>
          </p:blipFill>
          <p:spPr bwMode="auto">
            <a:xfrm>
              <a:off x="628819" y="3013136"/>
              <a:ext cx="440402" cy="254111"/>
            </a:xfrm>
            <a:prstGeom prst="rect">
              <a:avLst/>
            </a:prstGeom>
            <a:noFill/>
            <a:ln w="9525">
              <a:noFill/>
              <a:miter lim="800000"/>
              <a:headEnd/>
              <a:tailEnd/>
            </a:ln>
          </p:spPr>
        </p:pic>
        <p:pic>
          <p:nvPicPr>
            <p:cNvPr id="78" name="Picture 50"/>
            <p:cNvPicPr>
              <a:picLocks noChangeAspect="1" noChangeArrowheads="1"/>
            </p:cNvPicPr>
            <p:nvPr/>
          </p:nvPicPr>
          <p:blipFill>
            <a:blip r:embed="rId54" cstate="print"/>
            <a:stretch>
              <a:fillRect/>
            </a:stretch>
          </p:blipFill>
          <p:spPr bwMode="auto">
            <a:xfrm>
              <a:off x="2961795" y="4198778"/>
              <a:ext cx="572982" cy="305273"/>
            </a:xfrm>
            <a:prstGeom prst="rect">
              <a:avLst/>
            </a:prstGeom>
            <a:noFill/>
            <a:ln w="9525">
              <a:noFill/>
              <a:round/>
              <a:headEnd/>
              <a:tailEnd/>
            </a:ln>
          </p:spPr>
        </p:pic>
        <p:pic>
          <p:nvPicPr>
            <p:cNvPr id="79" name="Picture 27" descr="AmberPoint_logo_lg"/>
            <p:cNvPicPr>
              <a:picLocks noChangeAspect="1" noChangeArrowheads="1"/>
            </p:cNvPicPr>
            <p:nvPr/>
          </p:nvPicPr>
          <p:blipFill>
            <a:blip r:embed="rId55" cstate="print"/>
            <a:stretch>
              <a:fillRect/>
            </a:stretch>
          </p:blipFill>
          <p:spPr bwMode="auto">
            <a:xfrm>
              <a:off x="3464280" y="3845399"/>
              <a:ext cx="449815" cy="78348"/>
            </a:xfrm>
            <a:prstGeom prst="rect">
              <a:avLst/>
            </a:prstGeom>
            <a:noFill/>
            <a:ln w="9525">
              <a:noFill/>
              <a:miter lim="800000"/>
              <a:headEnd/>
              <a:tailEnd/>
            </a:ln>
          </p:spPr>
        </p:pic>
        <p:pic>
          <p:nvPicPr>
            <p:cNvPr id="80" name="Picture 6" descr="secern_logo_rgb_no-tagline-transparent"/>
            <p:cNvPicPr>
              <a:picLocks noChangeAspect="1" noChangeArrowheads="1"/>
            </p:cNvPicPr>
            <p:nvPr/>
          </p:nvPicPr>
          <p:blipFill>
            <a:blip r:embed="rId56" cstate="print"/>
            <a:stretch>
              <a:fillRect/>
            </a:stretch>
          </p:blipFill>
          <p:spPr bwMode="auto">
            <a:xfrm>
              <a:off x="5917367" y="3024773"/>
              <a:ext cx="841298" cy="218000"/>
            </a:xfrm>
            <a:prstGeom prst="rect">
              <a:avLst/>
            </a:prstGeom>
            <a:noFill/>
            <a:ln w="9525">
              <a:noFill/>
              <a:miter lim="800000"/>
              <a:headEnd/>
              <a:tailEnd/>
            </a:ln>
          </p:spPr>
        </p:pic>
        <p:pic>
          <p:nvPicPr>
            <p:cNvPr id="81" name="Picture 42" descr="passlogix-logo.jpg"/>
            <p:cNvPicPr>
              <a:picLocks noChangeAspect="1"/>
            </p:cNvPicPr>
            <p:nvPr/>
          </p:nvPicPr>
          <p:blipFill>
            <a:blip r:embed="rId57" cstate="print"/>
            <a:stretch>
              <a:fillRect/>
            </a:stretch>
          </p:blipFill>
          <p:spPr bwMode="auto">
            <a:xfrm>
              <a:off x="3117074" y="2612679"/>
              <a:ext cx="337317" cy="95585"/>
            </a:xfrm>
            <a:prstGeom prst="rect">
              <a:avLst/>
            </a:prstGeom>
            <a:noFill/>
            <a:ln w="9525">
              <a:noFill/>
              <a:miter lim="800000"/>
              <a:headEnd/>
              <a:tailEnd/>
            </a:ln>
          </p:spPr>
        </p:pic>
        <p:pic>
          <p:nvPicPr>
            <p:cNvPr id="82" name="Picture 2" descr="C:\Documents and Settings\gylau\Local Settings\Temporary Internet Files\Content.Outlook\PBH19SO7\datanomic.gif"/>
            <p:cNvPicPr>
              <a:picLocks noChangeAspect="1" noChangeArrowheads="1"/>
            </p:cNvPicPr>
            <p:nvPr/>
          </p:nvPicPr>
          <p:blipFill>
            <a:blip r:embed="rId58" cstate="print"/>
            <a:stretch>
              <a:fillRect/>
            </a:stretch>
          </p:blipFill>
          <p:spPr bwMode="auto">
            <a:xfrm>
              <a:off x="2455684" y="2628598"/>
              <a:ext cx="322557" cy="72431"/>
            </a:xfrm>
            <a:prstGeom prst="rect">
              <a:avLst/>
            </a:prstGeom>
            <a:noFill/>
          </p:spPr>
        </p:pic>
        <p:pic>
          <p:nvPicPr>
            <p:cNvPr id="83" name="Picture 4" descr="D:\Project Folders\fatwire\FatWire_LogoGRAYSW copy.jpg"/>
            <p:cNvPicPr>
              <a:picLocks noChangeAspect="1" noChangeArrowheads="1"/>
            </p:cNvPicPr>
            <p:nvPr/>
          </p:nvPicPr>
          <p:blipFill>
            <a:blip r:embed="rId59" cstate="print"/>
            <a:stretch>
              <a:fillRect/>
            </a:stretch>
          </p:blipFill>
          <p:spPr bwMode="auto">
            <a:xfrm>
              <a:off x="6382513" y="2594967"/>
              <a:ext cx="376288" cy="119174"/>
            </a:xfrm>
            <a:prstGeom prst="rect">
              <a:avLst/>
            </a:prstGeom>
            <a:noFill/>
          </p:spPr>
        </p:pic>
        <p:pic>
          <p:nvPicPr>
            <p:cNvPr id="84" name="Picture 2"/>
            <p:cNvPicPr>
              <a:picLocks noChangeAspect="1" noChangeArrowheads="1"/>
            </p:cNvPicPr>
            <p:nvPr/>
          </p:nvPicPr>
          <p:blipFill>
            <a:blip r:embed="rId60" cstate="print"/>
            <a:stretch>
              <a:fillRect/>
            </a:stretch>
          </p:blipFill>
          <p:spPr bwMode="auto">
            <a:xfrm>
              <a:off x="3926217" y="4180783"/>
              <a:ext cx="591000" cy="370170"/>
            </a:xfrm>
            <a:prstGeom prst="rect">
              <a:avLst/>
            </a:prstGeom>
            <a:noFill/>
            <a:ln w="9525">
              <a:noFill/>
              <a:miter lim="800000"/>
              <a:headEnd/>
              <a:tailEnd/>
            </a:ln>
          </p:spPr>
        </p:pic>
        <p:pic>
          <p:nvPicPr>
            <p:cNvPr id="85" name="Picture 84" descr="ksplice-logo"/>
            <p:cNvPicPr>
              <a:picLocks noChangeAspect="1" noChangeArrowheads="1"/>
            </p:cNvPicPr>
            <p:nvPr/>
          </p:nvPicPr>
          <p:blipFill>
            <a:blip r:embed="rId61" cstate="print"/>
            <a:stretch>
              <a:fillRect/>
            </a:stretch>
          </p:blipFill>
          <p:spPr bwMode="auto">
            <a:xfrm>
              <a:off x="4970871" y="3716356"/>
              <a:ext cx="403802" cy="128635"/>
            </a:xfrm>
            <a:prstGeom prst="rect">
              <a:avLst/>
            </a:prstGeom>
            <a:noFill/>
            <a:ln w="9525">
              <a:noFill/>
              <a:miter lim="800000"/>
              <a:headEnd/>
              <a:tailEnd/>
            </a:ln>
          </p:spPr>
        </p:pic>
        <p:sp>
          <p:nvSpPr>
            <p:cNvPr id="86" name="TextBox 85"/>
            <p:cNvSpPr txBox="1"/>
            <p:nvPr/>
          </p:nvSpPr>
          <p:spPr>
            <a:xfrm>
              <a:off x="3325630" y="2243906"/>
              <a:ext cx="726464" cy="203892"/>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Identity and Access</a:t>
              </a:r>
              <a:br>
                <a:rPr lang="en-US" sz="550" b="1" dirty="0" smtClean="0">
                  <a:solidFill>
                    <a:srgbClr val="FF0000"/>
                  </a:solidFill>
                  <a:cs typeface="Arial" pitchFamily="34" charset="0"/>
                </a:rPr>
              </a:br>
              <a:r>
                <a:rPr lang="en-US" sz="550" b="1" dirty="0" smtClean="0">
                  <a:solidFill>
                    <a:srgbClr val="FF0000"/>
                  </a:solidFill>
                  <a:cs typeface="Arial" pitchFamily="34" charset="0"/>
                </a:rPr>
                <a:t>Management</a:t>
              </a:r>
              <a:endParaRPr lang="en-US" sz="550" b="1" dirty="0">
                <a:solidFill>
                  <a:srgbClr val="FF0000"/>
                </a:solidFill>
                <a:cs typeface="Arial" pitchFamily="34" charset="0"/>
              </a:endParaRPr>
            </a:p>
          </p:txBody>
        </p:sp>
        <p:sp>
          <p:nvSpPr>
            <p:cNvPr id="87" name="TextBox 86"/>
            <p:cNvSpPr txBox="1"/>
            <p:nvPr/>
          </p:nvSpPr>
          <p:spPr>
            <a:xfrm>
              <a:off x="4776464" y="2243906"/>
              <a:ext cx="498837" cy="203892"/>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Performance</a:t>
              </a:r>
              <a:br>
                <a:rPr lang="en-US" sz="550" b="1" dirty="0" smtClean="0">
                  <a:solidFill>
                    <a:srgbClr val="FF0000"/>
                  </a:solidFill>
                  <a:cs typeface="Arial" pitchFamily="34" charset="0"/>
                </a:rPr>
              </a:br>
              <a:r>
                <a:rPr lang="en-US" sz="550" b="1" dirty="0" smtClean="0">
                  <a:solidFill>
                    <a:srgbClr val="FF0000"/>
                  </a:solidFill>
                  <a:cs typeface="Arial" pitchFamily="34" charset="0"/>
                </a:rPr>
                <a:t>Management</a:t>
              </a:r>
              <a:endParaRPr lang="en-US" sz="550" b="1" dirty="0">
                <a:solidFill>
                  <a:srgbClr val="FF0000"/>
                </a:solidFill>
                <a:cs typeface="Arial" pitchFamily="34" charset="0"/>
              </a:endParaRPr>
            </a:p>
          </p:txBody>
        </p:sp>
        <p:sp>
          <p:nvSpPr>
            <p:cNvPr id="88" name="TextBox 87"/>
            <p:cNvSpPr txBox="1"/>
            <p:nvPr/>
          </p:nvSpPr>
          <p:spPr>
            <a:xfrm>
              <a:off x="6011695" y="2243906"/>
              <a:ext cx="702418" cy="203892"/>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Enterprise Content</a:t>
              </a:r>
              <a:br>
                <a:rPr lang="en-US" sz="550" b="1" dirty="0" smtClean="0">
                  <a:solidFill>
                    <a:srgbClr val="FF0000"/>
                  </a:solidFill>
                  <a:cs typeface="Arial" pitchFamily="34" charset="0"/>
                </a:rPr>
              </a:br>
              <a:r>
                <a:rPr lang="en-US" sz="550" b="1" dirty="0" smtClean="0">
                  <a:solidFill>
                    <a:srgbClr val="FF0000"/>
                  </a:solidFill>
                  <a:cs typeface="Arial" pitchFamily="34" charset="0"/>
                </a:rPr>
                <a:t>Management</a:t>
              </a:r>
              <a:endParaRPr lang="en-US" sz="550" b="1" dirty="0">
                <a:solidFill>
                  <a:srgbClr val="FF0000"/>
                </a:solidFill>
                <a:cs typeface="Arial" pitchFamily="34" charset="0"/>
              </a:endParaRPr>
            </a:p>
          </p:txBody>
        </p:sp>
        <p:sp>
          <p:nvSpPr>
            <p:cNvPr id="89" name="TextBox 88"/>
            <p:cNvSpPr txBox="1"/>
            <p:nvPr/>
          </p:nvSpPr>
          <p:spPr>
            <a:xfrm>
              <a:off x="1908954" y="2243907"/>
              <a:ext cx="784172" cy="119253"/>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Business Intelligence</a:t>
              </a:r>
              <a:endParaRPr lang="en-US" sz="550" b="1" dirty="0">
                <a:solidFill>
                  <a:srgbClr val="FF0000"/>
                </a:solidFill>
                <a:cs typeface="Arial" pitchFamily="34" charset="0"/>
              </a:endParaRPr>
            </a:p>
          </p:txBody>
        </p:sp>
        <p:sp>
          <p:nvSpPr>
            <p:cNvPr id="90" name="TextBox 89"/>
            <p:cNvSpPr txBox="1"/>
            <p:nvPr/>
          </p:nvSpPr>
          <p:spPr>
            <a:xfrm>
              <a:off x="555717" y="2243906"/>
              <a:ext cx="755318" cy="203892"/>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Middleware Platform</a:t>
              </a:r>
            </a:p>
            <a:p>
              <a:pPr algn="ctr" fontAlgn="base">
                <a:spcBef>
                  <a:spcPct val="0"/>
                </a:spcBef>
                <a:spcAft>
                  <a:spcPct val="0"/>
                </a:spcAft>
              </a:pPr>
              <a:r>
                <a:rPr lang="en-US" sz="550" b="1" dirty="0" smtClean="0">
                  <a:solidFill>
                    <a:srgbClr val="FF0000"/>
                  </a:solidFill>
                  <a:cs typeface="Arial" pitchFamily="34" charset="0"/>
                </a:rPr>
                <a:t>and Management</a:t>
              </a:r>
              <a:endParaRPr lang="en-US" sz="550" b="1" dirty="0">
                <a:solidFill>
                  <a:srgbClr val="FF0000"/>
                </a:solidFill>
                <a:cs typeface="Arial" pitchFamily="34" charset="0"/>
              </a:endParaRPr>
            </a:p>
          </p:txBody>
        </p:sp>
        <p:pic>
          <p:nvPicPr>
            <p:cNvPr id="91" name="Picture 348" descr="Siebel-Systems-[Converted]"/>
            <p:cNvPicPr>
              <a:picLocks noChangeAspect="1" noChangeArrowheads="1"/>
            </p:cNvPicPr>
            <p:nvPr/>
          </p:nvPicPr>
          <p:blipFill>
            <a:blip r:embed="rId62" cstate="print"/>
            <a:stretch>
              <a:fillRect/>
            </a:stretch>
          </p:blipFill>
          <p:spPr bwMode="auto">
            <a:xfrm>
              <a:off x="2536844" y="2389161"/>
              <a:ext cx="424025" cy="64732"/>
            </a:xfrm>
            <a:prstGeom prst="rect">
              <a:avLst/>
            </a:prstGeom>
            <a:noFill/>
            <a:ln w="9525">
              <a:noFill/>
              <a:miter lim="800000"/>
              <a:headEnd/>
              <a:tailEnd/>
            </a:ln>
          </p:spPr>
        </p:pic>
        <p:cxnSp>
          <p:nvCxnSpPr>
            <p:cNvPr id="92" name="Straight Connector 91"/>
            <p:cNvCxnSpPr/>
            <p:nvPr/>
          </p:nvCxnSpPr>
          <p:spPr bwMode="auto">
            <a:xfrm>
              <a:off x="1564793" y="2309925"/>
              <a:ext cx="0" cy="395543"/>
            </a:xfrm>
            <a:prstGeom prst="line">
              <a:avLst/>
            </a:prstGeom>
            <a:noFill/>
            <a:ln w="6350" cap="flat" cmpd="sng" algn="ctr">
              <a:solidFill>
                <a:schemeClr val="accent2"/>
              </a:solidFill>
              <a:prstDash val="solid"/>
              <a:round/>
              <a:headEnd type="none" w="med" len="med"/>
              <a:tailEnd type="none" w="med" len="med"/>
            </a:ln>
            <a:effectLst/>
          </p:spPr>
        </p:cxnSp>
        <p:cxnSp>
          <p:nvCxnSpPr>
            <p:cNvPr id="93" name="Straight Connector 92"/>
            <p:cNvCxnSpPr/>
            <p:nvPr/>
          </p:nvCxnSpPr>
          <p:spPr bwMode="auto">
            <a:xfrm>
              <a:off x="3020351" y="2309925"/>
              <a:ext cx="0" cy="395543"/>
            </a:xfrm>
            <a:prstGeom prst="line">
              <a:avLst/>
            </a:prstGeom>
            <a:noFill/>
            <a:ln w="6350" cap="flat" cmpd="sng" algn="ctr">
              <a:solidFill>
                <a:schemeClr val="accent2"/>
              </a:solidFill>
              <a:prstDash val="solid"/>
              <a:round/>
              <a:headEnd type="none" w="med" len="med"/>
              <a:tailEnd type="none" w="med" len="med"/>
            </a:ln>
            <a:effectLst/>
          </p:spPr>
        </p:cxnSp>
        <p:cxnSp>
          <p:nvCxnSpPr>
            <p:cNvPr id="94" name="Straight Connector 93"/>
            <p:cNvCxnSpPr/>
            <p:nvPr/>
          </p:nvCxnSpPr>
          <p:spPr bwMode="auto">
            <a:xfrm>
              <a:off x="4357372" y="2309925"/>
              <a:ext cx="0" cy="395543"/>
            </a:xfrm>
            <a:prstGeom prst="line">
              <a:avLst/>
            </a:prstGeom>
            <a:noFill/>
            <a:ln w="6350" cap="flat" cmpd="sng" algn="ctr">
              <a:solidFill>
                <a:schemeClr val="accent2"/>
              </a:solidFill>
              <a:prstDash val="solid"/>
              <a:round/>
              <a:headEnd type="none" w="med" len="med"/>
              <a:tailEnd type="none" w="med" len="med"/>
            </a:ln>
            <a:effectLst/>
          </p:spPr>
        </p:cxnSp>
        <p:cxnSp>
          <p:nvCxnSpPr>
            <p:cNvPr id="95" name="Straight Connector 94"/>
            <p:cNvCxnSpPr/>
            <p:nvPr/>
          </p:nvCxnSpPr>
          <p:spPr bwMode="auto">
            <a:xfrm>
              <a:off x="5694393" y="2309925"/>
              <a:ext cx="0" cy="395543"/>
            </a:xfrm>
            <a:prstGeom prst="line">
              <a:avLst/>
            </a:prstGeom>
            <a:noFill/>
            <a:ln w="6350" cap="flat" cmpd="sng" algn="ctr">
              <a:solidFill>
                <a:schemeClr val="accent2"/>
              </a:solidFill>
              <a:prstDash val="solid"/>
              <a:round/>
              <a:headEnd type="none" w="med" len="med"/>
              <a:tailEnd type="none" w="med" len="med"/>
            </a:ln>
            <a:effectLst/>
          </p:spPr>
        </p:cxnSp>
        <p:cxnSp>
          <p:nvCxnSpPr>
            <p:cNvPr id="96" name="Straight Connector 95"/>
            <p:cNvCxnSpPr/>
            <p:nvPr/>
          </p:nvCxnSpPr>
          <p:spPr bwMode="auto">
            <a:xfrm>
              <a:off x="2575680" y="3537700"/>
              <a:ext cx="0" cy="395543"/>
            </a:xfrm>
            <a:prstGeom prst="line">
              <a:avLst/>
            </a:prstGeom>
            <a:noFill/>
            <a:ln w="6350" cap="flat" cmpd="sng" algn="ctr">
              <a:solidFill>
                <a:schemeClr val="accent2"/>
              </a:solidFill>
              <a:prstDash val="solid"/>
              <a:round/>
              <a:headEnd type="none" w="med" len="med"/>
              <a:tailEnd type="none" w="med" len="med"/>
            </a:ln>
            <a:effectLst/>
          </p:spPr>
        </p:cxnSp>
        <p:cxnSp>
          <p:nvCxnSpPr>
            <p:cNvPr id="97" name="Straight Connector 96"/>
            <p:cNvCxnSpPr/>
            <p:nvPr/>
          </p:nvCxnSpPr>
          <p:spPr bwMode="auto">
            <a:xfrm>
              <a:off x="4803888" y="3537700"/>
              <a:ext cx="0" cy="395543"/>
            </a:xfrm>
            <a:prstGeom prst="line">
              <a:avLst/>
            </a:prstGeom>
            <a:noFill/>
            <a:ln w="6350" cap="flat" cmpd="sng" algn="ctr">
              <a:solidFill>
                <a:schemeClr val="accent2"/>
              </a:solidFill>
              <a:prstDash val="solid"/>
              <a:round/>
              <a:headEnd type="none" w="med" len="med"/>
              <a:tailEnd type="none" w="med" len="med"/>
            </a:ln>
            <a:effectLst/>
          </p:spPr>
        </p:cxnSp>
        <p:pic>
          <p:nvPicPr>
            <p:cNvPr id="98" name="Picture 5" descr="Sun_no_micro.bmp                                               00544195Macintosh HD                   C6C5A59D:"/>
            <p:cNvPicPr>
              <a:picLocks noChangeAspect="1" noChangeArrowheads="1"/>
            </p:cNvPicPr>
            <p:nvPr/>
          </p:nvPicPr>
          <p:blipFill>
            <a:blip r:embed="rId51" cstate="print"/>
            <a:stretch>
              <a:fillRect/>
            </a:stretch>
          </p:blipFill>
          <p:spPr bwMode="auto">
            <a:xfrm>
              <a:off x="1606250" y="3706172"/>
              <a:ext cx="515263" cy="183942"/>
            </a:xfrm>
            <a:prstGeom prst="rect">
              <a:avLst/>
            </a:prstGeom>
            <a:noFill/>
            <a:ln w="9525">
              <a:noFill/>
              <a:miter lim="800000"/>
              <a:headEnd/>
              <a:tailEnd/>
            </a:ln>
          </p:spPr>
        </p:pic>
        <p:cxnSp>
          <p:nvCxnSpPr>
            <p:cNvPr id="99" name="Straight Connector 98"/>
            <p:cNvCxnSpPr/>
            <p:nvPr/>
          </p:nvCxnSpPr>
          <p:spPr bwMode="auto">
            <a:xfrm>
              <a:off x="1965960" y="979014"/>
              <a:ext cx="0" cy="519113"/>
            </a:xfrm>
            <a:prstGeom prst="line">
              <a:avLst/>
            </a:prstGeom>
            <a:noFill/>
            <a:ln w="6350" cap="flat" cmpd="sng" algn="ctr">
              <a:solidFill>
                <a:schemeClr val="accent2"/>
              </a:solidFill>
              <a:prstDash val="solid"/>
              <a:round/>
              <a:headEnd type="none" w="med" len="med"/>
              <a:tailEnd type="none" w="med" len="med"/>
            </a:ln>
            <a:effectLst/>
          </p:spPr>
        </p:cxnSp>
        <p:sp>
          <p:nvSpPr>
            <p:cNvPr id="100" name="TextBox 99"/>
            <p:cNvSpPr txBox="1"/>
            <p:nvPr/>
          </p:nvSpPr>
          <p:spPr>
            <a:xfrm>
              <a:off x="5590312" y="3505411"/>
              <a:ext cx="587001" cy="119253"/>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Virtual Machine</a:t>
              </a:r>
              <a:endParaRPr lang="en-US" sz="550" b="1" dirty="0">
                <a:solidFill>
                  <a:srgbClr val="FF0000"/>
                </a:solidFill>
                <a:cs typeface="Arial" pitchFamily="34" charset="0"/>
              </a:endParaRPr>
            </a:p>
          </p:txBody>
        </p:sp>
        <p:sp>
          <p:nvSpPr>
            <p:cNvPr id="101" name="TextBox 100"/>
            <p:cNvSpPr txBox="1"/>
            <p:nvPr/>
          </p:nvSpPr>
          <p:spPr>
            <a:xfrm>
              <a:off x="3287280" y="3505411"/>
              <a:ext cx="805010" cy="119253"/>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Systems Management</a:t>
              </a:r>
              <a:endParaRPr lang="en-US" sz="550" b="1" dirty="0">
                <a:solidFill>
                  <a:srgbClr val="FF0000"/>
                </a:solidFill>
                <a:cs typeface="Arial" pitchFamily="34" charset="0"/>
              </a:endParaRPr>
            </a:p>
          </p:txBody>
        </p:sp>
        <p:sp>
          <p:nvSpPr>
            <p:cNvPr id="102" name="TextBox 101"/>
            <p:cNvSpPr txBox="1"/>
            <p:nvPr/>
          </p:nvSpPr>
          <p:spPr>
            <a:xfrm>
              <a:off x="1127199" y="3505411"/>
              <a:ext cx="668755" cy="119253"/>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Operating System</a:t>
              </a:r>
              <a:endParaRPr lang="en-US" sz="550" b="1" dirty="0">
                <a:solidFill>
                  <a:srgbClr val="FF0000"/>
                </a:solidFill>
                <a:cs typeface="Arial" pitchFamily="34" charset="0"/>
              </a:endParaRPr>
            </a:p>
          </p:txBody>
        </p:sp>
        <p:pic>
          <p:nvPicPr>
            <p:cNvPr id="103" name="Picture 5" descr="Sun_no_micro.bmp                                               00544195Macintosh HD                   C6C5A59D:"/>
            <p:cNvPicPr>
              <a:picLocks noChangeAspect="1" noChangeArrowheads="1"/>
            </p:cNvPicPr>
            <p:nvPr/>
          </p:nvPicPr>
          <p:blipFill>
            <a:blip r:embed="rId51" cstate="print"/>
            <a:stretch>
              <a:fillRect/>
            </a:stretch>
          </p:blipFill>
          <p:spPr bwMode="auto">
            <a:xfrm>
              <a:off x="4199467" y="3753589"/>
              <a:ext cx="437299" cy="156110"/>
            </a:xfrm>
            <a:prstGeom prst="rect">
              <a:avLst/>
            </a:prstGeom>
            <a:noFill/>
            <a:ln w="9525">
              <a:noFill/>
              <a:miter lim="800000"/>
              <a:headEnd/>
              <a:tailEnd/>
            </a:ln>
          </p:spPr>
        </p:pic>
        <p:pic>
          <p:nvPicPr>
            <p:cNvPr id="104" name="Picture 5" descr="Sun_no_micro.bmp                                               00544195Macintosh HD                   C6C5A59D:"/>
            <p:cNvPicPr>
              <a:picLocks noChangeAspect="1" noChangeArrowheads="1"/>
            </p:cNvPicPr>
            <p:nvPr/>
          </p:nvPicPr>
          <p:blipFill>
            <a:blip r:embed="rId51" cstate="print"/>
            <a:stretch>
              <a:fillRect/>
            </a:stretch>
          </p:blipFill>
          <p:spPr bwMode="auto">
            <a:xfrm>
              <a:off x="6382513" y="3674833"/>
              <a:ext cx="446992" cy="159570"/>
            </a:xfrm>
            <a:prstGeom prst="rect">
              <a:avLst/>
            </a:prstGeom>
            <a:noFill/>
            <a:ln w="9525">
              <a:noFill/>
              <a:miter lim="800000"/>
              <a:headEnd/>
              <a:tailEnd/>
            </a:ln>
          </p:spPr>
        </p:pic>
        <p:sp>
          <p:nvSpPr>
            <p:cNvPr id="105" name="TextBox 104"/>
            <p:cNvSpPr txBox="1"/>
            <p:nvPr/>
          </p:nvSpPr>
          <p:spPr>
            <a:xfrm>
              <a:off x="1998944" y="2452981"/>
              <a:ext cx="604636" cy="119253"/>
            </a:xfrm>
            <a:prstGeom prst="rect">
              <a:avLst/>
            </a:prstGeom>
            <a:noFill/>
          </p:spPr>
          <p:txBody>
            <a:bodyPr wrap="none" lIns="34281" tIns="17140" rIns="34281" bIns="17140" rtlCol="0">
              <a:spAutoFit/>
            </a:bodyPr>
            <a:lstStyle/>
            <a:p>
              <a:pPr algn="ctr" fontAlgn="base">
                <a:spcBef>
                  <a:spcPct val="0"/>
                </a:spcBef>
                <a:spcAft>
                  <a:spcPct val="0"/>
                </a:spcAft>
              </a:pPr>
              <a:r>
                <a:rPr lang="en-US" sz="550" b="1" dirty="0" smtClean="0">
                  <a:solidFill>
                    <a:srgbClr val="FF0000"/>
                  </a:solidFill>
                  <a:cs typeface="Arial" pitchFamily="34" charset="0"/>
                </a:rPr>
                <a:t>Data Integration</a:t>
              </a:r>
              <a:endParaRPr lang="en-US" sz="550" b="1" dirty="0">
                <a:solidFill>
                  <a:srgbClr val="FF0000"/>
                </a:solidFill>
                <a:cs typeface="Arial" pitchFamily="34" charset="0"/>
              </a:endParaRPr>
            </a:p>
          </p:txBody>
        </p:sp>
        <p:pic>
          <p:nvPicPr>
            <p:cNvPr id="106" name="Picture 434" descr="logo"/>
            <p:cNvPicPr>
              <a:picLocks noChangeAspect="1" noChangeArrowheads="1"/>
            </p:cNvPicPr>
            <p:nvPr/>
          </p:nvPicPr>
          <p:blipFill>
            <a:blip r:embed="rId63" cstate="print"/>
            <a:stretch>
              <a:fillRect/>
            </a:stretch>
          </p:blipFill>
          <p:spPr bwMode="auto">
            <a:xfrm>
              <a:off x="2092726" y="2614270"/>
              <a:ext cx="297611" cy="79857"/>
            </a:xfrm>
            <a:prstGeom prst="rect">
              <a:avLst/>
            </a:prstGeom>
            <a:noFill/>
            <a:ln w="9525">
              <a:noFill/>
              <a:miter lim="800000"/>
              <a:headEnd/>
              <a:tailEnd/>
            </a:ln>
          </p:spPr>
        </p:pic>
        <p:pic>
          <p:nvPicPr>
            <p:cNvPr id="107" name="Picture 5" descr="Sun_no_micro.bmp                                               00544195Macintosh HD                   C6C5A59D:"/>
            <p:cNvPicPr>
              <a:picLocks noChangeAspect="1" noChangeArrowheads="1"/>
            </p:cNvPicPr>
            <p:nvPr/>
          </p:nvPicPr>
          <p:blipFill>
            <a:blip r:embed="rId51" cstate="print"/>
            <a:stretch>
              <a:fillRect/>
            </a:stretch>
          </p:blipFill>
          <p:spPr bwMode="auto">
            <a:xfrm>
              <a:off x="1415007" y="3025285"/>
              <a:ext cx="505464" cy="180444"/>
            </a:xfrm>
            <a:prstGeom prst="rect">
              <a:avLst/>
            </a:prstGeom>
            <a:noFill/>
            <a:ln w="9525">
              <a:noFill/>
              <a:miter lim="800000"/>
              <a:headEnd/>
              <a:tailEnd/>
            </a:ln>
          </p:spPr>
        </p:pic>
        <p:pic>
          <p:nvPicPr>
            <p:cNvPr id="108" name="Picture 2" descr="C:\Users\gylau\AppData\Local\Temp\7zO6BA.tmp\Endeca_no border.gif"/>
            <p:cNvPicPr>
              <a:picLocks noChangeAspect="1" noChangeArrowheads="1"/>
            </p:cNvPicPr>
            <p:nvPr/>
          </p:nvPicPr>
          <p:blipFill>
            <a:blip r:embed="rId64" cstate="print"/>
            <a:stretch>
              <a:fillRect/>
            </a:stretch>
          </p:blipFill>
          <p:spPr bwMode="auto">
            <a:xfrm>
              <a:off x="1637428" y="2302088"/>
              <a:ext cx="320975" cy="166200"/>
            </a:xfrm>
            <a:prstGeom prst="rect">
              <a:avLst/>
            </a:prstGeom>
            <a:noFill/>
          </p:spPr>
        </p:pic>
        <p:cxnSp>
          <p:nvCxnSpPr>
            <p:cNvPr id="109" name="Straight Connector 108"/>
            <p:cNvCxnSpPr/>
            <p:nvPr/>
          </p:nvCxnSpPr>
          <p:spPr bwMode="auto">
            <a:xfrm>
              <a:off x="2915584" y="980728"/>
              <a:ext cx="0" cy="519113"/>
            </a:xfrm>
            <a:prstGeom prst="line">
              <a:avLst/>
            </a:prstGeom>
            <a:noFill/>
            <a:ln w="6350" cap="flat" cmpd="sng" algn="ctr">
              <a:solidFill>
                <a:schemeClr val="accent2"/>
              </a:solidFill>
              <a:prstDash val="solid"/>
              <a:round/>
              <a:headEnd type="none" w="med" len="med"/>
              <a:tailEnd type="none" w="med" len="med"/>
            </a:ln>
            <a:effectLst/>
          </p:spPr>
        </p:cxnSp>
        <p:cxnSp>
          <p:nvCxnSpPr>
            <p:cNvPr id="110" name="Straight Connector 109"/>
            <p:cNvCxnSpPr/>
            <p:nvPr/>
          </p:nvCxnSpPr>
          <p:spPr bwMode="auto">
            <a:xfrm>
              <a:off x="4846320" y="980728"/>
              <a:ext cx="0" cy="519113"/>
            </a:xfrm>
            <a:prstGeom prst="line">
              <a:avLst/>
            </a:prstGeom>
            <a:noFill/>
            <a:ln w="6350" cap="flat" cmpd="sng" algn="ctr">
              <a:solidFill>
                <a:schemeClr val="accent2"/>
              </a:solidFill>
              <a:prstDash val="solid"/>
              <a:round/>
              <a:headEnd type="none" w="med" len="med"/>
              <a:tailEnd type="none" w="med" len="med"/>
            </a:ln>
            <a:effectLst/>
          </p:spPr>
        </p:cxnSp>
        <p:cxnSp>
          <p:nvCxnSpPr>
            <p:cNvPr id="111" name="Straight Connector 110"/>
            <p:cNvCxnSpPr/>
            <p:nvPr/>
          </p:nvCxnSpPr>
          <p:spPr bwMode="auto">
            <a:xfrm>
              <a:off x="5913667" y="980728"/>
              <a:ext cx="0" cy="519113"/>
            </a:xfrm>
            <a:prstGeom prst="line">
              <a:avLst/>
            </a:prstGeom>
            <a:noFill/>
            <a:ln w="6350" cap="flat" cmpd="sng" algn="ctr">
              <a:solidFill>
                <a:schemeClr val="accent2"/>
              </a:solidFill>
              <a:prstDash val="solid"/>
              <a:round/>
              <a:headEnd type="none" w="med" len="med"/>
              <a:tailEnd type="none" w="med" len="med"/>
            </a:ln>
            <a:effectLst/>
          </p:spPr>
        </p:cxnSp>
        <p:pic>
          <p:nvPicPr>
            <p:cNvPr id="112" name="Picture 111" descr="ClearTrial_logo_LG(2).jpg"/>
            <p:cNvPicPr>
              <a:picLocks noChangeAspect="1"/>
            </p:cNvPicPr>
            <p:nvPr/>
          </p:nvPicPr>
          <p:blipFill>
            <a:blip r:embed="rId65" cstate="print"/>
            <a:stretch>
              <a:fillRect/>
            </a:stretch>
          </p:blipFill>
          <p:spPr>
            <a:xfrm>
              <a:off x="3515648" y="1229039"/>
              <a:ext cx="452436" cy="301624"/>
            </a:xfrm>
            <a:prstGeom prst="rect">
              <a:avLst/>
            </a:prstGeom>
          </p:spPr>
        </p:pic>
        <p:pic>
          <p:nvPicPr>
            <p:cNvPr id="113" name="Picture 104" descr="PhaseForwardv8LogoCMYk.eps"/>
            <p:cNvPicPr>
              <a:picLocks noChangeAspect="1"/>
            </p:cNvPicPr>
            <p:nvPr/>
          </p:nvPicPr>
          <p:blipFill>
            <a:blip r:embed="rId66" cstate="print"/>
            <a:stretch>
              <a:fillRect/>
            </a:stretch>
          </p:blipFill>
          <p:spPr bwMode="auto">
            <a:xfrm>
              <a:off x="3047763" y="1232208"/>
              <a:ext cx="558766" cy="47226"/>
            </a:xfrm>
            <a:prstGeom prst="rect">
              <a:avLst/>
            </a:prstGeom>
            <a:noFill/>
            <a:ln w="9525">
              <a:noFill/>
              <a:miter lim="800000"/>
              <a:headEnd/>
              <a:tailEnd/>
            </a:ln>
          </p:spPr>
        </p:pic>
        <p:cxnSp>
          <p:nvCxnSpPr>
            <p:cNvPr id="114" name="Straight Connector 113"/>
            <p:cNvCxnSpPr/>
            <p:nvPr/>
          </p:nvCxnSpPr>
          <p:spPr bwMode="auto">
            <a:xfrm>
              <a:off x="3995302" y="980728"/>
              <a:ext cx="0" cy="519113"/>
            </a:xfrm>
            <a:prstGeom prst="line">
              <a:avLst/>
            </a:prstGeom>
            <a:noFill/>
            <a:ln w="6350" cap="flat" cmpd="sng" algn="ctr">
              <a:solidFill>
                <a:schemeClr val="accent2"/>
              </a:solidFill>
              <a:prstDash val="solid"/>
              <a:round/>
              <a:headEnd type="none" w="med" len="med"/>
              <a:tailEnd type="none" w="med" len="med"/>
            </a:ln>
            <a:effectLst/>
          </p:spPr>
        </p:cxnSp>
        <p:cxnSp>
          <p:nvCxnSpPr>
            <p:cNvPr id="134" name="Straight Connector 133"/>
            <p:cNvCxnSpPr/>
            <p:nvPr/>
          </p:nvCxnSpPr>
          <p:spPr bwMode="auto">
            <a:xfrm>
              <a:off x="375749" y="1536606"/>
              <a:ext cx="6626225" cy="0"/>
            </a:xfrm>
            <a:prstGeom prst="line">
              <a:avLst/>
            </a:prstGeom>
            <a:noFill/>
            <a:ln w="6350" cap="flat" cmpd="sng" algn="ctr">
              <a:solidFill>
                <a:schemeClr val="accent2"/>
              </a:solidFill>
              <a:prstDash val="solid"/>
              <a:round/>
              <a:headEnd type="none" w="med" len="med"/>
              <a:tailEnd type="none" w="med" len="med"/>
            </a:ln>
            <a:effectLst/>
          </p:spPr>
        </p:cxnSp>
        <p:pic>
          <p:nvPicPr>
            <p:cNvPr id="148" name="Picture 2" descr="C:\Users\nyuan\Desktop\Xenon\Comms\logo-high-res.jpg"/>
            <p:cNvPicPr>
              <a:picLocks noChangeAspect="1" noChangeArrowheads="1"/>
            </p:cNvPicPr>
            <p:nvPr/>
          </p:nvPicPr>
          <p:blipFill>
            <a:blip r:embed="rId67" cstate="print"/>
            <a:srcRect/>
            <a:stretch>
              <a:fillRect/>
            </a:stretch>
          </p:blipFill>
          <p:spPr bwMode="auto">
            <a:xfrm>
              <a:off x="4936015" y="4236351"/>
              <a:ext cx="457200" cy="199347"/>
            </a:xfrm>
            <a:prstGeom prst="rect">
              <a:avLst/>
            </a:prstGeom>
            <a:noFill/>
          </p:spPr>
        </p:pic>
        <p:pic>
          <p:nvPicPr>
            <p:cNvPr id="150" name="Picture 335" descr="reteklogo"/>
            <p:cNvPicPr>
              <a:picLocks noChangeAspect="1" noChangeArrowheads="1"/>
            </p:cNvPicPr>
            <p:nvPr/>
          </p:nvPicPr>
          <p:blipFill rotWithShape="1">
            <a:blip r:embed="rId68" cstate="print"/>
            <a:srcRect l="51741"/>
            <a:stretch/>
          </p:blipFill>
          <p:spPr bwMode="auto">
            <a:xfrm>
              <a:off x="4990268" y="1146728"/>
              <a:ext cx="146694" cy="176631"/>
            </a:xfrm>
            <a:prstGeom prst="rect">
              <a:avLst/>
            </a:prstGeom>
            <a:noFill/>
            <a:ln w="9525">
              <a:noFill/>
              <a:miter lim="800000"/>
              <a:headEnd/>
              <a:tailEnd/>
            </a:ln>
          </p:spPr>
        </p:pic>
        <p:pic>
          <p:nvPicPr>
            <p:cNvPr id="153" name="Picture 152" descr="DataRaker_Logo_final.gif"/>
            <p:cNvPicPr>
              <a:picLocks noChangeAspect="1"/>
            </p:cNvPicPr>
            <p:nvPr/>
          </p:nvPicPr>
          <p:blipFill>
            <a:blip r:embed="rId69" cstate="print"/>
            <a:stretch>
              <a:fillRect/>
            </a:stretch>
          </p:blipFill>
          <p:spPr>
            <a:xfrm>
              <a:off x="5951777" y="1149809"/>
              <a:ext cx="565785" cy="164592"/>
            </a:xfrm>
            <a:prstGeom prst="rect">
              <a:avLst/>
            </a:prstGeom>
          </p:spPr>
        </p:pic>
        <p:sp>
          <p:nvSpPr>
            <p:cNvPr id="156" name="Rectangle 155"/>
            <p:cNvSpPr/>
            <p:nvPr/>
          </p:nvSpPr>
          <p:spPr bwMode="auto">
            <a:xfrm>
              <a:off x="346309" y="770005"/>
              <a:ext cx="6685105" cy="177435"/>
            </a:xfrm>
            <a:prstGeom prst="rect">
              <a:avLst/>
            </a:prstGeom>
            <a:gradFill flip="none" rotWithShape="1">
              <a:gsLst>
                <a:gs pos="0">
                  <a:srgbClr val="AA0000"/>
                </a:gs>
                <a:gs pos="100000">
                  <a:schemeClr val="accent1"/>
                </a:gs>
              </a:gsLst>
              <a:lin ang="16200000" scaled="1"/>
              <a:tileRect/>
            </a:gra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fontAlgn="base">
                <a:spcBef>
                  <a:spcPct val="0"/>
                </a:spcBef>
                <a:spcAft>
                  <a:spcPct val="0"/>
                </a:spcAft>
              </a:pPr>
              <a:endParaRPr lang="en-US" b="1" dirty="0">
                <a:solidFill>
                  <a:srgbClr val="000000"/>
                </a:solidFill>
                <a:cs typeface="Arial" pitchFamily="34" charset="0"/>
              </a:endParaRPr>
            </a:p>
          </p:txBody>
        </p:sp>
        <p:sp>
          <p:nvSpPr>
            <p:cNvPr id="157" name="Rectangle 156"/>
            <p:cNvSpPr/>
            <p:nvPr/>
          </p:nvSpPr>
          <p:spPr bwMode="auto">
            <a:xfrm>
              <a:off x="346309" y="2769766"/>
              <a:ext cx="6685105" cy="177435"/>
            </a:xfrm>
            <a:prstGeom prst="rect">
              <a:avLst/>
            </a:prstGeom>
            <a:gradFill flip="none" rotWithShape="1">
              <a:gsLst>
                <a:gs pos="0">
                  <a:srgbClr val="AA0000"/>
                </a:gs>
                <a:gs pos="100000">
                  <a:schemeClr val="accent1"/>
                </a:gs>
              </a:gsLst>
              <a:lin ang="16200000" scaled="1"/>
              <a:tileRect/>
            </a:gra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fontAlgn="base">
                <a:spcBef>
                  <a:spcPct val="0"/>
                </a:spcBef>
                <a:spcAft>
                  <a:spcPct val="0"/>
                </a:spcAft>
              </a:pPr>
              <a:endParaRPr lang="en-US" b="1" dirty="0">
                <a:solidFill>
                  <a:srgbClr val="000000"/>
                </a:solidFill>
                <a:cs typeface="Arial" pitchFamily="34" charset="0"/>
              </a:endParaRPr>
            </a:p>
          </p:txBody>
        </p:sp>
        <p:sp>
          <p:nvSpPr>
            <p:cNvPr id="158" name="Rectangle 157"/>
            <p:cNvSpPr/>
            <p:nvPr/>
          </p:nvSpPr>
          <p:spPr bwMode="auto">
            <a:xfrm>
              <a:off x="346310" y="3336387"/>
              <a:ext cx="6685104" cy="177435"/>
            </a:xfrm>
            <a:prstGeom prst="rect">
              <a:avLst/>
            </a:prstGeom>
            <a:gradFill flip="none" rotWithShape="1">
              <a:gsLst>
                <a:gs pos="0">
                  <a:srgbClr val="AA0000"/>
                </a:gs>
                <a:gs pos="100000">
                  <a:schemeClr val="accent1"/>
                </a:gs>
              </a:gsLst>
              <a:lin ang="16200000" scaled="1"/>
              <a:tileRect/>
            </a:gra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fontAlgn="base">
                <a:spcBef>
                  <a:spcPct val="0"/>
                </a:spcBef>
                <a:spcAft>
                  <a:spcPct val="0"/>
                </a:spcAft>
              </a:pPr>
              <a:endParaRPr lang="en-US" b="1" dirty="0">
                <a:solidFill>
                  <a:srgbClr val="000000"/>
                </a:solidFill>
                <a:cs typeface="Arial" pitchFamily="34" charset="0"/>
              </a:endParaRPr>
            </a:p>
          </p:txBody>
        </p:sp>
        <p:sp>
          <p:nvSpPr>
            <p:cNvPr id="159" name="Rectangle 158"/>
            <p:cNvSpPr/>
            <p:nvPr/>
          </p:nvSpPr>
          <p:spPr bwMode="auto">
            <a:xfrm>
              <a:off x="346309" y="3974941"/>
              <a:ext cx="6685105" cy="177435"/>
            </a:xfrm>
            <a:prstGeom prst="rect">
              <a:avLst/>
            </a:prstGeom>
            <a:gradFill flip="none" rotWithShape="1">
              <a:gsLst>
                <a:gs pos="0">
                  <a:srgbClr val="AA0000"/>
                </a:gs>
                <a:gs pos="100000">
                  <a:schemeClr val="accent1"/>
                </a:gs>
              </a:gsLst>
              <a:lin ang="16200000" scaled="1"/>
              <a:tileRect/>
            </a:gra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fontAlgn="base">
                <a:spcBef>
                  <a:spcPct val="0"/>
                </a:spcBef>
                <a:spcAft>
                  <a:spcPct val="0"/>
                </a:spcAft>
              </a:pPr>
              <a:endParaRPr lang="en-US" b="1" dirty="0">
                <a:solidFill>
                  <a:srgbClr val="000000"/>
                </a:solidFill>
                <a:cs typeface="Arial" pitchFamily="34" charset="0"/>
              </a:endParaRPr>
            </a:p>
          </p:txBody>
        </p:sp>
        <p:sp>
          <p:nvSpPr>
            <p:cNvPr id="160" name="TextBox 159"/>
            <p:cNvSpPr txBox="1"/>
            <p:nvPr/>
          </p:nvSpPr>
          <p:spPr>
            <a:xfrm>
              <a:off x="3321623" y="783702"/>
              <a:ext cx="734478" cy="142337"/>
            </a:xfrm>
            <a:prstGeom prst="rect">
              <a:avLst/>
            </a:prstGeom>
            <a:noFill/>
          </p:spPr>
          <p:txBody>
            <a:bodyPr wrap="none" lIns="34281" tIns="17140" rIns="34281" bIns="17140" rtlCol="0">
              <a:spAutoFit/>
            </a:bodyPr>
            <a:lstStyle/>
            <a:p>
              <a:pPr algn="ctr" defTabSz="171276" fontAlgn="base">
                <a:spcBef>
                  <a:spcPct val="0"/>
                </a:spcBef>
                <a:spcAft>
                  <a:spcPct val="0"/>
                </a:spcAft>
              </a:pPr>
              <a:r>
                <a:rPr lang="en-US" sz="700" b="1" dirty="0">
                  <a:solidFill>
                    <a:srgbClr val="FFFFFF"/>
                  </a:solidFill>
                  <a:cs typeface="Arial" pitchFamily="34" charset="0"/>
                </a:rPr>
                <a:t>APPLICATIONS</a:t>
              </a:r>
            </a:p>
          </p:txBody>
        </p:sp>
        <p:sp>
          <p:nvSpPr>
            <p:cNvPr id="161" name="TextBox 160"/>
            <p:cNvSpPr txBox="1"/>
            <p:nvPr/>
          </p:nvSpPr>
          <p:spPr>
            <a:xfrm>
              <a:off x="3407385" y="2769967"/>
              <a:ext cx="562956" cy="142337"/>
            </a:xfrm>
            <a:prstGeom prst="rect">
              <a:avLst/>
            </a:prstGeom>
            <a:noFill/>
          </p:spPr>
          <p:txBody>
            <a:bodyPr wrap="none" lIns="34281" tIns="17140" rIns="34281" bIns="17140" rtlCol="0">
              <a:spAutoFit/>
            </a:bodyPr>
            <a:lstStyle/>
            <a:p>
              <a:pPr algn="ctr" defTabSz="171276" fontAlgn="base">
                <a:spcBef>
                  <a:spcPct val="0"/>
                </a:spcBef>
                <a:spcAft>
                  <a:spcPct val="0"/>
                </a:spcAft>
              </a:pPr>
              <a:r>
                <a:rPr lang="en-US" sz="700" b="1" dirty="0" smtClean="0">
                  <a:solidFill>
                    <a:srgbClr val="FFFFFF"/>
                  </a:solidFill>
                  <a:cs typeface="Arial" pitchFamily="34" charset="0"/>
                </a:rPr>
                <a:t>DATABASE</a:t>
              </a:r>
              <a:endParaRPr lang="en-US" sz="700" b="1" dirty="0">
                <a:solidFill>
                  <a:srgbClr val="FFFFFF"/>
                </a:solidFill>
                <a:cs typeface="Arial" pitchFamily="34" charset="0"/>
              </a:endParaRPr>
            </a:p>
          </p:txBody>
        </p:sp>
        <p:sp>
          <p:nvSpPr>
            <p:cNvPr id="162" name="TextBox 161"/>
            <p:cNvSpPr txBox="1"/>
            <p:nvPr/>
          </p:nvSpPr>
          <p:spPr>
            <a:xfrm>
              <a:off x="2625923" y="3350084"/>
              <a:ext cx="2125885" cy="142337"/>
            </a:xfrm>
            <a:prstGeom prst="rect">
              <a:avLst/>
            </a:prstGeom>
            <a:noFill/>
          </p:spPr>
          <p:txBody>
            <a:bodyPr wrap="none" lIns="34281" tIns="17140" rIns="34281" bIns="17140" rtlCol="0">
              <a:spAutoFit/>
            </a:bodyPr>
            <a:lstStyle/>
            <a:p>
              <a:pPr algn="ctr" defTabSz="171276" fontAlgn="base">
                <a:spcBef>
                  <a:spcPct val="0"/>
                </a:spcBef>
                <a:spcAft>
                  <a:spcPct val="0"/>
                </a:spcAft>
              </a:pPr>
              <a:r>
                <a:rPr lang="en-US" sz="700" b="1" dirty="0">
                  <a:solidFill>
                    <a:srgbClr val="FFFFFF"/>
                  </a:solidFill>
                  <a:cs typeface="Arial" pitchFamily="34" charset="0"/>
                </a:rPr>
                <a:t>OPERATING </a:t>
              </a:r>
              <a:r>
                <a:rPr lang="en-US" sz="700" b="1" dirty="0" smtClean="0">
                  <a:solidFill>
                    <a:srgbClr val="FFFFFF"/>
                  </a:solidFill>
                  <a:cs typeface="Arial" pitchFamily="34" charset="0"/>
                </a:rPr>
                <a:t>SYSTEM AND VIRTUAL MACHINE</a:t>
              </a:r>
              <a:endParaRPr lang="en-US" sz="700" b="1" dirty="0">
                <a:solidFill>
                  <a:srgbClr val="FFFFFF"/>
                </a:solidFill>
                <a:cs typeface="Arial" pitchFamily="34" charset="0"/>
              </a:endParaRPr>
            </a:p>
          </p:txBody>
        </p:sp>
        <p:sp>
          <p:nvSpPr>
            <p:cNvPr id="163" name="Rectangle 162"/>
            <p:cNvSpPr/>
            <p:nvPr/>
          </p:nvSpPr>
          <p:spPr bwMode="auto">
            <a:xfrm>
              <a:off x="346309" y="2057019"/>
              <a:ext cx="6685105" cy="177435"/>
            </a:xfrm>
            <a:prstGeom prst="rect">
              <a:avLst/>
            </a:prstGeom>
            <a:gradFill flip="none" rotWithShape="1">
              <a:gsLst>
                <a:gs pos="0">
                  <a:srgbClr val="AA0000"/>
                </a:gs>
                <a:gs pos="100000">
                  <a:schemeClr val="accent1"/>
                </a:gs>
              </a:gsLst>
              <a:lin ang="16200000" scaled="1"/>
              <a:tileRect/>
            </a:gradFill>
            <a:ln w="9525" cap="flat" cmpd="sng" algn="ctr">
              <a:noFill/>
              <a:prstDash val="solid"/>
              <a:round/>
              <a:headEnd type="none" w="med" len="med"/>
              <a:tailEnd type="none" w="med" len="med"/>
            </a:ln>
            <a:effectLst/>
          </p:spPr>
          <p:txBody>
            <a:bodyPr vert="horz" wrap="square" lIns="34519" tIns="17260" rIns="34519" bIns="17260" numCol="1" rtlCol="0" anchor="t" anchorCtr="0" compatLnSpc="1">
              <a:prstTxWarp prst="textNoShape">
                <a:avLst/>
              </a:prstTxWarp>
              <a:noAutofit/>
            </a:bodyPr>
            <a:lstStyle/>
            <a:p>
              <a:pPr marL="44637" indent="-44637" algn="ctr" fontAlgn="base">
                <a:spcBef>
                  <a:spcPct val="0"/>
                </a:spcBef>
                <a:spcAft>
                  <a:spcPct val="0"/>
                </a:spcAft>
              </a:pPr>
              <a:endParaRPr lang="en-US" b="1" dirty="0">
                <a:solidFill>
                  <a:srgbClr val="000000"/>
                </a:solidFill>
                <a:cs typeface="Arial" pitchFamily="34" charset="0"/>
              </a:endParaRPr>
            </a:p>
          </p:txBody>
        </p:sp>
        <p:sp>
          <p:nvSpPr>
            <p:cNvPr id="164" name="TextBox 163"/>
            <p:cNvSpPr txBox="1"/>
            <p:nvPr/>
          </p:nvSpPr>
          <p:spPr>
            <a:xfrm>
              <a:off x="3098810" y="3988638"/>
              <a:ext cx="1180113" cy="142337"/>
            </a:xfrm>
            <a:prstGeom prst="rect">
              <a:avLst/>
            </a:prstGeom>
            <a:noFill/>
          </p:spPr>
          <p:txBody>
            <a:bodyPr wrap="none" lIns="34281" tIns="17140" rIns="34281" bIns="17140" rtlCol="0">
              <a:spAutoFit/>
            </a:bodyPr>
            <a:lstStyle/>
            <a:p>
              <a:pPr algn="ctr" defTabSz="171276" fontAlgn="base">
                <a:spcBef>
                  <a:spcPct val="0"/>
                </a:spcBef>
                <a:spcAft>
                  <a:spcPct val="0"/>
                </a:spcAft>
              </a:pPr>
              <a:r>
                <a:rPr lang="en-US" sz="700" b="1" dirty="0">
                  <a:solidFill>
                    <a:srgbClr val="FFFFFF"/>
                  </a:solidFill>
                  <a:cs typeface="Arial" pitchFamily="34" charset="0"/>
                </a:rPr>
                <a:t>SERVERS </a:t>
              </a:r>
              <a:r>
                <a:rPr lang="en-US" sz="700" b="1" dirty="0" smtClean="0">
                  <a:solidFill>
                    <a:srgbClr val="FFFFFF"/>
                  </a:solidFill>
                  <a:cs typeface="Arial" pitchFamily="34" charset="0"/>
                </a:rPr>
                <a:t>AND </a:t>
              </a:r>
              <a:r>
                <a:rPr lang="en-US" sz="700" b="1" dirty="0">
                  <a:solidFill>
                    <a:srgbClr val="FFFFFF"/>
                  </a:solidFill>
                  <a:cs typeface="Arial" pitchFamily="34" charset="0"/>
                </a:rPr>
                <a:t>STORAGE</a:t>
              </a:r>
            </a:p>
          </p:txBody>
        </p:sp>
        <p:sp>
          <p:nvSpPr>
            <p:cNvPr id="165" name="TextBox 164"/>
            <p:cNvSpPr txBox="1"/>
            <p:nvPr/>
          </p:nvSpPr>
          <p:spPr>
            <a:xfrm>
              <a:off x="3346469" y="2069016"/>
              <a:ext cx="684785" cy="142337"/>
            </a:xfrm>
            <a:prstGeom prst="rect">
              <a:avLst/>
            </a:prstGeom>
            <a:noFill/>
          </p:spPr>
          <p:txBody>
            <a:bodyPr wrap="none" lIns="34281" tIns="17140" rIns="34281" bIns="17140" rtlCol="0">
              <a:spAutoFit/>
            </a:bodyPr>
            <a:lstStyle/>
            <a:p>
              <a:pPr algn="ctr" defTabSz="171276" fontAlgn="base">
                <a:spcBef>
                  <a:spcPct val="0"/>
                </a:spcBef>
                <a:spcAft>
                  <a:spcPct val="0"/>
                </a:spcAft>
              </a:pPr>
              <a:r>
                <a:rPr lang="en-US" sz="700" b="1" dirty="0">
                  <a:solidFill>
                    <a:srgbClr val="FFFFFF"/>
                  </a:solidFill>
                  <a:cs typeface="Arial" pitchFamily="34" charset="0"/>
                </a:rPr>
                <a:t>MIDDLEWARE</a:t>
              </a:r>
            </a:p>
          </p:txBody>
        </p:sp>
        <p:pic>
          <p:nvPicPr>
            <p:cNvPr id="40" name="Picture 337" descr="Net4Call.com"/>
            <p:cNvPicPr>
              <a:picLocks noChangeAspect="1" noChangeArrowheads="1"/>
            </p:cNvPicPr>
            <p:nvPr/>
          </p:nvPicPr>
          <p:blipFill>
            <a:blip r:embed="rId70" cstate="print"/>
            <a:stretch>
              <a:fillRect/>
            </a:stretch>
          </p:blipFill>
          <p:spPr bwMode="auto">
            <a:xfrm>
              <a:off x="1594158" y="1117548"/>
              <a:ext cx="345907" cy="168999"/>
            </a:xfrm>
            <a:prstGeom prst="rect">
              <a:avLst/>
            </a:prstGeom>
            <a:noFill/>
            <a:ln w="9525">
              <a:noFill/>
              <a:miter lim="800000"/>
              <a:headEnd/>
              <a:tailEnd/>
            </a:ln>
          </p:spPr>
        </p:pic>
        <p:pic>
          <p:nvPicPr>
            <p:cNvPr id="43" name="Picture 417" descr="324374915@04092007-074E"/>
            <p:cNvPicPr>
              <a:picLocks noChangeAspect="1" noChangeArrowheads="1"/>
            </p:cNvPicPr>
            <p:nvPr/>
          </p:nvPicPr>
          <p:blipFill>
            <a:blip r:embed="rId71" cstate="print"/>
            <a:stretch>
              <a:fillRect/>
            </a:stretch>
          </p:blipFill>
          <p:spPr bwMode="auto">
            <a:xfrm>
              <a:off x="1631213" y="1293344"/>
              <a:ext cx="264400" cy="79882"/>
            </a:xfrm>
            <a:prstGeom prst="rect">
              <a:avLst/>
            </a:prstGeom>
            <a:noFill/>
            <a:ln w="9525">
              <a:noFill/>
              <a:miter lim="800000"/>
              <a:headEnd/>
              <a:tailEnd/>
            </a:ln>
          </p:spPr>
        </p:pic>
        <p:pic>
          <p:nvPicPr>
            <p:cNvPr id="155" name="Picture 5" descr="conformia_logo_big"/>
            <p:cNvPicPr>
              <a:picLocks noChangeAspect="1" noChangeArrowheads="1"/>
            </p:cNvPicPr>
            <p:nvPr/>
          </p:nvPicPr>
          <p:blipFill>
            <a:blip r:embed="rId72" cstate="print"/>
            <a:stretch>
              <a:fillRect/>
            </a:stretch>
          </p:blipFill>
          <p:spPr bwMode="auto">
            <a:xfrm>
              <a:off x="4398433" y="1584565"/>
              <a:ext cx="599712" cy="135146"/>
            </a:xfrm>
            <a:prstGeom prst="rect">
              <a:avLst/>
            </a:prstGeom>
            <a:noFill/>
            <a:ln w="9525">
              <a:noFill/>
              <a:miter lim="800000"/>
              <a:headEnd/>
              <a:tailEnd/>
            </a:ln>
          </p:spPr>
        </p:pic>
        <p:pic>
          <p:nvPicPr>
            <p:cNvPr id="166" name="Picture 349" descr="Primavera Systems, Inc."/>
            <p:cNvPicPr>
              <a:picLocks noChangeAspect="1" noChangeArrowheads="1"/>
            </p:cNvPicPr>
            <p:nvPr/>
          </p:nvPicPr>
          <p:blipFill rotWithShape="1">
            <a:blip r:embed="rId73" cstate="print"/>
            <a:srcRect t="32756"/>
            <a:stretch/>
          </p:blipFill>
          <p:spPr bwMode="auto">
            <a:xfrm>
              <a:off x="5025519" y="1555772"/>
              <a:ext cx="752048" cy="182880"/>
            </a:xfrm>
            <a:prstGeom prst="rect">
              <a:avLst/>
            </a:prstGeom>
            <a:noFill/>
            <a:ln w="9525">
              <a:noFill/>
              <a:miter lim="800000"/>
              <a:headEnd/>
              <a:tailEnd/>
            </a:ln>
          </p:spPr>
        </p:pic>
        <p:pic>
          <p:nvPicPr>
            <p:cNvPr id="167" name="Picture 351"/>
            <p:cNvPicPr>
              <a:picLocks noChangeAspect="1" noChangeArrowheads="1"/>
            </p:cNvPicPr>
            <p:nvPr/>
          </p:nvPicPr>
          <p:blipFill>
            <a:blip r:embed="rId74" cstate="print"/>
            <a:stretch>
              <a:fillRect/>
            </a:stretch>
          </p:blipFill>
          <p:spPr bwMode="auto">
            <a:xfrm>
              <a:off x="5693917" y="1735716"/>
              <a:ext cx="222362" cy="133435"/>
            </a:xfrm>
            <a:prstGeom prst="rect">
              <a:avLst/>
            </a:prstGeom>
            <a:noFill/>
            <a:ln w="9525">
              <a:noFill/>
              <a:miter lim="800000"/>
              <a:headEnd/>
              <a:tailEnd/>
            </a:ln>
          </p:spPr>
        </p:pic>
        <p:pic>
          <p:nvPicPr>
            <p:cNvPr id="168" name="Picture 353"/>
            <p:cNvPicPr>
              <a:picLocks noChangeAspect="1" noChangeArrowheads="1"/>
            </p:cNvPicPr>
            <p:nvPr/>
          </p:nvPicPr>
          <p:blipFill>
            <a:blip r:embed="rId75" cstate="print"/>
            <a:stretch>
              <a:fillRect/>
            </a:stretch>
          </p:blipFill>
          <p:spPr bwMode="black">
            <a:xfrm>
              <a:off x="6079905" y="1838349"/>
              <a:ext cx="223154" cy="149606"/>
            </a:xfrm>
            <a:prstGeom prst="rect">
              <a:avLst/>
            </a:prstGeom>
            <a:noFill/>
            <a:ln w="19050">
              <a:noFill/>
              <a:miter lim="800000"/>
              <a:headEnd/>
              <a:tailEnd/>
            </a:ln>
          </p:spPr>
        </p:pic>
        <p:pic>
          <p:nvPicPr>
            <p:cNvPr id="169" name="Picture 354"/>
            <p:cNvPicPr>
              <a:picLocks noChangeAspect="1" noChangeArrowheads="1"/>
            </p:cNvPicPr>
            <p:nvPr/>
          </p:nvPicPr>
          <p:blipFill>
            <a:blip r:embed="rId76" cstate="print"/>
            <a:stretch>
              <a:fillRect/>
            </a:stretch>
          </p:blipFill>
          <p:spPr bwMode="auto">
            <a:xfrm>
              <a:off x="3652315" y="1917741"/>
              <a:ext cx="620902" cy="99084"/>
            </a:xfrm>
            <a:prstGeom prst="rect">
              <a:avLst/>
            </a:prstGeom>
            <a:noFill/>
            <a:ln w="9525">
              <a:noFill/>
              <a:miter lim="800000"/>
              <a:headEnd/>
              <a:tailEnd/>
            </a:ln>
          </p:spPr>
        </p:pic>
        <p:pic>
          <p:nvPicPr>
            <p:cNvPr id="170" name="Picture 418" descr="telephonyat"/>
            <p:cNvPicPr>
              <a:picLocks noChangeAspect="1" noChangeArrowheads="1"/>
            </p:cNvPicPr>
            <p:nvPr/>
          </p:nvPicPr>
          <p:blipFill>
            <a:blip r:embed="rId77" cstate="print"/>
            <a:stretch>
              <a:fillRect/>
            </a:stretch>
          </p:blipFill>
          <p:spPr bwMode="auto">
            <a:xfrm>
              <a:off x="6401258" y="1858804"/>
              <a:ext cx="444637" cy="128385"/>
            </a:xfrm>
            <a:prstGeom prst="rect">
              <a:avLst/>
            </a:prstGeom>
            <a:noFill/>
            <a:ln w="9525">
              <a:noFill/>
              <a:miter lim="800000"/>
              <a:headEnd/>
              <a:tailEnd/>
            </a:ln>
          </p:spPr>
        </p:pic>
        <p:pic>
          <p:nvPicPr>
            <p:cNvPr id="171" name="Picture 6" descr="GKS_logo.jpg"/>
            <p:cNvPicPr>
              <a:picLocks noChangeAspect="1"/>
            </p:cNvPicPr>
            <p:nvPr/>
          </p:nvPicPr>
          <p:blipFill>
            <a:blip r:embed="rId78" cstate="print"/>
            <a:stretch>
              <a:fillRect/>
            </a:stretch>
          </p:blipFill>
          <p:spPr bwMode="auto">
            <a:xfrm>
              <a:off x="5099222" y="1913543"/>
              <a:ext cx="850213" cy="116883"/>
            </a:xfrm>
            <a:prstGeom prst="rect">
              <a:avLst/>
            </a:prstGeom>
            <a:noFill/>
            <a:ln w="9525">
              <a:noFill/>
              <a:miter lim="800000"/>
              <a:headEnd/>
              <a:tailEnd/>
            </a:ln>
          </p:spPr>
        </p:pic>
        <p:pic>
          <p:nvPicPr>
            <p:cNvPr id="172" name="Picture 108" descr="market2lead"/>
            <p:cNvPicPr>
              <a:picLocks noChangeAspect="1" noChangeArrowheads="1"/>
            </p:cNvPicPr>
            <p:nvPr/>
          </p:nvPicPr>
          <p:blipFill>
            <a:blip r:embed="rId79" cstate="print"/>
            <a:stretch>
              <a:fillRect/>
            </a:stretch>
          </p:blipFill>
          <p:spPr bwMode="auto">
            <a:xfrm>
              <a:off x="6289835" y="1613996"/>
              <a:ext cx="513472" cy="128385"/>
            </a:xfrm>
            <a:prstGeom prst="rect">
              <a:avLst/>
            </a:prstGeom>
            <a:noFill/>
          </p:spPr>
        </p:pic>
        <p:pic>
          <p:nvPicPr>
            <p:cNvPr id="173" name="Picture 4" descr="C:\Documents and Settings\robesmit\Desktop\vcm_s_kf_m160_154x160.jpg"/>
            <p:cNvPicPr>
              <a:picLocks noChangeAspect="1" noChangeArrowheads="1"/>
            </p:cNvPicPr>
            <p:nvPr/>
          </p:nvPicPr>
          <p:blipFill>
            <a:blip r:embed="rId80" cstate="print"/>
            <a:stretch>
              <a:fillRect/>
            </a:stretch>
          </p:blipFill>
          <p:spPr bwMode="auto">
            <a:xfrm>
              <a:off x="5971735" y="1602156"/>
              <a:ext cx="190185" cy="197526"/>
            </a:xfrm>
            <a:prstGeom prst="rect">
              <a:avLst/>
            </a:prstGeom>
            <a:noFill/>
          </p:spPr>
        </p:pic>
        <p:pic>
          <p:nvPicPr>
            <p:cNvPr id="174" name="Picture 352" descr="Demantra"/>
            <p:cNvPicPr>
              <a:picLocks noChangeAspect="1" noChangeArrowheads="1"/>
            </p:cNvPicPr>
            <p:nvPr/>
          </p:nvPicPr>
          <p:blipFill>
            <a:blip r:embed="rId81" cstate="print"/>
            <a:stretch>
              <a:fillRect/>
            </a:stretch>
          </p:blipFill>
          <p:spPr bwMode="auto">
            <a:xfrm>
              <a:off x="431656" y="1824203"/>
              <a:ext cx="381199" cy="164082"/>
            </a:xfrm>
            <a:prstGeom prst="rect">
              <a:avLst/>
            </a:prstGeom>
            <a:noFill/>
            <a:ln w="9525">
              <a:noFill/>
              <a:miter lim="800000"/>
              <a:headEnd/>
              <a:tailEnd/>
            </a:ln>
          </p:spPr>
        </p:pic>
        <p:pic>
          <p:nvPicPr>
            <p:cNvPr id="175" name="Picture 430" descr="http://www.farfax.com/finance.php"/>
            <p:cNvPicPr>
              <a:picLocks noChangeAspect="1" noChangeArrowheads="1"/>
            </p:cNvPicPr>
            <p:nvPr/>
          </p:nvPicPr>
          <p:blipFill>
            <a:blip r:embed="rId82" cstate="print"/>
            <a:stretch>
              <a:fillRect/>
            </a:stretch>
          </p:blipFill>
          <p:spPr bwMode="auto">
            <a:xfrm>
              <a:off x="816626" y="1776392"/>
              <a:ext cx="607707" cy="255446"/>
            </a:xfrm>
            <a:prstGeom prst="rect">
              <a:avLst/>
            </a:prstGeom>
            <a:noFill/>
            <a:ln w="9525">
              <a:noFill/>
              <a:miter lim="800000"/>
              <a:headEnd/>
              <a:tailEnd/>
            </a:ln>
          </p:spPr>
        </p:pic>
        <p:pic>
          <p:nvPicPr>
            <p:cNvPr id="176" name="Picture 347" descr="PeopleSoft-[Converted]"/>
            <p:cNvPicPr>
              <a:picLocks noChangeAspect="1" noChangeArrowheads="1"/>
            </p:cNvPicPr>
            <p:nvPr/>
          </p:nvPicPr>
          <p:blipFill>
            <a:blip r:embed="rId83" cstate="print"/>
            <a:stretch>
              <a:fillRect/>
            </a:stretch>
          </p:blipFill>
          <p:spPr bwMode="auto">
            <a:xfrm>
              <a:off x="469232" y="1619904"/>
              <a:ext cx="548640" cy="130041"/>
            </a:xfrm>
            <a:prstGeom prst="rect">
              <a:avLst/>
            </a:prstGeom>
            <a:noFill/>
            <a:ln w="9525">
              <a:noFill/>
              <a:miter lim="800000"/>
              <a:headEnd/>
              <a:tailEnd/>
            </a:ln>
          </p:spPr>
        </p:pic>
        <p:pic>
          <p:nvPicPr>
            <p:cNvPr id="177" name="Picture 2" descr="D:\Project Folders\Iridium\inquira-logo-black-rd.jpg"/>
            <p:cNvPicPr>
              <a:picLocks noChangeAspect="1" noChangeArrowheads="1"/>
            </p:cNvPicPr>
            <p:nvPr/>
          </p:nvPicPr>
          <p:blipFill>
            <a:blip r:embed="rId84" cstate="print"/>
            <a:stretch>
              <a:fillRect/>
            </a:stretch>
          </p:blipFill>
          <p:spPr bwMode="auto">
            <a:xfrm>
              <a:off x="1328422" y="1771725"/>
              <a:ext cx="412371" cy="113368"/>
            </a:xfrm>
            <a:prstGeom prst="rect">
              <a:avLst/>
            </a:prstGeom>
            <a:noFill/>
          </p:spPr>
        </p:pic>
        <p:pic>
          <p:nvPicPr>
            <p:cNvPr id="178" name="Picture 350"/>
            <p:cNvPicPr>
              <a:picLocks noChangeAspect="1" noChangeArrowheads="1"/>
            </p:cNvPicPr>
            <p:nvPr/>
          </p:nvPicPr>
          <p:blipFill>
            <a:blip r:embed="rId85" cstate="print"/>
            <a:stretch>
              <a:fillRect/>
            </a:stretch>
          </p:blipFill>
          <p:spPr bwMode="auto">
            <a:xfrm>
              <a:off x="5242294" y="1777479"/>
              <a:ext cx="316130" cy="90021"/>
            </a:xfrm>
            <a:prstGeom prst="rect">
              <a:avLst/>
            </a:prstGeom>
            <a:noFill/>
            <a:ln w="9525">
              <a:noFill/>
              <a:miter lim="800000"/>
              <a:headEnd/>
              <a:tailEnd/>
            </a:ln>
          </p:spPr>
        </p:pic>
        <p:pic>
          <p:nvPicPr>
            <p:cNvPr id="179" name="Picture 348" descr="Siebel-Systems-[Converted]"/>
            <p:cNvPicPr>
              <a:picLocks noChangeAspect="1" noChangeArrowheads="1"/>
            </p:cNvPicPr>
            <p:nvPr/>
          </p:nvPicPr>
          <p:blipFill>
            <a:blip r:embed="rId62" cstate="print"/>
            <a:stretch>
              <a:fillRect/>
            </a:stretch>
          </p:blipFill>
          <p:spPr bwMode="auto">
            <a:xfrm>
              <a:off x="1120249" y="1614297"/>
              <a:ext cx="640080" cy="97716"/>
            </a:xfrm>
            <a:prstGeom prst="rect">
              <a:avLst/>
            </a:prstGeom>
            <a:noFill/>
            <a:ln w="9525">
              <a:noFill/>
              <a:miter lim="800000"/>
              <a:headEnd/>
              <a:tailEnd/>
            </a:ln>
          </p:spPr>
        </p:pic>
        <p:pic>
          <p:nvPicPr>
            <p:cNvPr id="180" name="Picture 1" descr="D:\My Documents\Program Tiger - Taleo\Tiger Corporate Logo\11_1061_ASSET_CORP_Logo_v1.jpg"/>
            <p:cNvPicPr>
              <a:picLocks noChangeAspect="1" noChangeArrowheads="1"/>
            </p:cNvPicPr>
            <p:nvPr/>
          </p:nvPicPr>
          <p:blipFill>
            <a:blip r:embed="rId86" cstate="print"/>
            <a:srcRect/>
            <a:stretch>
              <a:fillRect/>
            </a:stretch>
          </p:blipFill>
          <p:spPr bwMode="auto">
            <a:xfrm>
              <a:off x="1822883" y="1570819"/>
              <a:ext cx="546887" cy="201168"/>
            </a:xfrm>
            <a:prstGeom prst="rect">
              <a:avLst/>
            </a:prstGeom>
            <a:noFill/>
          </p:spPr>
        </p:pic>
        <p:pic>
          <p:nvPicPr>
            <p:cNvPr id="181" name="Picture 180" descr="ci_logo_transparent_bg.jpg"/>
            <p:cNvPicPr>
              <a:picLocks noChangeAspect="1"/>
            </p:cNvPicPr>
            <p:nvPr/>
          </p:nvPicPr>
          <p:blipFill>
            <a:blip r:embed="rId87" cstate="print"/>
            <a:stretch>
              <a:fillRect/>
            </a:stretch>
          </p:blipFill>
          <p:spPr>
            <a:xfrm>
              <a:off x="3009588" y="1583943"/>
              <a:ext cx="777240" cy="142941"/>
            </a:xfrm>
            <a:prstGeom prst="rect">
              <a:avLst/>
            </a:prstGeom>
          </p:spPr>
        </p:pic>
        <p:pic>
          <p:nvPicPr>
            <p:cNvPr id="182" name="Picture 181" descr="Vitrue Logo RGB for White BG.png"/>
            <p:cNvPicPr>
              <a:picLocks noChangeAspect="1"/>
            </p:cNvPicPr>
            <p:nvPr/>
          </p:nvPicPr>
          <p:blipFill>
            <a:blip r:embed="rId88" cstate="print"/>
            <a:stretch>
              <a:fillRect/>
            </a:stretch>
          </p:blipFill>
          <p:spPr>
            <a:xfrm>
              <a:off x="3970081" y="1600328"/>
              <a:ext cx="333620" cy="100584"/>
            </a:xfrm>
            <a:prstGeom prst="rect">
              <a:avLst/>
            </a:prstGeom>
          </p:spPr>
        </p:pic>
        <p:pic>
          <p:nvPicPr>
            <p:cNvPr id="183" name="Picture 1160"/>
            <p:cNvPicPr>
              <a:picLocks noChangeAspect="1" noChangeArrowheads="1"/>
            </p:cNvPicPr>
            <p:nvPr/>
          </p:nvPicPr>
          <p:blipFill>
            <a:blip r:embed="rId89" cstate="print"/>
            <a:stretch>
              <a:fillRect/>
            </a:stretch>
          </p:blipFill>
          <p:spPr bwMode="auto">
            <a:xfrm>
              <a:off x="4332450" y="1871273"/>
              <a:ext cx="643486" cy="182309"/>
            </a:xfrm>
            <a:prstGeom prst="rect">
              <a:avLst/>
            </a:prstGeom>
            <a:noFill/>
            <a:ln w="9525">
              <a:noFill/>
              <a:miter lim="800000"/>
              <a:headEnd/>
              <a:tailEnd/>
            </a:ln>
          </p:spPr>
        </p:pic>
        <p:pic>
          <p:nvPicPr>
            <p:cNvPr id="184" name="Picture 2" descr="C:\Users\nmcintyr\AppData\Local\Microsoft\Windows\Temporary Internet Files\Content.Outlook\LTRDWGYK\atg-black-logo-transparent (2).gif"/>
            <p:cNvPicPr>
              <a:picLocks noChangeAspect="1" noChangeArrowheads="1"/>
            </p:cNvPicPr>
            <p:nvPr/>
          </p:nvPicPr>
          <p:blipFill>
            <a:blip r:embed="rId90" cstate="print">
              <a:extLst>
                <a:ext uri="{28A0092B-C50C-407E-A947-70E740481C1C}">
                  <a14:useLocalDpi xmlns:a14="http://schemas.microsoft.com/office/drawing/2010/main" val="0"/>
                </a:ext>
              </a:extLst>
            </a:blip>
            <a:stretch>
              <a:fillRect/>
            </a:stretch>
          </p:blipFill>
          <p:spPr bwMode="auto">
            <a:xfrm>
              <a:off x="1663684" y="1874491"/>
              <a:ext cx="254718" cy="196852"/>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84" descr="involver-logo.png"/>
            <p:cNvPicPr>
              <a:picLocks noChangeAspect="1"/>
            </p:cNvPicPr>
            <p:nvPr/>
          </p:nvPicPr>
          <p:blipFill>
            <a:blip r:embed="rId91" cstate="print"/>
            <a:stretch>
              <a:fillRect/>
            </a:stretch>
          </p:blipFill>
          <p:spPr>
            <a:xfrm>
              <a:off x="3469612" y="1768543"/>
              <a:ext cx="384048" cy="76509"/>
            </a:xfrm>
            <a:prstGeom prst="rect">
              <a:avLst/>
            </a:prstGeom>
          </p:spPr>
        </p:pic>
        <p:pic>
          <p:nvPicPr>
            <p:cNvPr id="186" name="Picture 185" descr="RN_2010 rgb.jpg"/>
            <p:cNvPicPr>
              <a:picLocks noChangeAspect="1"/>
            </p:cNvPicPr>
            <p:nvPr/>
          </p:nvPicPr>
          <p:blipFill>
            <a:blip r:embed="rId92" cstate="print"/>
            <a:stretch>
              <a:fillRect/>
            </a:stretch>
          </p:blipFill>
          <p:spPr>
            <a:xfrm>
              <a:off x="2006472" y="1777062"/>
              <a:ext cx="365760" cy="235804"/>
            </a:xfrm>
            <a:prstGeom prst="rect">
              <a:avLst/>
            </a:prstGeom>
          </p:spPr>
        </p:pic>
        <p:pic>
          <p:nvPicPr>
            <p:cNvPr id="187" name="Picture 186" descr="Skire-transparent.eps"/>
            <p:cNvPicPr>
              <a:picLocks noChangeAspect="1"/>
            </p:cNvPicPr>
            <p:nvPr/>
          </p:nvPicPr>
          <p:blipFill>
            <a:blip r:embed="rId93" cstate="print"/>
            <a:stretch>
              <a:fillRect/>
            </a:stretch>
          </p:blipFill>
          <p:spPr>
            <a:xfrm>
              <a:off x="4835997" y="1744900"/>
              <a:ext cx="248241" cy="118872"/>
            </a:xfrm>
            <a:prstGeom prst="rect">
              <a:avLst/>
            </a:prstGeom>
          </p:spPr>
        </p:pic>
        <p:pic>
          <p:nvPicPr>
            <p:cNvPr id="188" name="Picture 2" descr="C:\Users\gylau\AppData\Local\Microsoft\Windows\Temporary Internet Files\Content.Outlook\HWI5YVEP\sm_logo.jpg"/>
            <p:cNvPicPr>
              <a:picLocks noChangeAspect="1" noChangeArrowheads="1"/>
            </p:cNvPicPr>
            <p:nvPr/>
          </p:nvPicPr>
          <p:blipFill>
            <a:blip r:embed="rId94" cstate="print"/>
            <a:srcRect/>
            <a:stretch>
              <a:fillRect/>
            </a:stretch>
          </p:blipFill>
          <p:spPr bwMode="auto">
            <a:xfrm>
              <a:off x="2448710" y="1827653"/>
              <a:ext cx="594360" cy="162986"/>
            </a:xfrm>
            <a:prstGeom prst="rect">
              <a:avLst/>
            </a:prstGeom>
            <a:noFill/>
            <a:ln w="9525">
              <a:noFill/>
              <a:miter lim="800000"/>
              <a:headEnd/>
              <a:tailEnd/>
            </a:ln>
          </p:spPr>
        </p:pic>
        <p:pic>
          <p:nvPicPr>
            <p:cNvPr id="189" name="Picture 1" descr="C:\Users\gylau\AppData\Local\Microsoft\Windows\Temporary Internet Files\Content.Outlook\HWI5YVEP\instantis (3).jpg"/>
            <p:cNvPicPr>
              <a:picLocks noChangeAspect="1" noChangeArrowheads="1"/>
            </p:cNvPicPr>
            <p:nvPr/>
          </p:nvPicPr>
          <p:blipFill>
            <a:blip r:embed="rId95" cstate="print"/>
            <a:srcRect/>
            <a:stretch>
              <a:fillRect/>
            </a:stretch>
          </p:blipFill>
          <p:spPr bwMode="auto">
            <a:xfrm>
              <a:off x="4075496" y="1761080"/>
              <a:ext cx="461642" cy="118872"/>
            </a:xfrm>
            <a:prstGeom prst="rect">
              <a:avLst/>
            </a:prstGeom>
            <a:noFill/>
          </p:spPr>
        </p:pic>
        <p:pic>
          <p:nvPicPr>
            <p:cNvPr id="190" name="Picture 2" descr="C:\Users\gylau\AppData\Local\Temp\7zO6BA.tmp\Endeca_no border.gif"/>
            <p:cNvPicPr>
              <a:picLocks noChangeAspect="1" noChangeArrowheads="1"/>
            </p:cNvPicPr>
            <p:nvPr/>
          </p:nvPicPr>
          <p:blipFill>
            <a:blip r:embed="rId64" cstate="print"/>
            <a:stretch>
              <a:fillRect/>
            </a:stretch>
          </p:blipFill>
          <p:spPr bwMode="auto">
            <a:xfrm>
              <a:off x="3123532" y="1785517"/>
              <a:ext cx="420624" cy="214083"/>
            </a:xfrm>
            <a:prstGeom prst="rect">
              <a:avLst/>
            </a:prstGeom>
            <a:noFill/>
          </p:spPr>
        </p:pic>
        <p:pic>
          <p:nvPicPr>
            <p:cNvPr id="191" name="Picture 4"/>
            <p:cNvPicPr>
              <a:picLocks noChangeAspect="1" noChangeArrowheads="1"/>
            </p:cNvPicPr>
            <p:nvPr/>
          </p:nvPicPr>
          <p:blipFill>
            <a:blip r:embed="rId96" cstate="print"/>
            <a:srcRect/>
            <a:stretch>
              <a:fillRect/>
            </a:stretch>
          </p:blipFill>
          <p:spPr bwMode="auto">
            <a:xfrm>
              <a:off x="2429511" y="1590363"/>
              <a:ext cx="457200" cy="171158"/>
            </a:xfrm>
            <a:prstGeom prst="rect">
              <a:avLst/>
            </a:prstGeom>
            <a:noFill/>
            <a:ln w="9525">
              <a:noFill/>
              <a:miter lim="800000"/>
              <a:headEnd/>
              <a:tailEnd/>
            </a:ln>
          </p:spPr>
        </p:pic>
        <p:pic>
          <p:nvPicPr>
            <p:cNvPr id="154" name="Picture 153" descr="acme_packet.gif"/>
            <p:cNvPicPr>
              <a:picLocks noChangeAspect="1"/>
            </p:cNvPicPr>
            <p:nvPr/>
          </p:nvPicPr>
          <p:blipFill>
            <a:blip r:embed="rId97" cstate="print"/>
            <a:stretch>
              <a:fillRect/>
            </a:stretch>
          </p:blipFill>
          <p:spPr>
            <a:xfrm>
              <a:off x="806040" y="1182712"/>
              <a:ext cx="365760" cy="137160"/>
            </a:xfrm>
            <a:prstGeom prst="rect">
              <a:avLst/>
            </a:prstGeom>
          </p:spPr>
        </p:pic>
        <p:pic>
          <p:nvPicPr>
            <p:cNvPr id="146" name="Picture 2" descr="Inline image 1"/>
            <p:cNvPicPr>
              <a:picLocks noChangeAspect="1" noChangeArrowheads="1"/>
            </p:cNvPicPr>
            <p:nvPr/>
          </p:nvPicPr>
          <p:blipFill>
            <a:blip r:embed="rId98" cstate="print"/>
            <a:srcRect/>
            <a:stretch>
              <a:fillRect/>
            </a:stretch>
          </p:blipFill>
          <p:spPr bwMode="auto">
            <a:xfrm>
              <a:off x="3526372" y="3739112"/>
              <a:ext cx="320040" cy="66330"/>
            </a:xfrm>
            <a:prstGeom prst="rect">
              <a:avLst/>
            </a:prstGeom>
            <a:noFill/>
            <a:ln w="9525">
              <a:noFill/>
              <a:miter lim="800000"/>
              <a:headEnd/>
              <a:tailEnd/>
            </a:ln>
          </p:spPr>
        </p:pic>
        <p:pic>
          <p:nvPicPr>
            <p:cNvPr id="147" name="Picture 146" descr="tekelecinnerlogo.jpg"/>
            <p:cNvPicPr>
              <a:picLocks noChangeAspect="1"/>
            </p:cNvPicPr>
            <p:nvPr/>
          </p:nvPicPr>
          <p:blipFill>
            <a:blip r:embed="rId99" cstate="print"/>
            <a:stretch>
              <a:fillRect/>
            </a:stretch>
          </p:blipFill>
          <p:spPr>
            <a:xfrm>
              <a:off x="1225551" y="1220956"/>
              <a:ext cx="320040" cy="67075"/>
            </a:xfrm>
            <a:prstGeom prst="rect">
              <a:avLst/>
            </a:prstGeom>
          </p:spPr>
        </p:pic>
        <p:sp>
          <p:nvSpPr>
            <p:cNvPr id="149" name="TextBox 148"/>
            <p:cNvSpPr txBox="1"/>
            <p:nvPr/>
          </p:nvSpPr>
          <p:spPr>
            <a:xfrm>
              <a:off x="1170418" y="1303318"/>
              <a:ext cx="457200" cy="135467"/>
            </a:xfrm>
            <a:prstGeom prst="rect">
              <a:avLst/>
            </a:prstGeom>
            <a:noFill/>
            <a:ln>
              <a:noFill/>
            </a:ln>
          </p:spPr>
          <p:txBody>
            <a:bodyPr wrap="square" lIns="0" tIns="0" rIns="0" bIns="0" rtlCol="0">
              <a:noAutofit/>
            </a:bodyPr>
            <a:lstStyle/>
            <a:p>
              <a:pPr algn="ctr" fontAlgn="base">
                <a:spcBef>
                  <a:spcPct val="0"/>
                </a:spcBef>
                <a:spcAft>
                  <a:spcPct val="0"/>
                </a:spcAft>
              </a:pPr>
              <a:r>
                <a:rPr lang="en-US" sz="600" dirty="0" smtClean="0">
                  <a:solidFill>
                    <a:srgbClr val="000000"/>
                  </a:solidFill>
                  <a:latin typeface="Arial Narrow" pitchFamily="34" charset="0"/>
                  <a:cs typeface="Arial" pitchFamily="34" charset="0"/>
                </a:rPr>
                <a:t>(pending)</a:t>
              </a:r>
            </a:p>
          </p:txBody>
        </p:sp>
        <p:pic>
          <p:nvPicPr>
            <p:cNvPr id="48" name="Picture 47" descr="go_horizontal_color.jpg"/>
            <p:cNvPicPr>
              <a:picLocks noChangeAspect="1"/>
            </p:cNvPicPr>
            <p:nvPr/>
          </p:nvPicPr>
          <p:blipFill>
            <a:blip r:embed="rId100" cstate="print"/>
            <a:stretch>
              <a:fillRect/>
            </a:stretch>
          </p:blipFill>
          <p:spPr>
            <a:xfrm>
              <a:off x="811961" y="1305534"/>
              <a:ext cx="345713" cy="97715"/>
            </a:xfrm>
            <a:prstGeom prst="rect">
              <a:avLst/>
            </a:prstGeom>
            <a:noFill/>
            <a:ln>
              <a:noFill/>
            </a:ln>
          </p:spPr>
        </p:pic>
      </p:grpSp>
      <p:pic>
        <p:nvPicPr>
          <p:cNvPr id="151" name="Picture 2" descr="D:\OPN Program Team Position\Corporate Branding\FY14 Product Stack 8 layers.png"/>
          <p:cNvPicPr>
            <a:picLocks noChangeAspect="1" noChangeArrowheads="1"/>
          </p:cNvPicPr>
          <p:nvPr/>
        </p:nvPicPr>
        <p:blipFill>
          <a:blip r:embed="rId101" cstate="print"/>
          <a:srcRect/>
          <a:stretch>
            <a:fillRect/>
          </a:stretch>
        </p:blipFill>
        <p:spPr bwMode="auto">
          <a:xfrm>
            <a:off x="6913607" y="1070263"/>
            <a:ext cx="1998658" cy="3480955"/>
          </a:xfrm>
          <a:prstGeom prst="rect">
            <a:avLst/>
          </a:prstGeom>
          <a:noFill/>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Oracle Strategy</a:t>
            </a:r>
            <a:endParaRPr lang="en-US" dirty="0"/>
          </a:p>
        </p:txBody>
      </p:sp>
      <p:pic>
        <p:nvPicPr>
          <p:cNvPr id="21" name="Picture 41" descr="grey_box"/>
          <p:cNvPicPr>
            <a:picLocks noChangeAspect="1" noChangeArrowheads="1"/>
          </p:cNvPicPr>
          <p:nvPr/>
        </p:nvPicPr>
        <p:blipFill>
          <a:blip r:embed="rId3" cstate="print"/>
          <a:srcRect r="-64" b="-287"/>
          <a:stretch>
            <a:fillRect/>
          </a:stretch>
        </p:blipFill>
        <p:spPr bwMode="auto">
          <a:xfrm>
            <a:off x="771535" y="1174750"/>
            <a:ext cx="8386763" cy="2825750"/>
          </a:xfrm>
          <a:prstGeom prst="rect">
            <a:avLst/>
          </a:prstGeom>
          <a:noFill/>
          <a:ln w="9525">
            <a:noFill/>
            <a:miter lim="800000"/>
            <a:headEnd/>
            <a:tailEnd/>
          </a:ln>
        </p:spPr>
      </p:pic>
      <p:sp>
        <p:nvSpPr>
          <p:cNvPr id="23" name="TextBox 26"/>
          <p:cNvSpPr txBox="1">
            <a:spLocks noChangeArrowheads="1"/>
          </p:cNvSpPr>
          <p:nvPr/>
        </p:nvSpPr>
        <p:spPr bwMode="auto">
          <a:xfrm>
            <a:off x="771525" y="1257300"/>
            <a:ext cx="69850" cy="158750"/>
          </a:xfrm>
          <a:prstGeom prst="rect">
            <a:avLst/>
          </a:prstGeom>
          <a:noFill/>
          <a:ln w="9525">
            <a:noFill/>
            <a:miter lim="800000"/>
            <a:headEnd/>
            <a:tailEnd/>
          </a:ln>
        </p:spPr>
        <p:txBody>
          <a:bodyPr wrap="none" lIns="34157" tIns="17072" rIns="34157" bIns="17072">
            <a:spAutoFit/>
          </a:bodyPr>
          <a:lstStyle/>
          <a:p>
            <a:pPr>
              <a:buClr>
                <a:srgbClr val="829E7E"/>
              </a:buClr>
              <a:defRPr/>
            </a:pPr>
            <a:endParaRPr lang="en-US" sz="800" kern="0" dirty="0">
              <a:solidFill>
                <a:srgbClr val="000000"/>
              </a:solidFill>
              <a:ea typeface="ＭＳ Ｐゴシック" pitchFamily="34" charset="-128"/>
              <a:cs typeface="Arial" pitchFamily="34" charset="0"/>
            </a:endParaRPr>
          </a:p>
        </p:txBody>
      </p:sp>
      <p:sp>
        <p:nvSpPr>
          <p:cNvPr id="32" name="Text Placeholder 6"/>
          <p:cNvSpPr txBox="1">
            <a:spLocks/>
          </p:cNvSpPr>
          <p:nvPr/>
        </p:nvSpPr>
        <p:spPr bwMode="auto">
          <a:xfrm>
            <a:off x="2706698" y="1436688"/>
            <a:ext cx="2486025" cy="481012"/>
          </a:xfrm>
          <a:prstGeom prst="rect">
            <a:avLst/>
          </a:prstGeom>
          <a:noFill/>
          <a:ln>
            <a:noFill/>
          </a:ln>
          <a:extLst/>
        </p:spPr>
        <p:txBody>
          <a:bodyPr lIns="0" tIns="0" rIns="0" bIns="0"/>
          <a:lstStyle>
            <a:lvl1pPr marL="567295" indent="-567295" algn="l" rtl="0" eaLnBrk="0" fontAlgn="base" hangingPunct="0">
              <a:spcBef>
                <a:spcPts val="1333"/>
              </a:spcBef>
              <a:spcAft>
                <a:spcPts val="533"/>
              </a:spcAft>
              <a:buClr>
                <a:schemeClr val="tx2"/>
              </a:buClr>
              <a:buFont typeface="Arial" pitchFamily="34" charset="0"/>
              <a:buChar char="•"/>
              <a:defRPr sz="6400" kern="1200">
                <a:solidFill>
                  <a:schemeClr val="tx1"/>
                </a:solidFill>
                <a:latin typeface="Arial" pitchFamily="34" charset="0"/>
                <a:ea typeface="ＭＳ Ｐゴシック" pitchFamily="127" charset="-128"/>
                <a:cs typeface="ＭＳ Ｐゴシック" pitchFamily="127" charset="-128"/>
              </a:defRPr>
            </a:lvl1pPr>
            <a:lvl2pPr marL="1367436" indent="-605398" algn="l" rtl="0" eaLnBrk="0" fontAlgn="base" hangingPunct="0">
              <a:spcBef>
                <a:spcPts val="533"/>
              </a:spcBef>
              <a:spcAft>
                <a:spcPts val="533"/>
              </a:spcAft>
              <a:buFont typeface="Arial" pitchFamily="34" charset="0"/>
              <a:buChar char="–"/>
              <a:defRPr sz="5300" kern="1200">
                <a:solidFill>
                  <a:schemeClr val="tx1"/>
                </a:solidFill>
                <a:latin typeface="Arial" pitchFamily="34" charset="0"/>
                <a:ea typeface="ＭＳ Ｐゴシック" pitchFamily="127" charset="-128"/>
                <a:cs typeface="ＭＳ Ｐゴシック" pitchFamily="127" charset="-128"/>
              </a:defRPr>
            </a:lvl2pPr>
            <a:lvl3pPr marL="1900863" indent="-376787" algn="l" rtl="0" eaLnBrk="0" fontAlgn="base" hangingPunct="0">
              <a:spcBef>
                <a:spcPts val="533"/>
              </a:spcBef>
              <a:spcAft>
                <a:spcPts val="533"/>
              </a:spcAft>
              <a:buClr>
                <a:schemeClr val="tx2"/>
              </a:buClr>
              <a:buFont typeface="Arial" pitchFamily="34" charset="0"/>
              <a:buChar char="•"/>
              <a:defRPr sz="4800" kern="1200">
                <a:solidFill>
                  <a:schemeClr val="tx1"/>
                </a:solidFill>
                <a:latin typeface="Arial" pitchFamily="34" charset="0"/>
                <a:ea typeface="ＭＳ Ｐゴシック" pitchFamily="127" charset="-128"/>
                <a:cs typeface="ＭＳ Ｐゴシック" pitchFamily="127" charset="-128"/>
              </a:defRPr>
            </a:lvl3pPr>
            <a:lvl4pPr marL="2895745" indent="-609630" algn="l" rtl="0" eaLnBrk="0" fontAlgn="base" hangingPunct="0">
              <a:spcBef>
                <a:spcPts val="533"/>
              </a:spcBef>
              <a:spcAft>
                <a:spcPts val="533"/>
              </a:spcAft>
              <a:buFont typeface="Arial" pitchFamily="34" charset="0"/>
              <a:buChar char="–"/>
              <a:defRPr sz="4800" kern="1200">
                <a:solidFill>
                  <a:schemeClr val="tx1"/>
                </a:solidFill>
                <a:latin typeface="Arial" pitchFamily="34" charset="0"/>
                <a:ea typeface="ＭＳ Ｐゴシック" pitchFamily="127" charset="-128"/>
                <a:cs typeface="ＭＳ Ｐゴシック" pitchFamily="127" charset="-128"/>
              </a:defRPr>
            </a:lvl4pPr>
            <a:lvl5pPr marL="3666250" indent="-618098" algn="l" rtl="0" eaLnBrk="0" fontAlgn="base" hangingPunct="0">
              <a:spcBef>
                <a:spcPts val="533"/>
              </a:spcBef>
              <a:spcAft>
                <a:spcPts val="533"/>
              </a:spcAft>
              <a:buClr>
                <a:schemeClr val="tx2"/>
              </a:buClr>
              <a:buFont typeface="Arial" pitchFamily="34" charset="0"/>
              <a:buChar char="•"/>
              <a:defRPr sz="4800" kern="1200">
                <a:solidFill>
                  <a:schemeClr val="tx1"/>
                </a:solidFill>
                <a:latin typeface="Arial" pitchFamily="34" charset="0"/>
                <a:ea typeface="ＭＳ Ｐゴシック" pitchFamily="127" charset="-128"/>
                <a:cs typeface="ＭＳ Ｐゴシック" pitchFamily="127" charset="-128"/>
              </a:defRPr>
            </a:lvl5pPr>
            <a:lvl6pPr marL="4188612"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950178"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711744"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473308"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9pPr>
          </a:lstStyle>
          <a:p>
            <a:pPr marL="0" indent="0">
              <a:buClr>
                <a:srgbClr val="FF0000"/>
              </a:buClr>
              <a:buFont typeface="Arial" pitchFamily="34" charset="0"/>
              <a:buNone/>
              <a:defRPr/>
            </a:pPr>
            <a:r>
              <a:rPr lang="en-US" sz="1900" b="1" dirty="0" smtClean="0">
                <a:solidFill>
                  <a:srgbClr val="000000">
                    <a:lumMod val="85000"/>
                    <a:lumOff val="15000"/>
                  </a:srgbClr>
                </a:solidFill>
              </a:rPr>
              <a:t>Complete Stack</a:t>
            </a:r>
            <a:endParaRPr lang="en-US" sz="1900" b="1" dirty="0">
              <a:solidFill>
                <a:srgbClr val="000000">
                  <a:lumMod val="85000"/>
                  <a:lumOff val="15000"/>
                </a:srgbClr>
              </a:solidFill>
            </a:endParaRPr>
          </a:p>
        </p:txBody>
      </p:sp>
      <p:sp>
        <p:nvSpPr>
          <p:cNvPr id="33" name="Content Placeholder 7"/>
          <p:cNvSpPr txBox="1">
            <a:spLocks/>
          </p:cNvSpPr>
          <p:nvPr/>
        </p:nvSpPr>
        <p:spPr bwMode="auto">
          <a:xfrm>
            <a:off x="2752725" y="1882778"/>
            <a:ext cx="2940050" cy="2963863"/>
          </a:xfrm>
          <a:prstGeom prst="rect">
            <a:avLst/>
          </a:prstGeom>
          <a:noFill/>
          <a:ln w="9525">
            <a:noFill/>
            <a:miter lim="800000"/>
            <a:headEnd/>
            <a:tailEnd/>
          </a:ln>
        </p:spPr>
        <p:txBody>
          <a:bodyPr lIns="0" tIns="0" rIns="0" bIns="0"/>
          <a:lstStyle/>
          <a:p>
            <a:pPr marL="224935" indent="-224935" eaLnBrk="0" hangingPunct="0">
              <a:spcAft>
                <a:spcPts val="538"/>
              </a:spcAft>
              <a:buClr>
                <a:srgbClr val="FF0000"/>
              </a:buClr>
              <a:buFont typeface="Arial" pitchFamily="34" charset="0"/>
              <a:buChar char="•"/>
              <a:defRPr/>
            </a:pPr>
            <a:r>
              <a:rPr lang="en-US" sz="1900" kern="0" dirty="0" smtClean="0">
                <a:solidFill>
                  <a:srgbClr val="FFFFFF"/>
                </a:solidFill>
                <a:ea typeface="ＭＳ Ｐゴシック" pitchFamily="34" charset="-128"/>
                <a:cs typeface="Arial" pitchFamily="34" charset="0"/>
              </a:rPr>
              <a:t>Best-of-Breed</a:t>
            </a:r>
          </a:p>
          <a:p>
            <a:pPr marL="224935" indent="-224935" eaLnBrk="0" hangingPunct="0">
              <a:spcAft>
                <a:spcPts val="538"/>
              </a:spcAft>
              <a:buClr>
                <a:srgbClr val="FF0000"/>
              </a:buClr>
              <a:buFont typeface="Arial" pitchFamily="34" charset="0"/>
              <a:buChar char="•"/>
              <a:defRPr/>
            </a:pPr>
            <a:r>
              <a:rPr lang="en-US" sz="1900" kern="0" dirty="0" smtClean="0">
                <a:solidFill>
                  <a:srgbClr val="FFFFFF"/>
                </a:solidFill>
                <a:ea typeface="ＭＳ Ｐゴシック" pitchFamily="34" charset="-128"/>
                <a:cs typeface="Arial" pitchFamily="34" charset="0"/>
              </a:rPr>
              <a:t>Open</a:t>
            </a:r>
          </a:p>
          <a:p>
            <a:pPr marL="224935" indent="-224935" eaLnBrk="0" hangingPunct="0">
              <a:spcAft>
                <a:spcPts val="538"/>
              </a:spcAft>
              <a:buClr>
                <a:srgbClr val="FF0000"/>
              </a:buClr>
              <a:buFont typeface="Arial" pitchFamily="34" charset="0"/>
              <a:buChar char="•"/>
              <a:defRPr/>
            </a:pPr>
            <a:r>
              <a:rPr lang="en-US" sz="1900" kern="0" dirty="0" smtClean="0">
                <a:solidFill>
                  <a:srgbClr val="FFFFFF"/>
                </a:solidFill>
                <a:ea typeface="ＭＳ Ｐゴシック" pitchFamily="34" charset="-128"/>
                <a:cs typeface="Arial" pitchFamily="34" charset="0"/>
              </a:rPr>
              <a:t>Vertical Integration</a:t>
            </a:r>
          </a:p>
          <a:p>
            <a:pPr marL="224935" indent="-224935" eaLnBrk="0" hangingPunct="0">
              <a:spcAft>
                <a:spcPts val="538"/>
              </a:spcAft>
              <a:buClr>
                <a:srgbClr val="FF0000"/>
              </a:buClr>
              <a:buFont typeface="Arial" pitchFamily="34" charset="0"/>
              <a:buChar char="•"/>
              <a:defRPr/>
            </a:pPr>
            <a:r>
              <a:rPr lang="en-US" sz="1900" kern="0" dirty="0" smtClean="0">
                <a:solidFill>
                  <a:srgbClr val="FFFFFF"/>
                </a:solidFill>
                <a:ea typeface="ＭＳ Ｐゴシック" pitchFamily="34" charset="-128"/>
                <a:cs typeface="Arial" pitchFamily="34" charset="0"/>
              </a:rPr>
              <a:t>Extreme Performance</a:t>
            </a:r>
          </a:p>
          <a:p>
            <a:pPr marL="224935" indent="-224935" eaLnBrk="0" hangingPunct="0">
              <a:spcAft>
                <a:spcPts val="538"/>
              </a:spcAft>
              <a:buClr>
                <a:srgbClr val="FF0000"/>
              </a:buClr>
              <a:buFont typeface="Arial" pitchFamily="34" charset="0"/>
              <a:buChar char="•"/>
              <a:defRPr/>
            </a:pPr>
            <a:r>
              <a:rPr lang="en-US" sz="1900" kern="0" dirty="0" smtClean="0">
                <a:solidFill>
                  <a:srgbClr val="FFFFFF"/>
                </a:solidFill>
                <a:ea typeface="ＭＳ Ｐゴシック" pitchFamily="34" charset="-128"/>
                <a:cs typeface="Arial" pitchFamily="34" charset="0"/>
              </a:rPr>
              <a:t>Engineered Systems</a:t>
            </a:r>
          </a:p>
        </p:txBody>
      </p:sp>
      <p:sp>
        <p:nvSpPr>
          <p:cNvPr id="34" name="Text Placeholder 8"/>
          <p:cNvSpPr txBox="1">
            <a:spLocks/>
          </p:cNvSpPr>
          <p:nvPr/>
        </p:nvSpPr>
        <p:spPr bwMode="auto">
          <a:xfrm>
            <a:off x="5702300" y="1436688"/>
            <a:ext cx="3549650" cy="481012"/>
          </a:xfrm>
          <a:prstGeom prst="rect">
            <a:avLst/>
          </a:prstGeom>
          <a:noFill/>
          <a:ln>
            <a:noFill/>
          </a:ln>
          <a:extLst/>
        </p:spPr>
        <p:txBody>
          <a:bodyPr lIns="0" tIns="0" rIns="0" bIns="0"/>
          <a:lstStyle>
            <a:lvl1pPr marL="567295" indent="-567295" algn="l" rtl="0" eaLnBrk="0" fontAlgn="base" hangingPunct="0">
              <a:spcBef>
                <a:spcPts val="1333"/>
              </a:spcBef>
              <a:spcAft>
                <a:spcPts val="533"/>
              </a:spcAft>
              <a:buClr>
                <a:schemeClr val="tx2"/>
              </a:buClr>
              <a:buFont typeface="Arial" pitchFamily="34" charset="0"/>
              <a:buChar char="•"/>
              <a:defRPr sz="6400" kern="1200">
                <a:solidFill>
                  <a:schemeClr val="tx1"/>
                </a:solidFill>
                <a:latin typeface="Arial" pitchFamily="34" charset="0"/>
                <a:ea typeface="ＭＳ Ｐゴシック" pitchFamily="127" charset="-128"/>
                <a:cs typeface="ＭＳ Ｐゴシック" pitchFamily="127" charset="-128"/>
              </a:defRPr>
            </a:lvl1pPr>
            <a:lvl2pPr marL="1367436" indent="-605398" algn="l" rtl="0" eaLnBrk="0" fontAlgn="base" hangingPunct="0">
              <a:spcBef>
                <a:spcPts val="533"/>
              </a:spcBef>
              <a:spcAft>
                <a:spcPts val="533"/>
              </a:spcAft>
              <a:buFont typeface="Arial" pitchFamily="34" charset="0"/>
              <a:buChar char="–"/>
              <a:defRPr sz="5300" kern="1200">
                <a:solidFill>
                  <a:schemeClr val="tx1"/>
                </a:solidFill>
                <a:latin typeface="Arial" pitchFamily="34" charset="0"/>
                <a:ea typeface="ＭＳ Ｐゴシック" pitchFamily="127" charset="-128"/>
                <a:cs typeface="ＭＳ Ｐゴシック" pitchFamily="127" charset="-128"/>
              </a:defRPr>
            </a:lvl2pPr>
            <a:lvl3pPr marL="1900863" indent="-376787" algn="l" rtl="0" eaLnBrk="0" fontAlgn="base" hangingPunct="0">
              <a:spcBef>
                <a:spcPts val="533"/>
              </a:spcBef>
              <a:spcAft>
                <a:spcPts val="533"/>
              </a:spcAft>
              <a:buClr>
                <a:schemeClr val="tx2"/>
              </a:buClr>
              <a:buFont typeface="Arial" pitchFamily="34" charset="0"/>
              <a:buChar char="•"/>
              <a:defRPr sz="4800" kern="1200">
                <a:solidFill>
                  <a:schemeClr val="tx1"/>
                </a:solidFill>
                <a:latin typeface="Arial" pitchFamily="34" charset="0"/>
                <a:ea typeface="ＭＳ Ｐゴシック" pitchFamily="127" charset="-128"/>
                <a:cs typeface="ＭＳ Ｐゴシック" pitchFamily="127" charset="-128"/>
              </a:defRPr>
            </a:lvl3pPr>
            <a:lvl4pPr marL="2895745" indent="-609630" algn="l" rtl="0" eaLnBrk="0" fontAlgn="base" hangingPunct="0">
              <a:spcBef>
                <a:spcPts val="533"/>
              </a:spcBef>
              <a:spcAft>
                <a:spcPts val="533"/>
              </a:spcAft>
              <a:buFont typeface="Arial" pitchFamily="34" charset="0"/>
              <a:buChar char="–"/>
              <a:defRPr sz="4800" kern="1200">
                <a:solidFill>
                  <a:schemeClr val="tx1"/>
                </a:solidFill>
                <a:latin typeface="Arial" pitchFamily="34" charset="0"/>
                <a:ea typeface="ＭＳ Ｐゴシック" pitchFamily="127" charset="-128"/>
                <a:cs typeface="ＭＳ Ｐゴシック" pitchFamily="127" charset="-128"/>
              </a:defRPr>
            </a:lvl4pPr>
            <a:lvl5pPr marL="3666250" indent="-618098" algn="l" rtl="0" eaLnBrk="0" fontAlgn="base" hangingPunct="0">
              <a:spcBef>
                <a:spcPts val="533"/>
              </a:spcBef>
              <a:spcAft>
                <a:spcPts val="533"/>
              </a:spcAft>
              <a:buClr>
                <a:schemeClr val="tx2"/>
              </a:buClr>
              <a:buFont typeface="Arial" pitchFamily="34" charset="0"/>
              <a:buChar char="•"/>
              <a:defRPr sz="4800" kern="1200">
                <a:solidFill>
                  <a:schemeClr val="tx1"/>
                </a:solidFill>
                <a:latin typeface="Arial" pitchFamily="34" charset="0"/>
                <a:ea typeface="ＭＳ Ｐゴシック" pitchFamily="127" charset="-128"/>
                <a:cs typeface="ＭＳ Ｐゴシック" pitchFamily="127" charset="-128"/>
              </a:defRPr>
            </a:lvl5pPr>
            <a:lvl6pPr marL="4188612"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950178"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711744"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473308" indent="-380782" algn="l" defTabSz="1523129" rtl="0" eaLnBrk="1" latinLnBrk="0" hangingPunct="1">
              <a:spcBef>
                <a:spcPct val="20000"/>
              </a:spcBef>
              <a:buFont typeface="Arial" pitchFamily="34" charset="0"/>
              <a:buChar char="•"/>
              <a:defRPr sz="3200" kern="1200">
                <a:solidFill>
                  <a:schemeClr val="tx1"/>
                </a:solidFill>
                <a:latin typeface="+mn-lt"/>
                <a:ea typeface="+mn-ea"/>
                <a:cs typeface="+mn-cs"/>
              </a:defRPr>
            </a:lvl9pPr>
          </a:lstStyle>
          <a:p>
            <a:pPr marL="0" indent="0">
              <a:buClr>
                <a:srgbClr val="FF0000"/>
              </a:buClr>
              <a:buFont typeface="Arial" pitchFamily="34" charset="0"/>
              <a:buNone/>
              <a:defRPr/>
            </a:pPr>
            <a:r>
              <a:rPr lang="en-US" sz="1900" b="1" dirty="0" smtClean="0">
                <a:solidFill>
                  <a:srgbClr val="000000">
                    <a:lumMod val="85000"/>
                    <a:lumOff val="15000"/>
                  </a:srgbClr>
                </a:solidFill>
              </a:rPr>
              <a:t>Complete Customer Choice</a:t>
            </a:r>
            <a:endParaRPr lang="en-US" sz="1900" b="1" dirty="0">
              <a:solidFill>
                <a:srgbClr val="000000">
                  <a:lumMod val="85000"/>
                  <a:lumOff val="15000"/>
                </a:srgbClr>
              </a:solidFill>
            </a:endParaRPr>
          </a:p>
        </p:txBody>
      </p:sp>
      <p:sp>
        <p:nvSpPr>
          <p:cNvPr id="35" name="Content Placeholder 9"/>
          <p:cNvSpPr txBox="1">
            <a:spLocks/>
          </p:cNvSpPr>
          <p:nvPr/>
        </p:nvSpPr>
        <p:spPr bwMode="auto">
          <a:xfrm>
            <a:off x="5702310" y="1882778"/>
            <a:ext cx="2600325" cy="2963863"/>
          </a:xfrm>
          <a:prstGeom prst="rect">
            <a:avLst/>
          </a:prstGeom>
          <a:noFill/>
          <a:ln w="9525">
            <a:noFill/>
            <a:miter lim="800000"/>
            <a:headEnd/>
            <a:tailEnd/>
          </a:ln>
        </p:spPr>
        <p:txBody>
          <a:bodyPr lIns="0" tIns="0" rIns="0" bIns="0"/>
          <a:lstStyle/>
          <a:p>
            <a:pPr marL="224935" indent="-224935" eaLnBrk="0" hangingPunct="0">
              <a:spcAft>
                <a:spcPts val="538"/>
              </a:spcAft>
              <a:buClr>
                <a:srgbClr val="FF0000"/>
              </a:buClr>
              <a:buFont typeface="Arial" pitchFamily="34" charset="0"/>
              <a:buChar char="•"/>
              <a:defRPr/>
            </a:pPr>
            <a:r>
              <a:rPr lang="en-US" sz="1900" kern="0" dirty="0">
                <a:solidFill>
                  <a:srgbClr val="FFFFFF"/>
                </a:solidFill>
                <a:ea typeface="ＭＳ Ｐゴシック" pitchFamily="34" charset="-128"/>
                <a:cs typeface="Arial" pitchFamily="34" charset="0"/>
              </a:rPr>
              <a:t>On-Premise</a:t>
            </a:r>
          </a:p>
          <a:p>
            <a:pPr marL="224935" indent="-224935" eaLnBrk="0" hangingPunct="0">
              <a:spcAft>
                <a:spcPts val="538"/>
              </a:spcAft>
              <a:buClr>
                <a:srgbClr val="FF0000"/>
              </a:buClr>
              <a:buFont typeface="Arial" pitchFamily="34" charset="0"/>
              <a:buChar char="•"/>
              <a:defRPr/>
            </a:pPr>
            <a:r>
              <a:rPr lang="en-US" sz="1900" kern="0" dirty="0">
                <a:solidFill>
                  <a:srgbClr val="FFFFFF"/>
                </a:solidFill>
                <a:ea typeface="ＭＳ Ｐゴシック" pitchFamily="34" charset="-128"/>
                <a:cs typeface="Arial" pitchFamily="34" charset="0"/>
              </a:rPr>
              <a:t>Private Cloud</a:t>
            </a:r>
          </a:p>
          <a:p>
            <a:pPr marL="224935" indent="-224935" eaLnBrk="0" hangingPunct="0">
              <a:spcAft>
                <a:spcPts val="538"/>
              </a:spcAft>
              <a:buClr>
                <a:srgbClr val="FF0000"/>
              </a:buClr>
              <a:buFont typeface="Arial" pitchFamily="34" charset="0"/>
              <a:buChar char="•"/>
              <a:defRPr/>
            </a:pPr>
            <a:r>
              <a:rPr lang="en-US" sz="1900" kern="0" dirty="0">
                <a:solidFill>
                  <a:srgbClr val="FFFFFF"/>
                </a:solidFill>
                <a:ea typeface="ＭＳ Ｐゴシック" pitchFamily="34" charset="-128"/>
                <a:cs typeface="Arial" pitchFamily="34" charset="0"/>
              </a:rPr>
              <a:t>Public Cloud</a:t>
            </a:r>
          </a:p>
          <a:p>
            <a:pPr marL="224935" indent="-224935" eaLnBrk="0" hangingPunct="0">
              <a:spcAft>
                <a:spcPts val="538"/>
              </a:spcAft>
              <a:buClr>
                <a:srgbClr val="FF0000"/>
              </a:buClr>
              <a:buFont typeface="Arial" pitchFamily="34" charset="0"/>
              <a:buChar char="•"/>
              <a:defRPr/>
            </a:pPr>
            <a:r>
              <a:rPr lang="en-US" sz="1900" kern="0" dirty="0">
                <a:solidFill>
                  <a:srgbClr val="FFFFFF"/>
                </a:solidFill>
                <a:ea typeface="ＭＳ Ｐゴシック" pitchFamily="34" charset="-128"/>
                <a:cs typeface="Arial" pitchFamily="34" charset="0"/>
              </a:rPr>
              <a:t>Hybrid</a:t>
            </a:r>
          </a:p>
        </p:txBody>
      </p:sp>
      <p:cxnSp>
        <p:nvCxnSpPr>
          <p:cNvPr id="36" name="Straight Connector 5"/>
          <p:cNvCxnSpPr>
            <a:cxnSpLocks noChangeShapeType="1"/>
          </p:cNvCxnSpPr>
          <p:nvPr/>
        </p:nvCxnSpPr>
        <p:spPr bwMode="auto">
          <a:xfrm>
            <a:off x="5467350" y="1289983"/>
            <a:ext cx="0" cy="2641838"/>
          </a:xfrm>
          <a:prstGeom prst="line">
            <a:avLst/>
          </a:prstGeom>
          <a:noFill/>
          <a:ln w="12700" algn="ctr">
            <a:gradFill>
              <a:gsLst>
                <a:gs pos="0">
                  <a:srgbClr val="FFFFFF">
                    <a:alpha val="0"/>
                  </a:srgbClr>
                </a:gs>
                <a:gs pos="50000">
                  <a:srgbClr val="FFFFFF">
                    <a:lumMod val="85000"/>
                  </a:srgbClr>
                </a:gs>
                <a:gs pos="100000">
                  <a:srgbClr val="FFFFFF">
                    <a:alpha val="0"/>
                  </a:srgbClr>
                </a:gs>
              </a:gsLst>
              <a:lin ang="5400000" scaled="0"/>
            </a:gradFill>
            <a:round/>
            <a:headEnd/>
            <a:tailEnd/>
          </a:ln>
          <a:extLst/>
        </p:spPr>
      </p:cxnSp>
      <p:pic>
        <p:nvPicPr>
          <p:cNvPr id="37" name="Picture 2" descr="D:\OPN Program Team Position\Corporate Branding\FY14 Product Stack 8 layers.png"/>
          <p:cNvPicPr>
            <a:picLocks noChangeAspect="1" noChangeArrowheads="1"/>
          </p:cNvPicPr>
          <p:nvPr/>
        </p:nvPicPr>
        <p:blipFill>
          <a:blip r:embed="rId4" cstate="print"/>
          <a:srcRect/>
          <a:stretch>
            <a:fillRect/>
          </a:stretch>
        </p:blipFill>
        <p:spPr bwMode="auto">
          <a:xfrm>
            <a:off x="300788" y="901821"/>
            <a:ext cx="2114424" cy="3682578"/>
          </a:xfrm>
          <a:prstGeom prst="rect">
            <a:avLst/>
          </a:prstGeom>
          <a:noFill/>
        </p:spPr>
      </p:pic>
    </p:spTree>
    <p:extLst>
      <p:ext uri="{BB962C8B-B14F-4D97-AF65-F5344CB8AC3E}">
        <p14:creationId xmlns:p14="http://schemas.microsoft.com/office/powerpoint/2010/main" val="181632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0-#ppt_w/2"/>
                                          </p:val>
                                        </p:tav>
                                        <p:tav tm="100000">
                                          <p:val>
                                            <p:strVal val="#ppt_x"/>
                                          </p:val>
                                        </p:tav>
                                      </p:tavLst>
                                    </p:anim>
                                    <p:anim calcmode="lin" valueType="num">
                                      <p:cBhvr additive="base">
                                        <p:cTn id="8" dur="10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0-#ppt_w/2"/>
                                          </p:val>
                                        </p:tav>
                                        <p:tav tm="100000">
                                          <p:val>
                                            <p:strVal val="#ppt_x"/>
                                          </p:val>
                                        </p:tav>
                                      </p:tavLst>
                                    </p:anim>
                                    <p:anim calcmode="lin" valueType="num">
                                      <p:cBhvr additive="base">
                                        <p:cTn id="12" dur="10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1000" fill="hold"/>
                                        <p:tgtEl>
                                          <p:spTgt spid="34"/>
                                        </p:tgtEl>
                                        <p:attrNameLst>
                                          <p:attrName>ppt_x</p:attrName>
                                        </p:attrNameLst>
                                      </p:cBhvr>
                                      <p:tavLst>
                                        <p:tav tm="0">
                                          <p:val>
                                            <p:strVal val="0-#ppt_w/2"/>
                                          </p:val>
                                        </p:tav>
                                        <p:tav tm="100000">
                                          <p:val>
                                            <p:strVal val="#ppt_x"/>
                                          </p:val>
                                        </p:tav>
                                      </p:tavLst>
                                    </p:anim>
                                    <p:anim calcmode="lin" valueType="num">
                                      <p:cBhvr additive="base">
                                        <p:cTn id="16" dur="1000" fill="hold"/>
                                        <p:tgtEl>
                                          <p:spTgt spid="3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1000" fill="hold"/>
                                        <p:tgtEl>
                                          <p:spTgt spid="35"/>
                                        </p:tgtEl>
                                        <p:attrNameLst>
                                          <p:attrName>ppt_x</p:attrName>
                                        </p:attrNameLst>
                                      </p:cBhvr>
                                      <p:tavLst>
                                        <p:tav tm="0">
                                          <p:val>
                                            <p:strVal val="0-#ppt_w/2"/>
                                          </p:val>
                                        </p:tav>
                                        <p:tav tm="100000">
                                          <p:val>
                                            <p:strVal val="#ppt_x"/>
                                          </p:val>
                                        </p:tav>
                                      </p:tavLst>
                                    </p:anim>
                                    <p:anim calcmode="lin" valueType="num">
                                      <p:cBhvr additive="base">
                                        <p:cTn id="20" dur="1000" fill="hold"/>
                                        <p:tgtEl>
                                          <p:spTgt spid="3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1000" fill="hold"/>
                                        <p:tgtEl>
                                          <p:spTgt spid="33"/>
                                        </p:tgtEl>
                                        <p:attrNameLst>
                                          <p:attrName>ppt_x</p:attrName>
                                        </p:attrNameLst>
                                      </p:cBhvr>
                                      <p:tavLst>
                                        <p:tav tm="0">
                                          <p:val>
                                            <p:strVal val="0-#ppt_w/2"/>
                                          </p:val>
                                        </p:tav>
                                        <p:tav tm="100000">
                                          <p:val>
                                            <p:strVal val="#ppt_x"/>
                                          </p:val>
                                        </p:tav>
                                      </p:tavLst>
                                    </p:anim>
                                    <p:anim calcmode="lin" valueType="num">
                                      <p:cBhvr additive="base">
                                        <p:cTn id="24" dur="10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p:nvPr/>
        </p:nvGrpSpPr>
        <p:grpSpPr>
          <a:xfrm>
            <a:off x="0" y="840900"/>
            <a:ext cx="9144000" cy="3468700"/>
            <a:chOff x="0" y="1261806"/>
            <a:chExt cx="9144000" cy="2982452"/>
          </a:xfrm>
        </p:grpSpPr>
        <p:sp>
          <p:nvSpPr>
            <p:cNvPr id="5" name="Rectangle 4"/>
            <p:cNvSpPr/>
            <p:nvPr/>
          </p:nvSpPr>
          <p:spPr>
            <a:xfrm>
              <a:off x="3654323" y="1261806"/>
              <a:ext cx="5489677" cy="2982452"/>
            </a:xfrm>
            <a:prstGeom prst="rect">
              <a:avLst/>
            </a:prstGeom>
            <a:solidFill>
              <a:srgbClr val="FF1414"/>
            </a:solidFill>
            <a:ln w="25400" cap="flat" cmpd="sng" algn="ctr">
              <a:noFill/>
              <a:prstDash val="solid"/>
            </a:ln>
            <a:effectLst/>
          </p:spPr>
          <p:txBody>
            <a:bodyPr rtlCol="0" anchor="ctr"/>
            <a:lstStyle/>
            <a:p>
              <a:pPr algn="ctr" fontAlgn="auto">
                <a:spcBef>
                  <a:spcPts val="0"/>
                </a:spcBef>
                <a:spcAft>
                  <a:spcPts val="0"/>
                </a:spcAft>
                <a:defRPr/>
              </a:pPr>
              <a:endParaRPr lang="en-US" sz="1800" kern="0" dirty="0">
                <a:solidFill>
                  <a:prstClr val="white"/>
                </a:solidFill>
                <a:latin typeface="Arial"/>
                <a:ea typeface="+mn-ea"/>
              </a:endParaRPr>
            </a:p>
          </p:txBody>
        </p:sp>
        <p:sp>
          <p:nvSpPr>
            <p:cNvPr id="6" name="Pentagon 5"/>
            <p:cNvSpPr/>
            <p:nvPr/>
          </p:nvSpPr>
          <p:spPr>
            <a:xfrm>
              <a:off x="1999226" y="1261808"/>
              <a:ext cx="3195484" cy="2982450"/>
            </a:xfrm>
            <a:prstGeom prst="homePlate">
              <a:avLst>
                <a:gd name="adj" fmla="val 21923"/>
              </a:avLst>
            </a:prstGeom>
            <a:solidFill>
              <a:srgbClr val="FF1414">
                <a:lumMod val="75000"/>
              </a:srgbClr>
            </a:solidFill>
            <a:ln w="25400" cap="flat" cmpd="sng" algn="ctr">
              <a:noFill/>
              <a:prstDash val="solid"/>
            </a:ln>
            <a:effectLst/>
          </p:spPr>
          <p:txBody>
            <a:bodyPr rtlCol="0" anchor="ctr"/>
            <a:lstStyle/>
            <a:p>
              <a:pPr algn="ctr" fontAlgn="auto">
                <a:spcBef>
                  <a:spcPts val="0"/>
                </a:spcBef>
                <a:spcAft>
                  <a:spcPts val="0"/>
                </a:spcAft>
                <a:defRPr/>
              </a:pPr>
              <a:endParaRPr lang="en-US" sz="1800" kern="0" dirty="0">
                <a:solidFill>
                  <a:prstClr val="white"/>
                </a:solidFill>
                <a:latin typeface="Arial"/>
                <a:ea typeface="+mn-ea"/>
              </a:endParaRPr>
            </a:p>
          </p:txBody>
        </p:sp>
        <p:sp>
          <p:nvSpPr>
            <p:cNvPr id="7" name="Pentagon 6"/>
            <p:cNvSpPr/>
            <p:nvPr/>
          </p:nvSpPr>
          <p:spPr>
            <a:xfrm>
              <a:off x="0" y="1261808"/>
              <a:ext cx="2736645" cy="2982450"/>
            </a:xfrm>
            <a:prstGeom prst="homePlate">
              <a:avLst>
                <a:gd name="adj" fmla="val 21923"/>
              </a:avLst>
            </a:prstGeom>
            <a:solidFill>
              <a:srgbClr val="FF1414">
                <a:lumMod val="50000"/>
              </a:srgbClr>
            </a:solidFill>
            <a:ln w="25400" cap="flat" cmpd="sng" algn="ctr">
              <a:noFill/>
              <a:prstDash val="solid"/>
            </a:ln>
            <a:effectLst/>
          </p:spPr>
          <p:txBody>
            <a:bodyPr rtlCol="0" anchor="ctr"/>
            <a:lstStyle/>
            <a:p>
              <a:pPr algn="ctr" fontAlgn="auto">
                <a:spcBef>
                  <a:spcPts val="0"/>
                </a:spcBef>
                <a:spcAft>
                  <a:spcPts val="0"/>
                </a:spcAft>
                <a:defRPr/>
              </a:pPr>
              <a:endParaRPr lang="en-US" sz="1800" kern="0" dirty="0">
                <a:solidFill>
                  <a:prstClr val="white"/>
                </a:solidFill>
                <a:latin typeface="Arial"/>
                <a:ea typeface="+mn-ea"/>
              </a:endParaRPr>
            </a:p>
          </p:txBody>
        </p:sp>
      </p:grpSp>
      <p:sp>
        <p:nvSpPr>
          <p:cNvPr id="21506" name="Title 1"/>
          <p:cNvSpPr>
            <a:spLocks noGrp="1"/>
          </p:cNvSpPr>
          <p:nvPr>
            <p:ph type="title"/>
          </p:nvPr>
        </p:nvSpPr>
        <p:spPr>
          <a:xfrm>
            <a:off x="804863" y="246063"/>
            <a:ext cx="8229600" cy="406400"/>
          </a:xfrm>
        </p:spPr>
        <p:txBody>
          <a:bodyPr/>
          <a:lstStyle/>
          <a:p>
            <a:r>
              <a:rPr lang="en-US" sz="2800" dirty="0" smtClean="0"/>
              <a:t>Our Market Potential is Massive</a:t>
            </a:r>
          </a:p>
        </p:txBody>
      </p:sp>
      <p:sp>
        <p:nvSpPr>
          <p:cNvPr id="8" name="Content Placeholder 2"/>
          <p:cNvSpPr>
            <a:spLocks noGrp="1"/>
          </p:cNvSpPr>
          <p:nvPr>
            <p:ph sz="quarter" idx="4294967295"/>
          </p:nvPr>
        </p:nvSpPr>
        <p:spPr>
          <a:xfrm>
            <a:off x="174003" y="982996"/>
            <a:ext cx="8229600" cy="3062606"/>
          </a:xfrm>
          <a:prstGeom prst="rect">
            <a:avLst/>
          </a:prstGeom>
        </p:spPr>
        <p:txBody>
          <a:bodyPr/>
          <a:lstStyle/>
          <a:p>
            <a:r>
              <a:rPr lang="en-US" sz="2300" b="1" dirty="0" smtClean="0">
                <a:solidFill>
                  <a:schemeClr val="bg1"/>
                </a:solidFill>
              </a:rPr>
              <a:t>Total Market Opportunity for Hardware Running                  Oracle Apps &amp; Oracle Database: $26.8B</a:t>
            </a:r>
          </a:p>
          <a:p>
            <a:pPr lvl="1"/>
            <a:r>
              <a:rPr lang="en-US" sz="2200" kern="0" dirty="0" smtClean="0">
                <a:solidFill>
                  <a:prstClr val="white"/>
                </a:solidFill>
                <a:latin typeface="Arial Narrow"/>
                <a:cs typeface="Arial Narrow"/>
              </a:rPr>
              <a:t>Storage:  $9.5B   Servers:  $17.3B</a:t>
            </a:r>
            <a:endParaRPr lang="en-US" sz="2100" b="1" dirty="0" smtClean="0">
              <a:solidFill>
                <a:schemeClr val="bg1"/>
              </a:solidFill>
            </a:endParaRPr>
          </a:p>
          <a:p>
            <a:endParaRPr lang="en-US" sz="2300" b="1" dirty="0" smtClean="0">
              <a:solidFill>
                <a:schemeClr val="bg1"/>
              </a:solidFill>
            </a:endParaRPr>
          </a:p>
          <a:p>
            <a:pPr defTabSz="888824" fontAlgn="auto">
              <a:lnSpc>
                <a:spcPct val="90000"/>
              </a:lnSpc>
              <a:spcBef>
                <a:spcPts val="0"/>
              </a:spcBef>
              <a:spcAft>
                <a:spcPct val="35000"/>
              </a:spcAft>
              <a:buClr>
                <a:srgbClr val="FF1414"/>
              </a:buClr>
              <a:defRPr/>
            </a:pPr>
            <a:r>
              <a:rPr lang="en-US" sz="2300" b="1" kern="0" dirty="0" smtClean="0">
                <a:solidFill>
                  <a:prstClr val="white"/>
                </a:solidFill>
                <a:latin typeface="Arial"/>
              </a:rPr>
              <a:t>Market Share Impact if 25% HW Conversion                                       of Total SW Opportunity:  </a:t>
            </a:r>
          </a:p>
          <a:p>
            <a:pPr lvl="1"/>
            <a:r>
              <a:rPr lang="en-US" sz="2200" kern="0" dirty="0" smtClean="0">
                <a:solidFill>
                  <a:prstClr val="white"/>
                </a:solidFill>
                <a:latin typeface="Arial Narrow"/>
                <a:cs typeface="Arial Narrow"/>
              </a:rPr>
              <a:t>Storage:  19% Share    Servers:  20% Share</a:t>
            </a:r>
            <a:endParaRPr lang="en-US" sz="2100" b="1" dirty="0" smtClean="0">
              <a:solidFill>
                <a:schemeClr val="bg1"/>
              </a:solidFill>
            </a:endParaRPr>
          </a:p>
          <a:p>
            <a:pPr defTabSz="888824" fontAlgn="auto">
              <a:lnSpc>
                <a:spcPct val="90000"/>
              </a:lnSpc>
              <a:spcBef>
                <a:spcPts val="0"/>
              </a:spcBef>
              <a:spcAft>
                <a:spcPct val="35000"/>
              </a:spcAft>
              <a:buClr>
                <a:srgbClr val="FF1414"/>
              </a:buClr>
              <a:buNone/>
              <a:defRPr/>
            </a:pPr>
            <a:r>
              <a:rPr lang="en-US" sz="2800" b="1" kern="0" dirty="0" smtClean="0">
                <a:solidFill>
                  <a:prstClr val="white"/>
                </a:solidFill>
                <a:latin typeface="Arial"/>
              </a:rPr>
              <a:t/>
            </a:r>
            <a:br>
              <a:rPr lang="en-US" sz="2800" b="1" kern="0" dirty="0" smtClean="0">
                <a:solidFill>
                  <a:prstClr val="white"/>
                </a:solidFill>
                <a:latin typeface="Arial"/>
              </a:rPr>
            </a:br>
            <a:endParaRPr lang="en-US" sz="2000" dirty="0" smtClean="0">
              <a:solidFill>
                <a:schemeClr val="bg1"/>
              </a:solidFill>
            </a:endParaRPr>
          </a:p>
          <a:p>
            <a:endParaRPr lang="en-US" sz="2300" b="1" dirty="0" smtClean="0">
              <a:solidFill>
                <a:schemeClr val="bg1"/>
              </a:solidFill>
            </a:endParaRPr>
          </a:p>
        </p:txBody>
      </p:sp>
      <p:pic>
        <p:nvPicPr>
          <p:cNvPr id="10" name="Picture 9" descr="ssparc_sc_t4-4_ta1d_COMP_uni.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77771" y="1306286"/>
            <a:ext cx="870285" cy="2826548"/>
          </a:xfrm>
          <a:prstGeom prst="rect">
            <a:avLst/>
          </a:prstGeom>
        </p:spPr>
      </p:pic>
      <p:pic>
        <p:nvPicPr>
          <p:cNvPr id="9" name="Picture 2" descr="C:\Users\tshetler.ST-USERS\Desktop\Art\exadata_x3-2_full_ta1d.png"/>
          <p:cNvPicPr>
            <a:picLocks noChangeAspect="1" noChangeArrowheads="1"/>
          </p:cNvPicPr>
          <p:nvPr/>
        </p:nvPicPr>
        <p:blipFill>
          <a:blip r:embed="rId4" cstate="print"/>
          <a:srcRect/>
          <a:stretch>
            <a:fillRect/>
          </a:stretch>
        </p:blipFill>
        <p:spPr bwMode="auto">
          <a:xfrm>
            <a:off x="7213561" y="1310529"/>
            <a:ext cx="847052" cy="2794940"/>
          </a:xfrm>
          <a:prstGeom prst="rect">
            <a:avLst/>
          </a:prstGeom>
          <a:noFill/>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812069148"/>
      </p:ext>
    </p:extLst>
  </p:cSld>
  <p:clrMapOvr>
    <a:masterClrMapping/>
  </p:clrMapOvr>
  <p:transition spd="med">
    <p:randomBa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wipe(left)">
                                      <p:cBhvr>
                                        <p:cTn id="7" dur="500"/>
                                        <p:tgtEl>
                                          <p:spTgt spid="8">
                                            <p:txEl>
                                              <p:pRg st="3" end="3"/>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animEffect transition="in" filter="wipe(left)">
                                      <p:cBhvr>
                                        <p:cTn id="11"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bwMode="auto">
          <a:xfrm>
            <a:off x="0" y="2243138"/>
            <a:ext cx="9144000" cy="1479550"/>
          </a:xfrm>
          <a:prstGeom prst="rect">
            <a:avLst/>
          </a:prstGeom>
          <a:gradFill flip="none" rotWithShape="1">
            <a:gsLst>
              <a:gs pos="0">
                <a:srgbClr val="C80000"/>
              </a:gs>
              <a:gs pos="100000">
                <a:srgbClr val="FF1414"/>
              </a:gs>
            </a:gsLst>
            <a:lin ang="16200000" scaled="1"/>
            <a:tileRect/>
          </a:gradFill>
          <a:ln>
            <a:noFill/>
          </a:ln>
          <a:effectLst/>
        </p:spPr>
        <p:txBody>
          <a:bodyPr lIns="0" tIns="0" rIns="0" bIns="0" anchor="ctr"/>
          <a:lstStyle/>
          <a:p>
            <a:pPr marL="119063" indent="-119063" algn="ctr" fontAlgn="auto">
              <a:lnSpc>
                <a:spcPct val="90000"/>
              </a:lnSpc>
              <a:spcBef>
                <a:spcPts val="0"/>
              </a:spcBef>
              <a:spcAft>
                <a:spcPts val="0"/>
              </a:spcAft>
              <a:buClr>
                <a:srgbClr val="FD0000"/>
              </a:buClr>
              <a:defRPr/>
            </a:pPr>
            <a:endParaRPr lang="en-US" sz="1400" b="1" kern="0" dirty="0">
              <a:solidFill>
                <a:schemeClr val="bg1"/>
              </a:solidFill>
              <a:latin typeface="+mn-lt"/>
              <a:ea typeface="ヒラギノ角ゴ Pro W3"/>
              <a:cs typeface="ヒラギノ角ゴ Pro W3"/>
            </a:endParaRPr>
          </a:p>
        </p:txBody>
      </p:sp>
      <p:sp>
        <p:nvSpPr>
          <p:cNvPr id="31747" name="Rectangle 2"/>
          <p:cNvSpPr>
            <a:spLocks noGrp="1" noChangeArrowheads="1"/>
          </p:cNvSpPr>
          <p:nvPr>
            <p:ph type="title"/>
          </p:nvPr>
        </p:nvSpPr>
        <p:spPr>
          <a:xfrm>
            <a:off x="804863" y="246063"/>
            <a:ext cx="8229600" cy="768350"/>
          </a:xfrm>
        </p:spPr>
        <p:txBody>
          <a:bodyPr/>
          <a:lstStyle/>
          <a:p>
            <a:pPr eaLnBrk="1" hangingPunct="1"/>
            <a:r>
              <a:rPr lang="en-US" dirty="0" smtClean="0"/>
              <a:t>Oracle Engineered Systems</a:t>
            </a:r>
            <a:endParaRPr lang="en-US" dirty="0" smtClean="0">
              <a:solidFill>
                <a:srgbClr val="FF0000"/>
              </a:solidFill>
            </a:endParaRPr>
          </a:p>
        </p:txBody>
      </p:sp>
      <p:grpSp>
        <p:nvGrpSpPr>
          <p:cNvPr id="3" name="Group 27"/>
          <p:cNvGrpSpPr>
            <a:grpSpLocks/>
          </p:cNvGrpSpPr>
          <p:nvPr/>
        </p:nvGrpSpPr>
        <p:grpSpPr bwMode="auto">
          <a:xfrm>
            <a:off x="790575" y="1001928"/>
            <a:ext cx="1633538" cy="2275880"/>
            <a:chOff x="1460914" y="1005802"/>
            <a:chExt cx="1749777" cy="2436256"/>
          </a:xfrm>
        </p:grpSpPr>
        <p:sp>
          <p:nvSpPr>
            <p:cNvPr id="31774" name="TextBox 17"/>
            <p:cNvSpPr txBox="1">
              <a:spLocks noChangeArrowheads="1"/>
            </p:cNvSpPr>
            <p:nvPr/>
          </p:nvSpPr>
          <p:spPr bwMode="auto">
            <a:xfrm>
              <a:off x="1460914" y="2651480"/>
              <a:ext cx="1749777" cy="790578"/>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Exalogic</a:t>
              </a:r>
            </a:p>
            <a:p>
              <a:pPr algn="ctr" defTabSz="912813"/>
              <a:r>
                <a:rPr lang="en-US" sz="1400" b="1" dirty="0">
                  <a:solidFill>
                    <a:schemeClr val="bg1"/>
                  </a:solidFill>
                </a:rPr>
                <a:t>Elastic</a:t>
              </a:r>
              <a:br>
                <a:rPr lang="en-US" sz="1400" b="1" dirty="0">
                  <a:solidFill>
                    <a:schemeClr val="bg1"/>
                  </a:solidFill>
                </a:rPr>
              </a:br>
              <a:r>
                <a:rPr lang="en-US" sz="1400" b="1" dirty="0">
                  <a:solidFill>
                    <a:schemeClr val="bg1"/>
                  </a:solidFill>
                </a:rPr>
                <a:t>Cloud</a:t>
              </a:r>
            </a:p>
          </p:txBody>
        </p:sp>
        <p:pic>
          <p:nvPicPr>
            <p:cNvPr id="20" name="Picture 4" descr="Exalogic_1up_0074.png"/>
            <p:cNvPicPr>
              <a:picLocks/>
            </p:cNvPicPr>
            <p:nvPr/>
          </p:nvPicPr>
          <p:blipFill>
            <a:blip r:embed="rId3" cstate="print"/>
            <a:stretch>
              <a:fillRect/>
            </a:stretch>
          </p:blipFill>
          <p:spPr bwMode="auto">
            <a:xfrm>
              <a:off x="1965952" y="1005802"/>
              <a:ext cx="746503" cy="1644988"/>
            </a:xfrm>
            <a:prstGeom prst="rect">
              <a:avLst/>
            </a:prstGeom>
            <a:ln>
              <a:noFill/>
            </a:ln>
            <a:effectLst>
              <a:outerShdw blurRad="88900" dir="1200000" sy="23000" kx="-1200000" algn="bl" rotWithShape="0">
                <a:prstClr val="black">
                  <a:alpha val="23000"/>
                </a:prstClr>
              </a:outerShdw>
            </a:effectLst>
          </p:spPr>
        </p:pic>
      </p:grpSp>
      <p:grpSp>
        <p:nvGrpSpPr>
          <p:cNvPr id="4" name="Group 20"/>
          <p:cNvGrpSpPr>
            <a:grpSpLocks/>
          </p:cNvGrpSpPr>
          <p:nvPr/>
        </p:nvGrpSpPr>
        <p:grpSpPr bwMode="auto">
          <a:xfrm>
            <a:off x="101600" y="860641"/>
            <a:ext cx="1243013" cy="2157412"/>
            <a:chOff x="4855661" y="875683"/>
            <a:chExt cx="1331314" cy="2310220"/>
          </a:xfrm>
        </p:grpSpPr>
        <p:sp>
          <p:nvSpPr>
            <p:cNvPr id="31772" name="TextBox 21"/>
            <p:cNvSpPr txBox="1">
              <a:spLocks noChangeArrowheads="1"/>
            </p:cNvSpPr>
            <p:nvPr/>
          </p:nvSpPr>
          <p:spPr bwMode="auto">
            <a:xfrm>
              <a:off x="4855661" y="2662812"/>
              <a:ext cx="1253379" cy="523091"/>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Big Data Appliance</a:t>
              </a:r>
            </a:p>
          </p:txBody>
        </p:sp>
        <p:pic>
          <p:nvPicPr>
            <p:cNvPr id="31773" name="Picture 6" descr="http://www.oracle.com/ocom/groups/public/@ocom/documents/digitalasset/505694.png"/>
            <p:cNvPicPr>
              <a:picLocks noChangeAspect="1" noChangeArrowheads="1"/>
            </p:cNvPicPr>
            <p:nvPr/>
          </p:nvPicPr>
          <p:blipFill>
            <a:blip r:embed="rId4" cstate="print"/>
            <a:srcRect/>
            <a:stretch>
              <a:fillRect/>
            </a:stretch>
          </p:blipFill>
          <p:spPr bwMode="auto">
            <a:xfrm>
              <a:off x="5072026" y="875683"/>
              <a:ext cx="1114949" cy="1984802"/>
            </a:xfrm>
            <a:prstGeom prst="rect">
              <a:avLst/>
            </a:prstGeom>
            <a:noFill/>
            <a:ln w="9525">
              <a:noFill/>
              <a:miter lim="800000"/>
              <a:headEnd/>
              <a:tailEnd/>
            </a:ln>
          </p:spPr>
        </p:pic>
      </p:grpSp>
      <p:grpSp>
        <p:nvGrpSpPr>
          <p:cNvPr id="5" name="Group 25"/>
          <p:cNvGrpSpPr>
            <a:grpSpLocks/>
          </p:cNvGrpSpPr>
          <p:nvPr/>
        </p:nvGrpSpPr>
        <p:grpSpPr bwMode="auto">
          <a:xfrm>
            <a:off x="2532063" y="1892516"/>
            <a:ext cx="1800225" cy="982662"/>
            <a:chOff x="2849793" y="1886221"/>
            <a:chExt cx="2166994" cy="1182683"/>
          </a:xfrm>
        </p:grpSpPr>
        <p:sp>
          <p:nvSpPr>
            <p:cNvPr id="31770" name="TextBox 15"/>
            <p:cNvSpPr txBox="1">
              <a:spLocks noChangeArrowheads="1"/>
            </p:cNvSpPr>
            <p:nvPr/>
          </p:nvSpPr>
          <p:spPr bwMode="auto">
            <a:xfrm>
              <a:off x="2849793" y="2698625"/>
              <a:ext cx="2166994" cy="370279"/>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Exalytics</a:t>
              </a:r>
            </a:p>
          </p:txBody>
        </p:sp>
        <p:pic>
          <p:nvPicPr>
            <p:cNvPr id="2" name="Picture 1" descr="Exalytics.png"/>
            <p:cNvPicPr>
              <a:picLocks noChangeAspect="1"/>
            </p:cNvPicPr>
            <p:nvPr/>
          </p:nvPicPr>
          <p:blipFill>
            <a:blip r:embed="rId5" cstate="print"/>
            <a:stretch>
              <a:fillRect/>
            </a:stretch>
          </p:blipFill>
          <p:spPr>
            <a:xfrm>
              <a:off x="3205226" y="1886221"/>
              <a:ext cx="1360582" cy="710757"/>
            </a:xfrm>
            <a:prstGeom prst="rect">
              <a:avLst/>
            </a:prstGeom>
            <a:effectLst>
              <a:outerShdw blurRad="88900" dir="1200000" sy="23000" kx="-1200000" algn="bl" rotWithShape="0">
                <a:prstClr val="black">
                  <a:alpha val="23000"/>
                </a:prstClr>
              </a:outerShdw>
            </a:effectLst>
          </p:spPr>
        </p:pic>
      </p:grpSp>
      <p:sp>
        <p:nvSpPr>
          <p:cNvPr id="31756" name="TextBox 20"/>
          <p:cNvSpPr txBox="1">
            <a:spLocks noChangeArrowheads="1"/>
          </p:cNvSpPr>
          <p:nvPr/>
        </p:nvSpPr>
        <p:spPr bwMode="auto">
          <a:xfrm>
            <a:off x="4840288" y="2548153"/>
            <a:ext cx="2293937" cy="307975"/>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SuperCluster</a:t>
            </a:r>
          </a:p>
        </p:txBody>
      </p:sp>
      <p:grpSp>
        <p:nvGrpSpPr>
          <p:cNvPr id="6" name="Group 37"/>
          <p:cNvGrpSpPr>
            <a:grpSpLocks/>
          </p:cNvGrpSpPr>
          <p:nvPr/>
        </p:nvGrpSpPr>
        <p:grpSpPr bwMode="auto">
          <a:xfrm>
            <a:off x="6602413" y="889216"/>
            <a:ext cx="1812925" cy="1958625"/>
            <a:chOff x="4479791" y="1094560"/>
            <a:chExt cx="1940706" cy="2096902"/>
          </a:xfrm>
        </p:grpSpPr>
        <p:sp>
          <p:nvSpPr>
            <p:cNvPr id="31768" name="TextBox 16"/>
            <p:cNvSpPr txBox="1">
              <a:spLocks noChangeArrowheads="1"/>
            </p:cNvSpPr>
            <p:nvPr/>
          </p:nvSpPr>
          <p:spPr bwMode="auto">
            <a:xfrm>
              <a:off x="4479791" y="2862095"/>
              <a:ext cx="1940706" cy="329367"/>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Exadata</a:t>
              </a:r>
            </a:p>
          </p:txBody>
        </p:sp>
        <p:pic>
          <p:nvPicPr>
            <p:cNvPr id="37" name="Picture Placeholder 9" descr="exadata_x3-8_ta4d.png"/>
            <p:cNvPicPr>
              <a:picLocks noChangeAspect="1"/>
            </p:cNvPicPr>
            <p:nvPr/>
          </p:nvPicPr>
          <p:blipFill>
            <a:blip r:embed="rId6" cstate="print"/>
            <a:srcRect t="-3538" b="-3538"/>
            <a:stretch>
              <a:fillRect/>
            </a:stretch>
          </p:blipFill>
          <p:spPr>
            <a:xfrm>
              <a:off x="5033793" y="1094560"/>
              <a:ext cx="732438" cy="1818547"/>
            </a:xfrm>
            <a:prstGeom prst="rect">
              <a:avLst/>
            </a:prstGeom>
            <a:effectLst>
              <a:outerShdw blurRad="76200" dir="18900000" sy="23000" kx="-1200000" algn="bl" rotWithShape="0">
                <a:prstClr val="black">
                  <a:alpha val="20000"/>
                </a:prstClr>
              </a:outerShdw>
            </a:effectLst>
          </p:spPr>
        </p:pic>
      </p:grpSp>
      <p:grpSp>
        <p:nvGrpSpPr>
          <p:cNvPr id="7" name="Group 50"/>
          <p:cNvGrpSpPr>
            <a:grpSpLocks/>
          </p:cNvGrpSpPr>
          <p:nvPr/>
        </p:nvGrpSpPr>
        <p:grpSpPr bwMode="auto">
          <a:xfrm>
            <a:off x="7772400" y="954303"/>
            <a:ext cx="1281113" cy="2470150"/>
            <a:chOff x="-1393376" y="3750186"/>
            <a:chExt cx="1371596" cy="2644326"/>
          </a:xfrm>
        </p:grpSpPr>
        <p:pic>
          <p:nvPicPr>
            <p:cNvPr id="50" name="Picture Placeholder 3"/>
            <p:cNvPicPr>
              <a:picLocks noChangeAspect="1"/>
            </p:cNvPicPr>
            <p:nvPr/>
          </p:nvPicPr>
          <p:blipFill>
            <a:blip r:embed="rId7" cstate="print"/>
            <a:stretch>
              <a:fillRect/>
            </a:stretch>
          </p:blipFill>
          <p:spPr bwMode="auto">
            <a:xfrm>
              <a:off x="-1009261" y="3750186"/>
              <a:ext cx="732538" cy="1697739"/>
            </a:xfrm>
            <a:prstGeom prst="rect">
              <a:avLst/>
            </a:prstGeom>
            <a:noFill/>
            <a:ln>
              <a:noFill/>
            </a:ln>
            <a:effectLst>
              <a:outerShdw blurRad="76200" dir="18900000" sy="23000" kx="-1200000" algn="bl" rotWithShape="0">
                <a:prstClr val="black">
                  <a:alpha val="20000"/>
                </a:prstClr>
              </a:outerShdw>
            </a:effectLst>
            <a:extLst>
              <a:ext uri="{FAA26D3D-D897-4be2-8F04-BA451C77F1D7}"/>
            </a:extLst>
          </p:spPr>
        </p:pic>
        <p:sp>
          <p:nvSpPr>
            <p:cNvPr id="31767" name="TextBox 21"/>
            <p:cNvSpPr txBox="1">
              <a:spLocks noChangeArrowheads="1"/>
            </p:cNvSpPr>
            <p:nvPr/>
          </p:nvSpPr>
          <p:spPr bwMode="auto">
            <a:xfrm>
              <a:off x="-1393376" y="5440534"/>
              <a:ext cx="1371596" cy="953978"/>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Backup, Logging </a:t>
              </a:r>
              <a:br>
                <a:rPr lang="en-US" sz="1400" b="1" dirty="0">
                  <a:solidFill>
                    <a:schemeClr val="bg1"/>
                  </a:solidFill>
                </a:rPr>
              </a:br>
              <a:r>
                <a:rPr lang="en-US" sz="1400" b="1" dirty="0">
                  <a:solidFill>
                    <a:schemeClr val="bg1"/>
                  </a:solidFill>
                </a:rPr>
                <a:t>and Recovery Appliance</a:t>
              </a:r>
            </a:p>
          </p:txBody>
        </p:sp>
      </p:grpSp>
      <p:grpSp>
        <p:nvGrpSpPr>
          <p:cNvPr id="8" name="Group 30"/>
          <p:cNvGrpSpPr>
            <a:grpSpLocks/>
          </p:cNvGrpSpPr>
          <p:nvPr/>
        </p:nvGrpSpPr>
        <p:grpSpPr bwMode="auto">
          <a:xfrm>
            <a:off x="3962400" y="2216366"/>
            <a:ext cx="1154113" cy="858837"/>
            <a:chOff x="2744459" y="2800378"/>
            <a:chExt cx="1154965" cy="859140"/>
          </a:xfrm>
        </p:grpSpPr>
        <p:sp>
          <p:nvSpPr>
            <p:cNvPr id="31764" name="TextBox 16"/>
            <p:cNvSpPr txBox="1">
              <a:spLocks noChangeArrowheads="1"/>
            </p:cNvSpPr>
            <p:nvPr/>
          </p:nvSpPr>
          <p:spPr bwMode="auto">
            <a:xfrm>
              <a:off x="2744459" y="3136427"/>
              <a:ext cx="1154965" cy="523091"/>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Database Appliance</a:t>
              </a:r>
            </a:p>
          </p:txBody>
        </p:sp>
        <p:pic>
          <p:nvPicPr>
            <p:cNvPr id="30" name="Picture 2"/>
            <p:cNvPicPr>
              <a:picLocks noChangeAspect="1" noChangeArrowheads="1"/>
            </p:cNvPicPr>
            <p:nvPr/>
          </p:nvPicPr>
          <p:blipFill>
            <a:blip r:embed="rId8" cstate="print"/>
            <a:srcRect/>
            <a:stretch>
              <a:fillRect/>
            </a:stretch>
          </p:blipFill>
          <p:spPr bwMode="auto">
            <a:xfrm>
              <a:off x="2963696" y="2800378"/>
              <a:ext cx="692661" cy="250913"/>
            </a:xfrm>
            <a:prstGeom prst="rect">
              <a:avLst/>
            </a:prstGeom>
            <a:noFill/>
            <a:ln w="9525">
              <a:noFill/>
              <a:miter lim="800000"/>
              <a:headEnd/>
              <a:tailEnd/>
            </a:ln>
            <a:effectLst>
              <a:outerShdw blurRad="76200" dir="18900000" sy="23000" kx="-1200000" algn="bl" rotWithShape="0">
                <a:prstClr val="black">
                  <a:alpha val="20000"/>
                </a:prstClr>
              </a:outerShdw>
            </a:effectLst>
          </p:spPr>
        </p:pic>
      </p:grpSp>
      <p:grpSp>
        <p:nvGrpSpPr>
          <p:cNvPr id="9" name="Group 35"/>
          <p:cNvGrpSpPr>
            <a:grpSpLocks/>
          </p:cNvGrpSpPr>
          <p:nvPr/>
        </p:nvGrpSpPr>
        <p:grpSpPr bwMode="auto">
          <a:xfrm>
            <a:off x="1941513" y="1024153"/>
            <a:ext cx="1060450" cy="2257425"/>
            <a:chOff x="2262880" y="974702"/>
            <a:chExt cx="1059869" cy="2257455"/>
          </a:xfrm>
        </p:grpSpPr>
        <p:sp>
          <p:nvSpPr>
            <p:cNvPr id="31762" name="TextBox 16"/>
            <p:cNvSpPr txBox="1">
              <a:spLocks noChangeArrowheads="1"/>
            </p:cNvSpPr>
            <p:nvPr/>
          </p:nvSpPr>
          <p:spPr bwMode="auto">
            <a:xfrm>
              <a:off x="2262880" y="2493622"/>
              <a:ext cx="1059869" cy="738535"/>
            </a:xfrm>
            <a:prstGeom prst="rect">
              <a:avLst/>
            </a:prstGeom>
            <a:noFill/>
            <a:ln w="9525">
              <a:noFill/>
              <a:miter lim="800000"/>
              <a:headEnd/>
              <a:tailEnd/>
            </a:ln>
          </p:spPr>
          <p:txBody>
            <a:bodyPr lIns="91312" tIns="45656" rIns="91312" bIns="45656">
              <a:spAutoFit/>
            </a:bodyPr>
            <a:lstStyle/>
            <a:p>
              <a:pPr algn="ctr" defTabSz="912813"/>
              <a:r>
                <a:rPr lang="en-US" sz="1400" b="1" dirty="0">
                  <a:solidFill>
                    <a:schemeClr val="bg1"/>
                  </a:solidFill>
                </a:rPr>
                <a:t>Virtual Compute Appliance</a:t>
              </a:r>
            </a:p>
          </p:txBody>
        </p:sp>
        <p:pic>
          <p:nvPicPr>
            <p:cNvPr id="33" name="Picture 2"/>
            <p:cNvPicPr>
              <a:picLocks noChangeAspect="1" noChangeArrowheads="1"/>
            </p:cNvPicPr>
            <p:nvPr/>
          </p:nvPicPr>
          <p:blipFill>
            <a:blip r:embed="rId9" cstate="print"/>
            <a:srcRect/>
            <a:stretch>
              <a:fillRect/>
            </a:stretch>
          </p:blipFill>
          <p:spPr bwMode="auto">
            <a:xfrm>
              <a:off x="2546886" y="974702"/>
              <a:ext cx="480749" cy="1468458"/>
            </a:xfrm>
            <a:prstGeom prst="rect">
              <a:avLst/>
            </a:prstGeom>
            <a:noFill/>
            <a:ln w="9525">
              <a:noFill/>
              <a:miter lim="800000"/>
              <a:headEnd/>
              <a:tailEnd/>
            </a:ln>
            <a:effectLst>
              <a:outerShdw blurRad="76200" dir="18900000" sy="23000" kx="-1200000" algn="bl" rotWithShape="0">
                <a:prstClr val="black">
                  <a:alpha val="20000"/>
                </a:prstClr>
              </a:outerShdw>
            </a:effectLst>
          </p:spPr>
        </p:pic>
      </p:grpSp>
      <p:pic>
        <p:nvPicPr>
          <p:cNvPr id="35" name="Picture 34" descr="SC-family-trans.png"/>
          <p:cNvPicPr>
            <a:picLocks noChangeAspect="1"/>
          </p:cNvPicPr>
          <p:nvPr/>
        </p:nvPicPr>
        <p:blipFill>
          <a:blip r:embed="rId10" cstate="print"/>
          <a:stretch>
            <a:fillRect/>
          </a:stretch>
        </p:blipFill>
        <p:spPr>
          <a:xfrm>
            <a:off x="5119688" y="995578"/>
            <a:ext cx="1776412" cy="1547813"/>
          </a:xfrm>
          <a:prstGeom prst="rect">
            <a:avLst/>
          </a:prstGeom>
          <a:effectLst>
            <a:outerShdw blurRad="88900" dist="177800" dir="15840000" sy="23000" kx="-1200000" algn="bl" rotWithShape="0">
              <a:prstClr val="black">
                <a:alpha val="23000"/>
              </a:prstClr>
            </a:outerShdw>
          </a:effectLst>
        </p:spPr>
      </p:pic>
      <p:pic>
        <p:nvPicPr>
          <p:cNvPr id="32" name="Picture 1" descr="C:\Users\MPALME~1.ST-\AppData\Local\Temp\Rar$DRa0.058\O_Database12c_WHT\O_Database12c_clr.bmp"/>
          <p:cNvPicPr>
            <a:picLocks noChangeAspect="1" noChangeArrowheads="1"/>
          </p:cNvPicPr>
          <p:nvPr/>
        </p:nvPicPr>
        <p:blipFill>
          <a:blip r:embed="rId11" cstate="print">
            <a:clrChange>
              <a:clrFrom>
                <a:srgbClr val="FFFFFF"/>
              </a:clrFrom>
              <a:clrTo>
                <a:srgbClr val="FFFFFF">
                  <a:alpha val="0"/>
                </a:srgbClr>
              </a:clrTo>
            </a:clrChange>
          </a:blip>
          <a:srcRect r="38067"/>
          <a:stretch>
            <a:fillRect/>
          </a:stretch>
        </p:blipFill>
        <p:spPr bwMode="auto">
          <a:xfrm>
            <a:off x="7341345" y="3812653"/>
            <a:ext cx="1415629" cy="710428"/>
          </a:xfrm>
          <a:prstGeom prst="rect">
            <a:avLst/>
          </a:prstGeom>
          <a:noFill/>
        </p:spPr>
      </p:pic>
      <p:pic>
        <p:nvPicPr>
          <p:cNvPr id="36" name="Picture 129" descr="O_FM_clr_rgb.bmp"/>
          <p:cNvPicPr>
            <a:picLocks noChangeAspect="1"/>
          </p:cNvPicPr>
          <p:nvPr/>
        </p:nvPicPr>
        <p:blipFill>
          <a:blip r:embed="rId12" cstate="print"/>
          <a:srcRect/>
          <a:stretch>
            <a:fillRect/>
          </a:stretch>
        </p:blipFill>
        <p:spPr bwMode="auto">
          <a:xfrm>
            <a:off x="5586065" y="3930169"/>
            <a:ext cx="1576741" cy="481265"/>
          </a:xfrm>
          <a:prstGeom prst="rect">
            <a:avLst/>
          </a:prstGeom>
          <a:noFill/>
          <a:ln w="9525">
            <a:noFill/>
            <a:miter lim="800000"/>
            <a:headEnd/>
            <a:tailEnd/>
          </a:ln>
        </p:spPr>
      </p:pic>
      <p:pic>
        <p:nvPicPr>
          <p:cNvPr id="40" name="Picture 15" descr="O_BizIntelligence_clr.bmp"/>
          <p:cNvPicPr>
            <a:picLocks noChangeAspect="1"/>
          </p:cNvPicPr>
          <p:nvPr/>
        </p:nvPicPr>
        <p:blipFill>
          <a:blip r:embed="rId13" cstate="print"/>
          <a:srcRect/>
          <a:stretch>
            <a:fillRect/>
          </a:stretch>
        </p:blipFill>
        <p:spPr bwMode="auto">
          <a:xfrm>
            <a:off x="3598771" y="3862909"/>
            <a:ext cx="1805309" cy="620668"/>
          </a:xfrm>
          <a:prstGeom prst="rect">
            <a:avLst/>
          </a:prstGeom>
          <a:noFill/>
          <a:ln w="9525">
            <a:noFill/>
            <a:miter lim="800000"/>
            <a:headEnd/>
            <a:tailEnd/>
          </a:ln>
        </p:spPr>
      </p:pic>
      <p:pic>
        <p:nvPicPr>
          <p:cNvPr id="43" name="Picture 20" descr="O_VM_clr.bmp"/>
          <p:cNvPicPr>
            <a:picLocks noChangeAspect="1"/>
          </p:cNvPicPr>
          <p:nvPr/>
        </p:nvPicPr>
        <p:blipFill>
          <a:blip r:embed="rId14" cstate="print"/>
          <a:srcRect/>
          <a:stretch>
            <a:fillRect/>
          </a:stretch>
        </p:blipFill>
        <p:spPr bwMode="auto">
          <a:xfrm>
            <a:off x="326577" y="3842659"/>
            <a:ext cx="1366131" cy="666746"/>
          </a:xfrm>
          <a:prstGeom prst="rect">
            <a:avLst/>
          </a:prstGeom>
          <a:noFill/>
          <a:ln w="9525">
            <a:noFill/>
            <a:miter lim="800000"/>
            <a:headEnd/>
            <a:tailEnd/>
          </a:ln>
        </p:spPr>
      </p:pic>
      <p:pic>
        <p:nvPicPr>
          <p:cNvPr id="44" name="Picture 1" descr="C:\Users\MPALME~1.ST-\AppData\Local\Temp\Rar$DRa0.844\O_EnterpriseMgr_12c_wht\O_EnterpriseMgr_12c_clr.bmp"/>
          <p:cNvPicPr>
            <a:picLocks noChangeAspect="1" noChangeArrowheads="1"/>
          </p:cNvPicPr>
          <p:nvPr/>
        </p:nvPicPr>
        <p:blipFill>
          <a:blip r:embed="rId15" cstate="print">
            <a:clrChange>
              <a:clrFrom>
                <a:srgbClr val="FFFFFF"/>
              </a:clrFrom>
              <a:clrTo>
                <a:srgbClr val="FFFFFF">
                  <a:alpha val="0"/>
                </a:srgbClr>
              </a:clrTo>
            </a:clrChange>
          </a:blip>
          <a:srcRect r="32624"/>
          <a:stretch>
            <a:fillRect/>
          </a:stretch>
        </p:blipFill>
        <p:spPr bwMode="auto">
          <a:xfrm>
            <a:off x="1754675" y="3842657"/>
            <a:ext cx="1697891" cy="655470"/>
          </a:xfrm>
          <a:prstGeom prst="rect">
            <a:avLst/>
          </a:prstGeom>
          <a:noFill/>
        </p:spPr>
      </p:pic>
    </p:spTree>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p:cNvSpPr txBox="1">
            <a:spLocks/>
          </p:cNvSpPr>
          <p:nvPr/>
        </p:nvSpPr>
        <p:spPr bwMode="auto">
          <a:xfrm>
            <a:off x="808038" y="131763"/>
            <a:ext cx="8132762" cy="431800"/>
          </a:xfrm>
          <a:prstGeom prst="rect">
            <a:avLst/>
          </a:prstGeom>
          <a:noFill/>
          <a:ln w="9525">
            <a:noFill/>
            <a:miter lim="800000"/>
            <a:headEnd/>
            <a:tailEnd/>
          </a:ln>
        </p:spPr>
        <p:txBody>
          <a:bodyPr/>
          <a:lstStyle/>
          <a:p>
            <a:pPr eaLnBrk="0" hangingPunct="0"/>
            <a:r>
              <a:rPr lang="en-US" sz="2800" b="1" dirty="0">
                <a:solidFill>
                  <a:srgbClr val="000000"/>
                </a:solidFill>
              </a:rPr>
              <a:t>Best Enterprise Portfolio</a:t>
            </a:r>
          </a:p>
        </p:txBody>
      </p:sp>
      <p:sp>
        <p:nvSpPr>
          <p:cNvPr id="39" name="AutoShape 13"/>
          <p:cNvSpPr>
            <a:spLocks noChangeArrowheads="1"/>
          </p:cNvSpPr>
          <p:nvPr/>
        </p:nvSpPr>
        <p:spPr bwMode="auto">
          <a:xfrm>
            <a:off x="0" y="712788"/>
            <a:ext cx="9144000" cy="3243262"/>
          </a:xfrm>
          <a:prstGeom prst="rect">
            <a:avLst/>
          </a:prstGeom>
          <a:gradFill rotWithShape="1">
            <a:gsLst>
              <a:gs pos="0">
                <a:srgbClr val="770000"/>
              </a:gs>
              <a:gs pos="50000">
                <a:srgbClr val="AD0000"/>
              </a:gs>
              <a:gs pos="100000">
                <a:srgbClr val="CE0000"/>
              </a:gs>
            </a:gsLst>
            <a:lin ang="2700000" scaled="1"/>
          </a:gradFill>
          <a:ln w="9525">
            <a:noFill/>
            <a:miter lim="800000"/>
            <a:headEnd/>
            <a:tailEnd/>
          </a:ln>
          <a:effectLst>
            <a:outerShdw dist="20000" dir="5400000" rotWithShape="0">
              <a:srgbClr val="808080">
                <a:alpha val="37999"/>
              </a:srgbClr>
            </a:outerShdw>
          </a:effectLst>
        </p:spPr>
        <p:txBody>
          <a:bodyPr tIns="91440" bIns="91440" anchor="ctr"/>
          <a:lstStyle/>
          <a:p>
            <a:pPr marL="401638" indent="-285750">
              <a:spcBef>
                <a:spcPts val="600"/>
              </a:spcBef>
              <a:spcAft>
                <a:spcPts val="600"/>
              </a:spcAft>
              <a:buClr>
                <a:schemeClr val="bg1"/>
              </a:buClr>
              <a:buFont typeface="Wingdings" pitchFamily="2" charset="2"/>
              <a:buChar char="ü"/>
              <a:defRPr/>
            </a:pPr>
            <a:endParaRPr lang="en-US" sz="1600" dirty="0">
              <a:solidFill>
                <a:schemeClr val="bg1"/>
              </a:solidFill>
            </a:endParaRPr>
          </a:p>
        </p:txBody>
      </p:sp>
      <p:grpSp>
        <p:nvGrpSpPr>
          <p:cNvPr id="2" name="Group 43"/>
          <p:cNvGrpSpPr>
            <a:grpSpLocks/>
          </p:cNvGrpSpPr>
          <p:nvPr/>
        </p:nvGrpSpPr>
        <p:grpSpPr bwMode="auto">
          <a:xfrm>
            <a:off x="2989651" y="1341438"/>
            <a:ext cx="1193217" cy="2481039"/>
            <a:chOff x="2925318" y="1636132"/>
            <a:chExt cx="1194842" cy="2481117"/>
          </a:xfrm>
        </p:grpSpPr>
        <p:sp>
          <p:nvSpPr>
            <p:cNvPr id="142370" name="Text Box 15"/>
            <p:cNvSpPr txBox="1">
              <a:spLocks noChangeArrowheads="1"/>
            </p:cNvSpPr>
            <p:nvPr/>
          </p:nvSpPr>
          <p:spPr bwMode="auto">
            <a:xfrm>
              <a:off x="2944005" y="1791692"/>
              <a:ext cx="1166812" cy="245288"/>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chemeClr val="bg1"/>
                  </a:solidFill>
                </a:rPr>
                <a:t>T4-1B</a:t>
              </a:r>
            </a:p>
          </p:txBody>
        </p:sp>
        <p:pic>
          <p:nvPicPr>
            <p:cNvPr id="42" name="Picture 74" descr="sbla_t4-1b_la1j"/>
            <p:cNvPicPr>
              <a:picLocks noChangeAspect="1" noChangeArrowheads="1"/>
            </p:cNvPicPr>
            <p:nvPr/>
          </p:nvPicPr>
          <p:blipFill>
            <a:blip r:embed="rId3" cstate="print"/>
            <a:srcRect/>
            <a:stretch>
              <a:fillRect/>
            </a:stretch>
          </p:blipFill>
          <p:spPr bwMode="auto">
            <a:xfrm rot="10800000">
              <a:off x="3169737" y="1636132"/>
              <a:ext cx="716937" cy="95253"/>
            </a:xfrm>
            <a:prstGeom prst="rect">
              <a:avLst/>
            </a:prstGeom>
            <a:noFill/>
            <a:ln w="9525">
              <a:noFill/>
              <a:miter lim="800000"/>
              <a:headEnd/>
              <a:tailEnd/>
            </a:ln>
            <a:effectLst>
              <a:outerShdw algn="tl" rotWithShape="0">
                <a:srgbClr val="808080">
                  <a:alpha val="70000"/>
                </a:srgbClr>
              </a:outerShdw>
            </a:effectLst>
          </p:spPr>
        </p:pic>
        <p:pic>
          <p:nvPicPr>
            <p:cNvPr id="43" name="Picture 71" descr="ssparc_t4-1_la1j"/>
            <p:cNvPicPr>
              <a:picLocks noChangeAspect="1" noChangeArrowheads="1"/>
            </p:cNvPicPr>
            <p:nvPr/>
          </p:nvPicPr>
          <p:blipFill>
            <a:blip r:embed="rId4" cstate="print"/>
            <a:srcRect/>
            <a:stretch>
              <a:fillRect/>
            </a:stretch>
          </p:blipFill>
          <p:spPr bwMode="auto">
            <a:xfrm>
              <a:off x="3179275" y="2121534"/>
              <a:ext cx="697861" cy="138116"/>
            </a:xfrm>
            <a:prstGeom prst="rect">
              <a:avLst/>
            </a:prstGeom>
            <a:noFill/>
            <a:ln w="9525">
              <a:noFill/>
              <a:miter lim="800000"/>
              <a:headEnd/>
              <a:tailEnd/>
            </a:ln>
            <a:effectLst>
              <a:outerShdw algn="tl" rotWithShape="0">
                <a:srgbClr val="808080">
                  <a:alpha val="70000"/>
                </a:srgbClr>
              </a:outerShdw>
            </a:effectLst>
          </p:spPr>
        </p:pic>
        <p:sp>
          <p:nvSpPr>
            <p:cNvPr id="142373" name="Text Box 15"/>
            <p:cNvSpPr txBox="1">
              <a:spLocks noChangeArrowheads="1"/>
            </p:cNvSpPr>
            <p:nvPr/>
          </p:nvSpPr>
          <p:spPr bwMode="auto">
            <a:xfrm>
              <a:off x="2944005" y="2332551"/>
              <a:ext cx="1166812" cy="276924"/>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chemeClr val="bg1"/>
                  </a:solidFill>
                </a:rPr>
                <a:t>T4-1</a:t>
              </a:r>
            </a:p>
          </p:txBody>
        </p:sp>
        <p:pic>
          <p:nvPicPr>
            <p:cNvPr id="45" name="Picture 72" descr="ssparc_t4-2_la1j"/>
            <p:cNvPicPr>
              <a:picLocks noChangeAspect="1" noChangeArrowheads="1"/>
            </p:cNvPicPr>
            <p:nvPr/>
          </p:nvPicPr>
          <p:blipFill>
            <a:blip r:embed="rId5" cstate="print"/>
            <a:srcRect/>
            <a:stretch>
              <a:fillRect/>
            </a:stretch>
          </p:blipFill>
          <p:spPr bwMode="auto">
            <a:xfrm>
              <a:off x="3168147" y="2711715"/>
              <a:ext cx="720117" cy="193681"/>
            </a:xfrm>
            <a:prstGeom prst="rect">
              <a:avLst/>
            </a:prstGeom>
            <a:noFill/>
            <a:ln w="9525">
              <a:noFill/>
              <a:miter lim="800000"/>
              <a:headEnd/>
              <a:tailEnd/>
            </a:ln>
            <a:effectLst>
              <a:outerShdw algn="tl" rotWithShape="0">
                <a:srgbClr val="808080">
                  <a:alpha val="70000"/>
                </a:srgbClr>
              </a:outerShdw>
            </a:effectLst>
          </p:spPr>
        </p:pic>
        <p:sp>
          <p:nvSpPr>
            <p:cNvPr id="142375" name="Text Box 15"/>
            <p:cNvSpPr txBox="1">
              <a:spLocks noChangeArrowheads="1"/>
            </p:cNvSpPr>
            <p:nvPr/>
          </p:nvSpPr>
          <p:spPr bwMode="auto">
            <a:xfrm>
              <a:off x="2925318" y="2964684"/>
              <a:ext cx="1166812" cy="276924"/>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chemeClr val="bg1"/>
                  </a:solidFill>
                </a:rPr>
                <a:t>T4-2</a:t>
              </a:r>
            </a:p>
          </p:txBody>
        </p:sp>
        <p:pic>
          <p:nvPicPr>
            <p:cNvPr id="47" name="Picture 73" descr="ssparc_t4-4_la1j"/>
            <p:cNvPicPr>
              <a:picLocks noChangeAspect="1" noChangeArrowheads="1"/>
            </p:cNvPicPr>
            <p:nvPr/>
          </p:nvPicPr>
          <p:blipFill>
            <a:blip r:embed="rId6" cstate="print"/>
            <a:srcRect/>
            <a:stretch>
              <a:fillRect/>
            </a:stretch>
          </p:blipFill>
          <p:spPr bwMode="auto">
            <a:xfrm>
              <a:off x="3147482" y="3371748"/>
              <a:ext cx="761448" cy="409588"/>
            </a:xfrm>
            <a:prstGeom prst="rect">
              <a:avLst/>
            </a:prstGeom>
            <a:noFill/>
            <a:ln w="9525">
              <a:noFill/>
              <a:miter lim="800000"/>
              <a:headEnd/>
              <a:tailEnd/>
            </a:ln>
            <a:effectLst>
              <a:outerShdw algn="tl" rotWithShape="0">
                <a:srgbClr val="808080">
                  <a:alpha val="70000"/>
                </a:srgbClr>
              </a:outerShdw>
            </a:effectLst>
          </p:spPr>
        </p:pic>
        <p:sp>
          <p:nvSpPr>
            <p:cNvPr id="142377" name="Text Box 15"/>
            <p:cNvSpPr txBox="1">
              <a:spLocks noChangeArrowheads="1"/>
            </p:cNvSpPr>
            <p:nvPr/>
          </p:nvSpPr>
          <p:spPr bwMode="auto">
            <a:xfrm>
              <a:off x="2953348" y="3840325"/>
              <a:ext cx="1166812" cy="276924"/>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chemeClr val="bg1"/>
                  </a:solidFill>
                </a:rPr>
                <a:t>T4-4</a:t>
              </a:r>
            </a:p>
          </p:txBody>
        </p:sp>
      </p:grpSp>
      <p:sp>
        <p:nvSpPr>
          <p:cNvPr id="142364" name="Text Box 15"/>
          <p:cNvSpPr txBox="1">
            <a:spLocks noChangeArrowheads="1"/>
          </p:cNvSpPr>
          <p:nvPr/>
        </p:nvSpPr>
        <p:spPr bwMode="auto">
          <a:xfrm>
            <a:off x="4949534" y="1670991"/>
            <a:ext cx="1166812" cy="276869"/>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T5-1B</a:t>
            </a:r>
          </a:p>
        </p:txBody>
      </p:sp>
      <p:sp>
        <p:nvSpPr>
          <p:cNvPr id="142365" name="Text Box 15"/>
          <p:cNvSpPr txBox="1">
            <a:spLocks noChangeArrowheads="1"/>
          </p:cNvSpPr>
          <p:nvPr/>
        </p:nvSpPr>
        <p:spPr bwMode="auto">
          <a:xfrm>
            <a:off x="4949534" y="2574631"/>
            <a:ext cx="1166812" cy="276869"/>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T5-2</a:t>
            </a:r>
          </a:p>
        </p:txBody>
      </p:sp>
      <p:sp>
        <p:nvSpPr>
          <p:cNvPr id="142366" name="Text Box 15"/>
          <p:cNvSpPr txBox="1">
            <a:spLocks noChangeArrowheads="1"/>
          </p:cNvSpPr>
          <p:nvPr/>
        </p:nvSpPr>
        <p:spPr bwMode="auto">
          <a:xfrm>
            <a:off x="4949534" y="3475366"/>
            <a:ext cx="1166812" cy="276869"/>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T5-4</a:t>
            </a:r>
          </a:p>
        </p:txBody>
      </p:sp>
      <p:sp>
        <p:nvSpPr>
          <p:cNvPr id="142342" name="Text Box 15"/>
          <p:cNvSpPr txBox="1">
            <a:spLocks noChangeArrowheads="1"/>
          </p:cNvSpPr>
          <p:nvPr/>
        </p:nvSpPr>
        <p:spPr bwMode="auto">
          <a:xfrm>
            <a:off x="130175" y="3378200"/>
            <a:ext cx="2232025" cy="419100"/>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SuperCluster T5-8 and M6-32</a:t>
            </a:r>
          </a:p>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Exalytics T5-8</a:t>
            </a:r>
          </a:p>
        </p:txBody>
      </p:sp>
      <p:grpSp>
        <p:nvGrpSpPr>
          <p:cNvPr id="3" name="Group 41"/>
          <p:cNvGrpSpPr>
            <a:grpSpLocks/>
          </p:cNvGrpSpPr>
          <p:nvPr/>
        </p:nvGrpSpPr>
        <p:grpSpPr bwMode="auto">
          <a:xfrm>
            <a:off x="-128588" y="852488"/>
            <a:ext cx="9151938" cy="339725"/>
            <a:chOff x="-180005" y="1129372"/>
            <a:chExt cx="9153060" cy="338554"/>
          </a:xfrm>
        </p:grpSpPr>
        <p:sp>
          <p:nvSpPr>
            <p:cNvPr id="142360" name="TextBox 37"/>
            <p:cNvSpPr txBox="1">
              <a:spLocks noChangeArrowheads="1"/>
            </p:cNvSpPr>
            <p:nvPr/>
          </p:nvSpPr>
          <p:spPr bwMode="auto">
            <a:xfrm>
              <a:off x="2132232" y="1129372"/>
              <a:ext cx="2768600" cy="338554"/>
            </a:xfrm>
            <a:prstGeom prst="rect">
              <a:avLst/>
            </a:prstGeom>
            <a:noFill/>
            <a:ln w="9525">
              <a:noFill/>
              <a:miter lim="800000"/>
              <a:headEnd/>
              <a:tailEnd/>
            </a:ln>
          </p:spPr>
          <p:txBody>
            <a:bodyPr>
              <a:spAutoFit/>
            </a:bodyPr>
            <a:lstStyle/>
            <a:p>
              <a:pPr algn="ctr"/>
              <a:r>
                <a:rPr lang="en-US" sz="1600" b="1" dirty="0">
                  <a:solidFill>
                    <a:schemeClr val="bg1"/>
                  </a:solidFill>
                </a:rPr>
                <a:t>Entry-Level</a:t>
              </a:r>
            </a:p>
          </p:txBody>
        </p:sp>
        <p:sp>
          <p:nvSpPr>
            <p:cNvPr id="142361" name="TextBox 38"/>
            <p:cNvSpPr txBox="1">
              <a:spLocks noChangeArrowheads="1"/>
            </p:cNvSpPr>
            <p:nvPr/>
          </p:nvSpPr>
          <p:spPr bwMode="auto">
            <a:xfrm>
              <a:off x="4064150" y="1129372"/>
              <a:ext cx="2768600" cy="338554"/>
            </a:xfrm>
            <a:prstGeom prst="rect">
              <a:avLst/>
            </a:prstGeom>
            <a:noFill/>
            <a:ln w="9525">
              <a:noFill/>
              <a:miter lim="800000"/>
              <a:headEnd/>
              <a:tailEnd/>
            </a:ln>
          </p:spPr>
          <p:txBody>
            <a:bodyPr>
              <a:spAutoFit/>
            </a:bodyPr>
            <a:lstStyle/>
            <a:p>
              <a:pPr algn="ctr"/>
              <a:r>
                <a:rPr lang="en-US" sz="1600" b="1" dirty="0">
                  <a:solidFill>
                    <a:srgbClr val="FFFFFF"/>
                  </a:solidFill>
                </a:rPr>
                <a:t>Mid-Range</a:t>
              </a:r>
            </a:p>
          </p:txBody>
        </p:sp>
        <p:sp>
          <p:nvSpPr>
            <p:cNvPr id="142362" name="TextBox 39"/>
            <p:cNvSpPr txBox="1">
              <a:spLocks noChangeArrowheads="1"/>
            </p:cNvSpPr>
            <p:nvPr/>
          </p:nvSpPr>
          <p:spPr bwMode="auto">
            <a:xfrm>
              <a:off x="6466922" y="1129372"/>
              <a:ext cx="2506133" cy="338554"/>
            </a:xfrm>
            <a:prstGeom prst="rect">
              <a:avLst/>
            </a:prstGeom>
            <a:noFill/>
            <a:ln w="9525">
              <a:noFill/>
              <a:miter lim="800000"/>
              <a:headEnd/>
              <a:tailEnd/>
            </a:ln>
          </p:spPr>
          <p:txBody>
            <a:bodyPr>
              <a:spAutoFit/>
            </a:bodyPr>
            <a:lstStyle/>
            <a:p>
              <a:pPr algn="ctr"/>
              <a:r>
                <a:rPr lang="en-US" sz="1600" b="1" dirty="0">
                  <a:solidFill>
                    <a:srgbClr val="FFFFFF"/>
                  </a:solidFill>
                </a:rPr>
                <a:t>High-End</a:t>
              </a:r>
            </a:p>
          </p:txBody>
        </p:sp>
        <p:sp>
          <p:nvSpPr>
            <p:cNvPr id="142363" name="TextBox 40"/>
            <p:cNvSpPr txBox="1">
              <a:spLocks noChangeArrowheads="1"/>
            </p:cNvSpPr>
            <p:nvPr/>
          </p:nvSpPr>
          <p:spPr bwMode="auto">
            <a:xfrm>
              <a:off x="-180005" y="1129372"/>
              <a:ext cx="2768600" cy="338554"/>
            </a:xfrm>
            <a:prstGeom prst="rect">
              <a:avLst/>
            </a:prstGeom>
            <a:noFill/>
            <a:ln w="9525">
              <a:noFill/>
              <a:miter lim="800000"/>
              <a:headEnd/>
              <a:tailEnd/>
            </a:ln>
          </p:spPr>
          <p:txBody>
            <a:bodyPr>
              <a:spAutoFit/>
            </a:bodyPr>
            <a:lstStyle/>
            <a:p>
              <a:pPr algn="ctr"/>
              <a:r>
                <a:rPr lang="en-US" sz="1600" b="1" dirty="0">
                  <a:solidFill>
                    <a:srgbClr val="FFFFFF"/>
                  </a:solidFill>
                </a:rPr>
                <a:t>Engineered Systems</a:t>
              </a:r>
            </a:p>
          </p:txBody>
        </p:sp>
      </p:grpSp>
      <p:grpSp>
        <p:nvGrpSpPr>
          <p:cNvPr id="4" name="Group 68"/>
          <p:cNvGrpSpPr>
            <a:grpSpLocks/>
          </p:cNvGrpSpPr>
          <p:nvPr/>
        </p:nvGrpSpPr>
        <p:grpSpPr bwMode="auto">
          <a:xfrm>
            <a:off x="476250" y="4049713"/>
            <a:ext cx="8075613" cy="493712"/>
            <a:chOff x="823575" y="4032391"/>
            <a:chExt cx="8076088" cy="492988"/>
          </a:xfrm>
        </p:grpSpPr>
        <p:sp>
          <p:nvSpPr>
            <p:cNvPr id="70" name="Rectangle 69"/>
            <p:cNvSpPr/>
            <p:nvPr/>
          </p:nvSpPr>
          <p:spPr>
            <a:xfrm flipV="1">
              <a:off x="823575" y="4032391"/>
              <a:ext cx="8076088" cy="492988"/>
            </a:xfrm>
            <a:prstGeom prst="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42352" name="Picture 70" descr="O_Database_clr.bmp"/>
            <p:cNvPicPr>
              <a:picLocks noChangeAspect="1"/>
            </p:cNvPicPr>
            <p:nvPr/>
          </p:nvPicPr>
          <p:blipFill>
            <a:blip r:embed="rId7" cstate="print"/>
            <a:srcRect/>
            <a:stretch>
              <a:fillRect/>
            </a:stretch>
          </p:blipFill>
          <p:spPr bwMode="auto">
            <a:xfrm>
              <a:off x="1742155" y="4083205"/>
              <a:ext cx="808914" cy="391360"/>
            </a:xfrm>
            <a:prstGeom prst="rect">
              <a:avLst/>
            </a:prstGeom>
            <a:noFill/>
            <a:ln w="9525">
              <a:solidFill>
                <a:schemeClr val="bg1"/>
              </a:solidFill>
              <a:miter lim="800000"/>
              <a:headEnd/>
              <a:tailEnd/>
            </a:ln>
          </p:spPr>
        </p:pic>
        <p:pic>
          <p:nvPicPr>
            <p:cNvPr id="142353" name="Picture 71" descr="O_EBizSuite_clr.bmp"/>
            <p:cNvPicPr>
              <a:picLocks noChangeAspect="1"/>
            </p:cNvPicPr>
            <p:nvPr/>
          </p:nvPicPr>
          <p:blipFill>
            <a:blip r:embed="rId8" cstate="print"/>
            <a:srcRect/>
            <a:stretch>
              <a:fillRect/>
            </a:stretch>
          </p:blipFill>
          <p:spPr bwMode="auto">
            <a:xfrm>
              <a:off x="2666897" y="4083205"/>
              <a:ext cx="892116" cy="391360"/>
            </a:xfrm>
            <a:prstGeom prst="rect">
              <a:avLst/>
            </a:prstGeom>
            <a:noFill/>
            <a:ln w="9525">
              <a:solidFill>
                <a:schemeClr val="bg1"/>
              </a:solidFill>
              <a:miter lim="800000"/>
              <a:headEnd/>
              <a:tailEnd/>
            </a:ln>
          </p:spPr>
        </p:pic>
        <p:pic>
          <p:nvPicPr>
            <p:cNvPr id="142354" name="Picture 72" descr="O_FM_clr_rgb.bmp"/>
            <p:cNvPicPr>
              <a:picLocks noChangeAspect="1"/>
            </p:cNvPicPr>
            <p:nvPr/>
          </p:nvPicPr>
          <p:blipFill>
            <a:blip r:embed="rId9" cstate="print"/>
            <a:srcRect/>
            <a:stretch>
              <a:fillRect/>
            </a:stretch>
          </p:blipFill>
          <p:spPr bwMode="auto">
            <a:xfrm>
              <a:off x="4593420" y="4083205"/>
              <a:ext cx="1013838" cy="391360"/>
            </a:xfrm>
            <a:prstGeom prst="rect">
              <a:avLst/>
            </a:prstGeom>
            <a:noFill/>
            <a:ln w="9525">
              <a:solidFill>
                <a:schemeClr val="bg1"/>
              </a:solidFill>
              <a:miter lim="800000"/>
              <a:headEnd/>
              <a:tailEnd/>
            </a:ln>
          </p:spPr>
        </p:pic>
        <p:pic>
          <p:nvPicPr>
            <p:cNvPr id="142355" name="Picture 73" descr="O_FusionApps_clr.bmp"/>
            <p:cNvPicPr>
              <a:picLocks noChangeAspect="1"/>
            </p:cNvPicPr>
            <p:nvPr/>
          </p:nvPicPr>
          <p:blipFill>
            <a:blip r:embed="rId10" cstate="print"/>
            <a:srcRect/>
            <a:stretch>
              <a:fillRect/>
            </a:stretch>
          </p:blipFill>
          <p:spPr bwMode="auto">
            <a:xfrm>
              <a:off x="5723086" y="4083205"/>
              <a:ext cx="1046195" cy="391360"/>
            </a:xfrm>
            <a:prstGeom prst="rect">
              <a:avLst/>
            </a:prstGeom>
            <a:noFill/>
            <a:ln w="9525">
              <a:solidFill>
                <a:schemeClr val="bg1"/>
              </a:solidFill>
              <a:miter lim="800000"/>
              <a:headEnd/>
              <a:tailEnd/>
            </a:ln>
          </p:spPr>
        </p:pic>
        <p:pic>
          <p:nvPicPr>
            <p:cNvPr id="142356" name="Picture 74" descr="O_JD_Edwards_clr.bmp"/>
            <p:cNvPicPr>
              <a:picLocks noChangeAspect="1"/>
            </p:cNvPicPr>
            <p:nvPr/>
          </p:nvPicPr>
          <p:blipFill>
            <a:blip r:embed="rId11" cstate="print"/>
            <a:srcRect/>
            <a:stretch>
              <a:fillRect/>
            </a:stretch>
          </p:blipFill>
          <p:spPr bwMode="auto">
            <a:xfrm>
              <a:off x="8050217" y="4085516"/>
              <a:ext cx="799669" cy="386738"/>
            </a:xfrm>
            <a:prstGeom prst="rect">
              <a:avLst/>
            </a:prstGeom>
            <a:noFill/>
            <a:ln w="9525">
              <a:solidFill>
                <a:schemeClr val="bg1"/>
              </a:solidFill>
              <a:miter lim="800000"/>
              <a:headEnd/>
              <a:tailEnd/>
            </a:ln>
          </p:spPr>
        </p:pic>
        <p:pic>
          <p:nvPicPr>
            <p:cNvPr id="142357" name="Picture 75" descr="O_PeopleSoft_clr.bmp"/>
            <p:cNvPicPr>
              <a:picLocks noChangeAspect="1"/>
            </p:cNvPicPr>
            <p:nvPr/>
          </p:nvPicPr>
          <p:blipFill>
            <a:blip r:embed="rId12" cstate="print"/>
            <a:srcRect/>
            <a:stretch>
              <a:fillRect/>
            </a:stretch>
          </p:blipFill>
          <p:spPr bwMode="auto">
            <a:xfrm>
              <a:off x="823576" y="4085516"/>
              <a:ext cx="802751" cy="386738"/>
            </a:xfrm>
            <a:prstGeom prst="rect">
              <a:avLst/>
            </a:prstGeom>
            <a:noFill/>
            <a:ln w="9525">
              <a:solidFill>
                <a:schemeClr val="bg1"/>
              </a:solidFill>
              <a:miter lim="800000"/>
              <a:headEnd/>
              <a:tailEnd/>
            </a:ln>
          </p:spPr>
        </p:pic>
        <p:pic>
          <p:nvPicPr>
            <p:cNvPr id="142358" name="Picture 76" descr="O_Siebel_clr.bmp"/>
            <p:cNvPicPr>
              <a:picLocks noChangeAspect="1"/>
            </p:cNvPicPr>
            <p:nvPr/>
          </p:nvPicPr>
          <p:blipFill>
            <a:blip r:embed="rId13" cstate="print"/>
            <a:srcRect/>
            <a:stretch>
              <a:fillRect/>
            </a:stretch>
          </p:blipFill>
          <p:spPr bwMode="auto">
            <a:xfrm>
              <a:off x="3674841" y="4083205"/>
              <a:ext cx="802751" cy="391360"/>
            </a:xfrm>
            <a:prstGeom prst="rect">
              <a:avLst/>
            </a:prstGeom>
            <a:noFill/>
            <a:ln w="9525">
              <a:solidFill>
                <a:schemeClr val="bg1"/>
              </a:solidFill>
              <a:miter lim="800000"/>
              <a:headEnd/>
              <a:tailEnd/>
            </a:ln>
          </p:spPr>
        </p:pic>
        <p:pic>
          <p:nvPicPr>
            <p:cNvPr id="142359" name="Picture 77" descr="O_TimesTenInMemoryDatabase_clr.bmp"/>
            <p:cNvPicPr>
              <a:picLocks noChangeAspect="1"/>
            </p:cNvPicPr>
            <p:nvPr/>
          </p:nvPicPr>
          <p:blipFill>
            <a:blip r:embed="rId14" cstate="print">
              <a:extLst>
                <a:ext uri="{28A0092B-C50C-407E-A947-70E740481C1C}">
                  <a14:useLocalDpi xmlns:a14="http://schemas.microsoft.com/office/drawing/2010/main"/>
                </a:ext>
              </a:extLst>
            </a:blip>
            <a:srcRect/>
            <a:stretch>
              <a:fillRect/>
            </a:stretch>
          </p:blipFill>
          <p:spPr bwMode="auto">
            <a:xfrm>
              <a:off x="6885109" y="4040834"/>
              <a:ext cx="1049277" cy="476103"/>
            </a:xfrm>
            <a:prstGeom prst="rect">
              <a:avLst/>
            </a:prstGeom>
            <a:noFill/>
            <a:ln w="9525">
              <a:solidFill>
                <a:schemeClr val="bg1"/>
              </a:solidFill>
              <a:miter lim="800000"/>
              <a:headEnd/>
              <a:tailEnd/>
            </a:ln>
          </p:spPr>
        </p:pic>
      </p:grpSp>
      <p:sp>
        <p:nvSpPr>
          <p:cNvPr id="142345" name="Text Box 15"/>
          <p:cNvSpPr txBox="1">
            <a:spLocks noChangeArrowheads="1"/>
          </p:cNvSpPr>
          <p:nvPr/>
        </p:nvSpPr>
        <p:spPr bwMode="auto">
          <a:xfrm>
            <a:off x="7384142" y="3416268"/>
            <a:ext cx="1287463" cy="277812"/>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M6-32, M5-32</a:t>
            </a:r>
          </a:p>
        </p:txBody>
      </p:sp>
      <p:sp>
        <p:nvSpPr>
          <p:cNvPr id="142346" name="Text Box 15"/>
          <p:cNvSpPr txBox="1">
            <a:spLocks noChangeArrowheads="1"/>
          </p:cNvSpPr>
          <p:nvPr/>
        </p:nvSpPr>
        <p:spPr bwMode="auto">
          <a:xfrm>
            <a:off x="6306847" y="2794098"/>
            <a:ext cx="756428" cy="163706"/>
          </a:xfrm>
          <a:prstGeom prst="rect">
            <a:avLst/>
          </a:prstGeom>
          <a:noFill/>
          <a:ln w="9525">
            <a:noFill/>
            <a:round/>
            <a:headEnd/>
            <a:tailEnd/>
          </a:ln>
        </p:spPr>
        <p:txBody>
          <a:bodyPr lIns="0" tIns="0" rIns="0" bIns="0"/>
          <a:lstStyle/>
          <a:p>
            <a:pPr algn="ctr">
              <a:tabLst>
                <a:tab pos="0" algn="l"/>
                <a:tab pos="455613" algn="l"/>
                <a:tab pos="912813" algn="l"/>
                <a:tab pos="1370013" algn="l"/>
                <a:tab pos="1827213" algn="l"/>
                <a:tab pos="2284413" algn="l"/>
                <a:tab pos="2741613" algn="l"/>
                <a:tab pos="3198813" algn="l"/>
                <a:tab pos="3656013" algn="l"/>
                <a:tab pos="4111625" algn="l"/>
                <a:tab pos="4568825" algn="l"/>
                <a:tab pos="5026025" algn="l"/>
                <a:tab pos="5483225" algn="l"/>
                <a:tab pos="5940425" algn="l"/>
                <a:tab pos="6397625" algn="l"/>
                <a:tab pos="6854825" algn="l"/>
                <a:tab pos="7312025" algn="l"/>
                <a:tab pos="7767638" algn="l"/>
                <a:tab pos="8224838" algn="l"/>
                <a:tab pos="8682038" algn="l"/>
                <a:tab pos="9139238" algn="l"/>
              </a:tabLst>
            </a:pPr>
            <a:r>
              <a:rPr lang="en-GB" sz="1200" b="1" dirty="0">
                <a:solidFill>
                  <a:srgbClr val="FFFFFF"/>
                </a:solidFill>
              </a:rPr>
              <a:t>T5-8</a:t>
            </a:r>
          </a:p>
        </p:txBody>
      </p:sp>
      <p:pic>
        <p:nvPicPr>
          <p:cNvPr id="60" name="Picture 59" descr="SPARC_T5-8_Server_lb1d.png"/>
          <p:cNvPicPr>
            <a:picLocks noChangeAspect="1"/>
          </p:cNvPicPr>
          <p:nvPr/>
        </p:nvPicPr>
        <p:blipFill>
          <a:blip r:embed="rId15" cstate="print"/>
          <a:srcRect/>
          <a:stretch>
            <a:fillRect/>
          </a:stretch>
        </p:blipFill>
        <p:spPr bwMode="auto">
          <a:xfrm>
            <a:off x="6288831" y="2176168"/>
            <a:ext cx="897813" cy="557864"/>
          </a:xfrm>
          <a:prstGeom prst="rect">
            <a:avLst/>
          </a:prstGeom>
          <a:noFill/>
          <a:ln w="9525">
            <a:noFill/>
            <a:miter lim="800000"/>
            <a:headEnd/>
            <a:tailEnd/>
          </a:ln>
          <a:effectLst>
            <a:outerShdw algn="tl" rotWithShape="0">
              <a:srgbClr val="808080">
                <a:alpha val="70000"/>
              </a:srgbClr>
            </a:outerShdw>
          </a:effectLst>
        </p:spPr>
      </p:pic>
      <p:pic>
        <p:nvPicPr>
          <p:cNvPr id="142348" name="Picture 48" descr="m6-32.png"/>
          <p:cNvPicPr>
            <a:picLocks noChangeAspect="1"/>
          </p:cNvPicPr>
          <p:nvPr/>
        </p:nvPicPr>
        <p:blipFill>
          <a:blip r:embed="rId16" cstate="print"/>
          <a:srcRect/>
          <a:stretch>
            <a:fillRect/>
          </a:stretch>
        </p:blipFill>
        <p:spPr bwMode="auto">
          <a:xfrm>
            <a:off x="7520084" y="1608138"/>
            <a:ext cx="992188" cy="1673225"/>
          </a:xfrm>
          <a:prstGeom prst="rect">
            <a:avLst/>
          </a:prstGeom>
          <a:noFill/>
          <a:ln w="9525">
            <a:noFill/>
            <a:miter lim="800000"/>
            <a:headEnd/>
            <a:tailEnd/>
          </a:ln>
        </p:spPr>
      </p:pic>
      <p:pic>
        <p:nvPicPr>
          <p:cNvPr id="142349" name="Picture 60" descr="osc_m6_t5-8_family.png"/>
          <p:cNvPicPr>
            <a:picLocks noChangeAspect="1"/>
          </p:cNvPicPr>
          <p:nvPr/>
        </p:nvPicPr>
        <p:blipFill>
          <a:blip r:embed="rId17" cstate="print"/>
          <a:srcRect/>
          <a:stretch>
            <a:fillRect/>
          </a:stretch>
        </p:blipFill>
        <p:spPr bwMode="auto">
          <a:xfrm>
            <a:off x="271463" y="1541463"/>
            <a:ext cx="1939925" cy="1690687"/>
          </a:xfrm>
          <a:prstGeom prst="rect">
            <a:avLst/>
          </a:prstGeom>
          <a:noFill/>
          <a:ln w="9525">
            <a:noFill/>
            <a:miter lim="800000"/>
            <a:headEnd/>
            <a:tailEnd/>
          </a:ln>
        </p:spPr>
      </p:pic>
      <p:pic>
        <p:nvPicPr>
          <p:cNvPr id="44" name="Picture 43" descr="SPARC_T5-4_server_lb1d.png"/>
          <p:cNvPicPr>
            <a:picLocks noChangeAspect="1"/>
          </p:cNvPicPr>
          <p:nvPr/>
        </p:nvPicPr>
        <p:blipFill>
          <a:blip r:embed="rId18" cstate="print"/>
          <a:stretch>
            <a:fillRect/>
          </a:stretch>
        </p:blipFill>
        <p:spPr>
          <a:xfrm>
            <a:off x="5050025" y="3038690"/>
            <a:ext cx="965831" cy="373642"/>
          </a:xfrm>
          <a:prstGeom prst="rect">
            <a:avLst/>
          </a:prstGeom>
        </p:spPr>
      </p:pic>
      <p:pic>
        <p:nvPicPr>
          <p:cNvPr id="46" name="Picture 45" descr="SPARC_T5-2_lb1d.png"/>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5071075" y="2264183"/>
            <a:ext cx="923730" cy="227842"/>
          </a:xfrm>
          <a:prstGeom prst="rect">
            <a:avLst/>
          </a:prstGeom>
        </p:spPr>
      </p:pic>
      <p:pic>
        <p:nvPicPr>
          <p:cNvPr id="48" name="Picture 47" descr="Ex_T5-8_3.png"/>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07944" y="2909633"/>
            <a:ext cx="857595" cy="440057"/>
          </a:xfrm>
          <a:prstGeom prst="rect">
            <a:avLst/>
          </a:prstGeom>
        </p:spPr>
      </p:pic>
      <p:pic>
        <p:nvPicPr>
          <p:cNvPr id="49" name="Picture 48" descr="ssparc_t5-1b_lb1d.png"/>
          <p:cNvPicPr>
            <a:picLocks noChangeAspect="1"/>
          </p:cNvPicPr>
          <p:nvPr/>
        </p:nvPicPr>
        <p:blipFill>
          <a:blip r:embed="rId21" cstate="print"/>
          <a:stretch>
            <a:fillRect/>
          </a:stretch>
        </p:blipFill>
        <p:spPr>
          <a:xfrm>
            <a:off x="5108398" y="1480398"/>
            <a:ext cx="849085" cy="96106"/>
          </a:xfrm>
          <a:prstGeom prst="rect">
            <a:avLst/>
          </a:prstGeom>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6" name="Picture 8" descr="http://www.telepresenceoptions.com/assets_c/2013/01/ORACLE-Logo.jpg"/>
          <p:cNvPicPr>
            <a:picLocks noChangeAspect="1" noChangeArrowheads="1"/>
          </p:cNvPicPr>
          <p:nvPr/>
        </p:nvPicPr>
        <p:blipFill>
          <a:blip r:embed="rId3" cstate="print"/>
          <a:srcRect/>
          <a:stretch>
            <a:fillRect/>
          </a:stretch>
        </p:blipFill>
        <p:spPr bwMode="auto">
          <a:xfrm>
            <a:off x="2276476" y="506803"/>
            <a:ext cx="4038600" cy="833930"/>
          </a:xfrm>
          <a:prstGeom prst="rect">
            <a:avLst/>
          </a:prstGeom>
          <a:noFill/>
        </p:spPr>
      </p:pic>
      <p:sp>
        <p:nvSpPr>
          <p:cNvPr id="2" name="Title 1"/>
          <p:cNvSpPr>
            <a:spLocks noGrp="1"/>
          </p:cNvSpPr>
          <p:nvPr>
            <p:ph type="title"/>
          </p:nvPr>
        </p:nvSpPr>
        <p:spPr>
          <a:xfrm>
            <a:off x="802428" y="232158"/>
            <a:ext cx="8216899" cy="642938"/>
          </a:xfrm>
        </p:spPr>
        <p:txBody>
          <a:bodyPr/>
          <a:lstStyle/>
          <a:p>
            <a:r>
              <a:rPr lang="en-US" sz="2100" dirty="0" smtClean="0"/>
              <a:t>An Application-Engineered Portfolio for Data Storage &amp; Archive</a:t>
            </a:r>
            <a:endParaRPr lang="en-US" sz="2100" dirty="0"/>
          </a:p>
        </p:txBody>
      </p:sp>
      <p:pic>
        <p:nvPicPr>
          <p:cNvPr id="4" name="Picture 3" descr="ZFS Image_JBOD.ps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651" y="1499455"/>
            <a:ext cx="1190624" cy="2713327"/>
          </a:xfrm>
          <a:prstGeom prst="rect">
            <a:avLst/>
          </a:prstGeom>
        </p:spPr>
      </p:pic>
      <p:pic>
        <p:nvPicPr>
          <p:cNvPr id="58371" name="Picture 3"/>
          <p:cNvPicPr>
            <a:picLocks noChangeAspect="1" noChangeArrowheads="1"/>
          </p:cNvPicPr>
          <p:nvPr/>
        </p:nvPicPr>
        <p:blipFill>
          <a:blip r:embed="rId5" cstate="print"/>
          <a:srcRect/>
          <a:stretch>
            <a:fillRect/>
          </a:stretch>
        </p:blipFill>
        <p:spPr bwMode="auto">
          <a:xfrm>
            <a:off x="3724276" y="1447801"/>
            <a:ext cx="904875" cy="2888450"/>
          </a:xfrm>
          <a:prstGeom prst="rect">
            <a:avLst/>
          </a:prstGeom>
          <a:noFill/>
          <a:ln w="9525">
            <a:noFill/>
            <a:miter lim="800000"/>
            <a:headEnd/>
            <a:tailEnd/>
          </a:ln>
          <a:effectLst/>
        </p:spPr>
      </p:pic>
      <p:pic>
        <p:nvPicPr>
          <p:cNvPr id="58374" name="Picture 6"/>
          <p:cNvPicPr>
            <a:picLocks noChangeAspect="1" noChangeArrowheads="1"/>
          </p:cNvPicPr>
          <p:nvPr/>
        </p:nvPicPr>
        <p:blipFill>
          <a:blip r:embed="rId6" cstate="print"/>
          <a:srcRect/>
          <a:stretch>
            <a:fillRect/>
          </a:stretch>
        </p:blipFill>
        <p:spPr bwMode="auto">
          <a:xfrm>
            <a:off x="6477017" y="1518254"/>
            <a:ext cx="1978025" cy="2707685"/>
          </a:xfrm>
          <a:prstGeom prst="rect">
            <a:avLst/>
          </a:prstGeom>
          <a:noFill/>
          <a:ln w="9525">
            <a:noFill/>
            <a:miter lim="800000"/>
            <a:headEnd/>
            <a:tailEnd/>
          </a:ln>
          <a:effectLst/>
        </p:spPr>
      </p:pic>
      <p:sp>
        <p:nvSpPr>
          <p:cNvPr id="10" name="TextBox 9"/>
          <p:cNvSpPr txBox="1"/>
          <p:nvPr/>
        </p:nvSpPr>
        <p:spPr>
          <a:xfrm>
            <a:off x="66674" y="4133000"/>
            <a:ext cx="2409826" cy="584775"/>
          </a:xfrm>
          <a:prstGeom prst="rect">
            <a:avLst/>
          </a:prstGeom>
          <a:noFill/>
        </p:spPr>
        <p:txBody>
          <a:bodyPr wrap="square" rtlCol="0">
            <a:spAutoFit/>
          </a:bodyPr>
          <a:lstStyle/>
          <a:p>
            <a:pPr algn="ctr" fontAlgn="base">
              <a:spcBef>
                <a:spcPct val="0"/>
              </a:spcBef>
              <a:spcAft>
                <a:spcPct val="0"/>
              </a:spcAft>
            </a:pPr>
            <a:r>
              <a:rPr lang="en-US" sz="1600" dirty="0" smtClean="0">
                <a:solidFill>
                  <a:srgbClr val="000000"/>
                </a:solidFill>
                <a:cs typeface="Arial" pitchFamily="34" charset="0"/>
              </a:rPr>
              <a:t>NAS for High-Performance Databases</a:t>
            </a:r>
            <a:endParaRPr lang="en-US" sz="1600" dirty="0">
              <a:solidFill>
                <a:srgbClr val="000000"/>
              </a:solidFill>
              <a:cs typeface="Arial" pitchFamily="34" charset="0"/>
            </a:endParaRPr>
          </a:p>
        </p:txBody>
      </p:sp>
      <p:sp>
        <p:nvSpPr>
          <p:cNvPr id="11" name="TextBox 10"/>
          <p:cNvSpPr txBox="1"/>
          <p:nvPr/>
        </p:nvSpPr>
        <p:spPr>
          <a:xfrm>
            <a:off x="2714653" y="4121744"/>
            <a:ext cx="3000375" cy="584775"/>
          </a:xfrm>
          <a:prstGeom prst="rect">
            <a:avLst/>
          </a:prstGeom>
          <a:noFill/>
        </p:spPr>
        <p:txBody>
          <a:bodyPr wrap="square" rtlCol="0">
            <a:spAutoFit/>
          </a:bodyPr>
          <a:lstStyle/>
          <a:p>
            <a:pPr algn="ctr" fontAlgn="base">
              <a:spcBef>
                <a:spcPct val="0"/>
              </a:spcBef>
              <a:spcAft>
                <a:spcPct val="0"/>
              </a:spcAft>
            </a:pPr>
            <a:r>
              <a:rPr lang="en-US" sz="1600" dirty="0" smtClean="0">
                <a:solidFill>
                  <a:srgbClr val="000000"/>
                </a:solidFill>
                <a:cs typeface="Arial" pitchFamily="34" charset="0"/>
              </a:rPr>
              <a:t>SAN for Application Consolidation</a:t>
            </a:r>
            <a:endParaRPr lang="en-US" sz="1600" dirty="0">
              <a:solidFill>
                <a:srgbClr val="000000"/>
              </a:solidFill>
              <a:cs typeface="Arial" pitchFamily="34" charset="0"/>
            </a:endParaRPr>
          </a:p>
        </p:txBody>
      </p:sp>
      <p:sp>
        <p:nvSpPr>
          <p:cNvPr id="12" name="TextBox 11"/>
          <p:cNvSpPr txBox="1"/>
          <p:nvPr/>
        </p:nvSpPr>
        <p:spPr>
          <a:xfrm>
            <a:off x="6419873" y="4126073"/>
            <a:ext cx="2124075" cy="584775"/>
          </a:xfrm>
          <a:prstGeom prst="rect">
            <a:avLst/>
          </a:prstGeom>
          <a:noFill/>
        </p:spPr>
        <p:txBody>
          <a:bodyPr wrap="square" rtlCol="0">
            <a:spAutoFit/>
          </a:bodyPr>
          <a:lstStyle/>
          <a:p>
            <a:pPr algn="ctr" fontAlgn="base">
              <a:spcBef>
                <a:spcPct val="0"/>
              </a:spcBef>
              <a:spcAft>
                <a:spcPct val="0"/>
              </a:spcAft>
            </a:pPr>
            <a:r>
              <a:rPr lang="en-US" sz="1600" dirty="0" smtClean="0">
                <a:solidFill>
                  <a:srgbClr val="000000"/>
                </a:solidFill>
                <a:cs typeface="Arial" pitchFamily="34" charset="0"/>
              </a:rPr>
              <a:t>Tape for Deep Archive</a:t>
            </a:r>
            <a:endParaRPr lang="en-US" sz="1600" dirty="0">
              <a:solidFill>
                <a:srgbClr val="000000"/>
              </a:solidFill>
              <a:cs typeface="Arial" pitchFamily="34" charset="0"/>
            </a:endParaRPr>
          </a:p>
        </p:txBody>
      </p:sp>
      <p:sp>
        <p:nvSpPr>
          <p:cNvPr id="13" name="TextBox 12"/>
          <p:cNvSpPr txBox="1"/>
          <p:nvPr/>
        </p:nvSpPr>
        <p:spPr>
          <a:xfrm>
            <a:off x="600078" y="1203615"/>
            <a:ext cx="1285875" cy="369332"/>
          </a:xfrm>
          <a:prstGeom prst="rect">
            <a:avLst/>
          </a:prstGeom>
          <a:noFill/>
        </p:spPr>
        <p:txBody>
          <a:bodyPr wrap="square" rtlCol="0">
            <a:spAutoFit/>
          </a:bodyPr>
          <a:lstStyle/>
          <a:p>
            <a:pPr algn="ctr" fontAlgn="base">
              <a:spcBef>
                <a:spcPct val="0"/>
              </a:spcBef>
              <a:spcAft>
                <a:spcPct val="0"/>
              </a:spcAft>
            </a:pPr>
            <a:r>
              <a:rPr lang="en-US" dirty="0" smtClean="0">
                <a:solidFill>
                  <a:srgbClr val="000000"/>
                </a:solidFill>
                <a:cs typeface="Arial" pitchFamily="34" charset="0"/>
              </a:rPr>
              <a:t>ZFS</a:t>
            </a:r>
            <a:endParaRPr lang="en-US" dirty="0">
              <a:solidFill>
                <a:srgbClr val="000000"/>
              </a:solidFill>
              <a:cs typeface="Arial" pitchFamily="34" charset="0"/>
            </a:endParaRPr>
          </a:p>
        </p:txBody>
      </p:sp>
      <p:sp>
        <p:nvSpPr>
          <p:cNvPr id="14" name="TextBox 13"/>
          <p:cNvSpPr txBox="1"/>
          <p:nvPr/>
        </p:nvSpPr>
        <p:spPr>
          <a:xfrm>
            <a:off x="3546793" y="1173309"/>
            <a:ext cx="1285875" cy="369332"/>
          </a:xfrm>
          <a:prstGeom prst="rect">
            <a:avLst/>
          </a:prstGeom>
          <a:noFill/>
        </p:spPr>
        <p:txBody>
          <a:bodyPr wrap="square" rtlCol="0">
            <a:spAutoFit/>
          </a:bodyPr>
          <a:lstStyle/>
          <a:p>
            <a:pPr algn="ctr" fontAlgn="base">
              <a:spcBef>
                <a:spcPct val="0"/>
              </a:spcBef>
              <a:spcAft>
                <a:spcPct val="0"/>
              </a:spcAft>
            </a:pPr>
            <a:r>
              <a:rPr lang="en-US" dirty="0" smtClean="0">
                <a:solidFill>
                  <a:srgbClr val="000000"/>
                </a:solidFill>
                <a:cs typeface="Arial" pitchFamily="34" charset="0"/>
              </a:rPr>
              <a:t>Axiom</a:t>
            </a:r>
            <a:endParaRPr lang="en-US" dirty="0">
              <a:solidFill>
                <a:srgbClr val="000000"/>
              </a:solidFill>
              <a:cs typeface="Arial" pitchFamily="34" charset="0"/>
            </a:endParaRPr>
          </a:p>
        </p:txBody>
      </p:sp>
      <p:sp>
        <p:nvSpPr>
          <p:cNvPr id="15" name="TextBox 14"/>
          <p:cNvSpPr txBox="1"/>
          <p:nvPr/>
        </p:nvSpPr>
        <p:spPr>
          <a:xfrm>
            <a:off x="6819904" y="1199286"/>
            <a:ext cx="1402769" cy="369332"/>
          </a:xfrm>
          <a:prstGeom prst="rect">
            <a:avLst/>
          </a:prstGeom>
          <a:noFill/>
        </p:spPr>
        <p:txBody>
          <a:bodyPr wrap="square" rtlCol="0">
            <a:spAutoFit/>
          </a:bodyPr>
          <a:lstStyle/>
          <a:p>
            <a:pPr fontAlgn="base">
              <a:spcBef>
                <a:spcPct val="0"/>
              </a:spcBef>
              <a:spcAft>
                <a:spcPct val="0"/>
              </a:spcAft>
            </a:pPr>
            <a:r>
              <a:rPr lang="en-US" dirty="0" smtClean="0">
                <a:solidFill>
                  <a:srgbClr val="000000"/>
                </a:solidFill>
                <a:cs typeface="Arial" pitchFamily="34" charset="0"/>
              </a:rPr>
              <a:t>StorageTek</a:t>
            </a:r>
            <a:endParaRPr lang="en-US" dirty="0">
              <a:solidFill>
                <a:srgbClr val="000000"/>
              </a:solidFill>
              <a:cs typeface="Arial" pitchFamily="34" charset="0"/>
            </a:endParaRPr>
          </a:p>
        </p:txBody>
      </p:sp>
      <p:sp>
        <p:nvSpPr>
          <p:cNvPr id="16" name="Rectangle 15"/>
          <p:cNvSpPr/>
          <p:nvPr/>
        </p:nvSpPr>
        <p:spPr bwMode="auto">
          <a:xfrm>
            <a:off x="0" y="2351314"/>
            <a:ext cx="9144000" cy="972458"/>
          </a:xfrm>
          <a:prstGeom prst="rect">
            <a:avLst/>
          </a:prstGeom>
          <a:solidFill>
            <a:schemeClr val="tx2"/>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noAutofit/>
          </a:bodyPr>
          <a:lstStyle/>
          <a:p>
            <a:pPr marL="119063" indent="-119063" algn="ctr" fontAlgn="base">
              <a:lnSpc>
                <a:spcPct val="90000"/>
              </a:lnSpc>
              <a:spcBef>
                <a:spcPct val="50000"/>
              </a:spcBef>
              <a:spcAft>
                <a:spcPct val="0"/>
              </a:spcAft>
              <a:buClr>
                <a:srgbClr val="829E7E"/>
              </a:buClr>
            </a:pPr>
            <a:r>
              <a:rPr lang="en-US" sz="3600" b="1" dirty="0" smtClean="0">
                <a:solidFill>
                  <a:srgbClr val="FFFFFF"/>
                </a:solidFill>
                <a:cs typeface="Arial" pitchFamily="34" charset="0"/>
              </a:rPr>
              <a:t>APPLICATION ENGINEERED STORAGE</a:t>
            </a:r>
          </a:p>
        </p:txBody>
      </p:sp>
    </p:spTree>
    <p:extLst>
      <p:ext uri="{BB962C8B-B14F-4D97-AF65-F5344CB8AC3E}">
        <p14:creationId xmlns:p14="http://schemas.microsoft.com/office/powerpoint/2010/main" val="909245191"/>
      </p:ext>
    </p:extLst>
  </p:cSld>
  <p:clrMapOvr>
    <a:masterClrMapping/>
  </p:clrMapOvr>
  <p:transition>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7p.M_c.7EaChC4rGSn0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hm4ZA76BkmAr6WeS_Ru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CNZmE8zk61lkmS.mn2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zsEAat3Ea7mln8Jpl7Xg"/>
</p:tagLst>
</file>

<file path=ppt/theme/theme1.xml><?xml version="1.0" encoding="utf-8"?>
<a:theme xmlns:a="http://schemas.openxmlformats.org/drawingml/2006/main" name="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10.xml><?xml version="1.0" encoding="utf-8"?>
<a:theme xmlns:a="http://schemas.openxmlformats.org/drawingml/2006/main" name="16_Blank Presentation">
  <a:themeElements>
    <a:clrScheme name="Custom 18">
      <a:dk1>
        <a:srgbClr val="000000"/>
      </a:dk1>
      <a:lt1>
        <a:srgbClr val="FFFFFF"/>
      </a:lt1>
      <a:dk2>
        <a:srgbClr val="FD0000"/>
      </a:dk2>
      <a:lt2>
        <a:srgbClr val="4D4D4D"/>
      </a:lt2>
      <a:accent1>
        <a:srgbClr val="667263"/>
      </a:accent1>
      <a:accent2>
        <a:srgbClr val="C0C0C0"/>
      </a:accent2>
      <a:accent3>
        <a:srgbClr val="777777"/>
      </a:accent3>
      <a:accent4>
        <a:srgbClr val="000000"/>
      </a:accent4>
      <a:accent5>
        <a:srgbClr val="545F75"/>
      </a:accent5>
      <a:accent6>
        <a:srgbClr val="A1B1A5"/>
      </a:accent6>
      <a:hlink>
        <a:srgbClr val="4D4D4D"/>
      </a:hlink>
      <a:folHlink>
        <a:srgbClr val="667263"/>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w="9525" cap="flat" cmpd="sng" algn="ctr">
          <a:noFill/>
          <a:prstDash val="solid"/>
          <a:round/>
          <a:headEnd type="none" w="med" len="med"/>
          <a:tailEnd type="none" w="med" len="med"/>
        </a:ln>
        <a:effectLst/>
      </a:spPr>
      <a:bodyPr vert="horz" wrap="square" lIns="92075" tIns="46038" rIns="92075" bIns="46038" numCol="1" rtlCol="0" anchor="t" anchorCtr="0" compatLnSpc="1">
        <a:prstTxWarp prst="textNoShape">
          <a:avLst/>
        </a:prstTxWarp>
        <a:no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sz="2000" b="1" i="0" u="none" strike="noStrike" cap="none" normalizeH="0" baseline="0" smtClean="0">
            <a:ln>
              <a:noFill/>
            </a:ln>
            <a:solidFill>
              <a:schemeClr val="tx1"/>
            </a:solidFill>
            <a:effectLst/>
            <a:latin typeface="Arial" charset="0"/>
          </a:defRPr>
        </a:defPPr>
      </a:lstStyle>
    </a:spDef>
    <a:lnDef>
      <a:spPr bwMode="auto">
        <a:noFill/>
        <a:ln w="19050" cap="flat" cmpd="sng" algn="ctr">
          <a:solidFill>
            <a:schemeClr val="accent3"/>
          </a:solidFill>
          <a:prstDash val="solid"/>
          <a:round/>
          <a:headEnd type="none" w="med" len="med"/>
          <a:tailEnd type="none" w="med" len="med"/>
        </a:ln>
        <a:effectLst/>
      </a:spPr>
      <a:bodyPr/>
      <a:lstStyle/>
    </a:ln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Blank Presentation">
  <a:themeElements>
    <a:clrScheme name="Custom 18">
      <a:dk1>
        <a:srgbClr val="000000"/>
      </a:dk1>
      <a:lt1>
        <a:srgbClr val="FFFFFF"/>
      </a:lt1>
      <a:dk2>
        <a:srgbClr val="FD0000"/>
      </a:dk2>
      <a:lt2>
        <a:srgbClr val="4D4D4D"/>
      </a:lt2>
      <a:accent1>
        <a:srgbClr val="667263"/>
      </a:accent1>
      <a:accent2>
        <a:srgbClr val="C0C0C0"/>
      </a:accent2>
      <a:accent3>
        <a:srgbClr val="777777"/>
      </a:accent3>
      <a:accent4>
        <a:srgbClr val="000000"/>
      </a:accent4>
      <a:accent5>
        <a:srgbClr val="545F75"/>
      </a:accent5>
      <a:accent6>
        <a:srgbClr val="A1B1A5"/>
      </a:accent6>
      <a:hlink>
        <a:srgbClr val="4D4D4D"/>
      </a:hlink>
      <a:folHlink>
        <a:srgbClr val="667263"/>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w="9525" cap="flat" cmpd="sng" algn="ctr">
          <a:noFill/>
          <a:prstDash val="solid"/>
          <a:round/>
          <a:headEnd type="none" w="med" len="med"/>
          <a:tailEnd type="none" w="med" len="med"/>
        </a:ln>
        <a:effectLst/>
      </a:spPr>
      <a:bodyPr vert="horz" wrap="square" lIns="92075" tIns="46038" rIns="92075" bIns="46038" numCol="1" rtlCol="0" anchor="t" anchorCtr="0" compatLnSpc="1">
        <a:prstTxWarp prst="textNoShape">
          <a:avLst/>
        </a:prstTxWarp>
        <a:no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sz="2000" b="1" i="0" u="none" strike="noStrike" cap="none" normalizeH="0" baseline="0" smtClean="0">
            <a:ln>
              <a:noFill/>
            </a:ln>
            <a:solidFill>
              <a:schemeClr val="tx1"/>
            </a:solidFill>
            <a:effectLst/>
            <a:latin typeface="Arial" charset="0"/>
          </a:defRPr>
        </a:defPPr>
      </a:lstStyle>
    </a:spDef>
    <a:lnDef>
      <a:spPr bwMode="auto">
        <a:noFill/>
        <a:ln w="19050" cap="flat" cmpd="sng" algn="ctr">
          <a:solidFill>
            <a:schemeClr val="accent3"/>
          </a:solidFill>
          <a:prstDash val="solid"/>
          <a:round/>
          <a:headEnd type="none" w="med" len="med"/>
          <a:tailEnd type="none" w="med" len="med"/>
        </a:ln>
        <a:effectLst/>
      </a:spPr>
      <a:bodyPr/>
      <a:lstStyle/>
    </a:ln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13.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racle 2012">
      <a:dk1>
        <a:sysClr val="windowText" lastClr="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20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3.xml><?xml version="1.0" encoding="utf-8"?>
<a:theme xmlns:a="http://schemas.openxmlformats.org/drawingml/2006/main" name="21_OPN_ExchangeOOW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4.xml><?xml version="1.0" encoding="utf-8"?>
<a:theme xmlns:a="http://schemas.openxmlformats.org/drawingml/2006/main" name="15_OPN_ExchangeOOW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5.xml><?xml version="1.0" encoding="utf-8"?>
<a:theme xmlns:a="http://schemas.openxmlformats.org/drawingml/2006/main" name="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lIns="0" tIns="0" rIns="0" bIns="0" rtlCol="0" anchor="t" anchorCtr="0"/>
      <a:lstStyle>
        <a:defPPr algn="l">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6.xml><?xml version="1.0" encoding="utf-8"?>
<a:theme xmlns:a="http://schemas.openxmlformats.org/drawingml/2006/main" name="4_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7.xml><?xml version="1.0" encoding="utf-8"?>
<a:theme xmlns:a="http://schemas.openxmlformats.org/drawingml/2006/main" name="6_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8.xml><?xml version="1.0" encoding="utf-8"?>
<a:theme xmlns:a="http://schemas.openxmlformats.org/drawingml/2006/main" name="2_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9.xml><?xml version="1.0" encoding="utf-8"?>
<a:theme xmlns:a="http://schemas.openxmlformats.org/drawingml/2006/main" name="7_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Oracle_Template_16x9</Template>
  <TotalTime>22808</TotalTime>
  <Words>2550</Words>
  <Application>Microsoft Office PowerPoint</Application>
  <PresentationFormat>全屏显示(16:9)</PresentationFormat>
  <Paragraphs>522</Paragraphs>
  <Slides>24</Slides>
  <Notes>22</Notes>
  <HiddenSlides>1</HiddenSlides>
  <MMClips>0</MMClips>
  <ScaleCrop>false</ScaleCrop>
  <HeadingPairs>
    <vt:vector size="6" baseType="variant">
      <vt:variant>
        <vt:lpstr>主题</vt:lpstr>
      </vt:variant>
      <vt:variant>
        <vt:i4>13</vt:i4>
      </vt:variant>
      <vt:variant>
        <vt:lpstr>嵌入 OLE 服务器</vt:lpstr>
      </vt:variant>
      <vt:variant>
        <vt:i4>1</vt:i4>
      </vt:variant>
      <vt:variant>
        <vt:lpstr>幻灯片标题</vt:lpstr>
      </vt:variant>
      <vt:variant>
        <vt:i4>24</vt:i4>
      </vt:variant>
    </vt:vector>
  </HeadingPairs>
  <TitlesOfParts>
    <vt:vector size="38" baseType="lpstr">
      <vt:lpstr>Oracle_Template_16x9</vt:lpstr>
      <vt:lpstr>1_Oracle_Template_16x9</vt:lpstr>
      <vt:lpstr>21_OPN_ExchangeOOW_16x9</vt:lpstr>
      <vt:lpstr>15_OPN_ExchangeOOW_16x9</vt:lpstr>
      <vt:lpstr>Corporate_PPT_Template_10x5.6_v2</vt:lpstr>
      <vt:lpstr>4_Oracle_Template_16x9</vt:lpstr>
      <vt:lpstr>6_Oracle_Template_16x9</vt:lpstr>
      <vt:lpstr>2_Oracle_Template_16x9</vt:lpstr>
      <vt:lpstr>7_Oracle_Template_16x9</vt:lpstr>
      <vt:lpstr>16_Blank Presentation</vt:lpstr>
      <vt:lpstr>4_Blank Presentation</vt:lpstr>
      <vt:lpstr>9_Oracle_Template_16x9</vt:lpstr>
      <vt:lpstr>Default Theme</vt:lpstr>
      <vt:lpstr>think-cell Slide</vt:lpstr>
      <vt:lpstr>Oracle PartnerNetwork Opportunities</vt:lpstr>
      <vt:lpstr>Oracle Corporation</vt:lpstr>
      <vt:lpstr>Investment in Innovation and Integration</vt:lpstr>
      <vt:lpstr>Oracle Acquisitions</vt:lpstr>
      <vt:lpstr>Oracle Strategy</vt:lpstr>
      <vt:lpstr>Our Market Potential is Massive</vt:lpstr>
      <vt:lpstr>Oracle Engineered Systems</vt:lpstr>
      <vt:lpstr>PowerPoint 演示文稿</vt:lpstr>
      <vt:lpstr>An Application-Engineered Portfolio for Data Storage &amp; Archive</vt:lpstr>
      <vt:lpstr>Oracle Storage Saves You Time and Money</vt:lpstr>
      <vt:lpstr>Oracle Database Runs Best on Oracle Storage Only on Oracle: Hybrid Columnar Compression (HCC)</vt:lpstr>
      <vt:lpstr>Oracle PartnerNetwork Delivering Value </vt:lpstr>
      <vt:lpstr>WHY Partner with Oracle</vt:lpstr>
      <vt:lpstr>Partner Revenue Mix – Today vs. Expected 2015</vt:lpstr>
      <vt:lpstr>Oracle PartnerNetwork Ecosystem </vt:lpstr>
      <vt:lpstr>PowerPoint 演示文稿</vt:lpstr>
      <vt:lpstr>OPN Program Benefits</vt:lpstr>
      <vt:lpstr>PowerPoint 演示文稿</vt:lpstr>
      <vt:lpstr>PowerPoint 演示文稿</vt:lpstr>
      <vt:lpstr>(PS)Public Sector Channels Organization North America  Coverage and Deal Support for Partners </vt:lpstr>
      <vt:lpstr>PowerPoint 演示文稿</vt:lpstr>
      <vt:lpstr>FY15 Canada HW Channels Coverage Map</vt:lpstr>
      <vt:lpstr>PowerPoint 演示文稿</vt:lpstr>
      <vt:lpstr>声明：</vt:lpstr>
    </vt:vector>
  </TitlesOfParts>
  <Company>Oracle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Corporation</dc:title>
  <dc:creator>klassete</dc:creator>
  <cp:lastModifiedBy>Microsoft</cp:lastModifiedBy>
  <cp:revision>203</cp:revision>
  <cp:lastPrinted>2012-08-03T22:03:14Z</cp:lastPrinted>
  <dcterms:created xsi:type="dcterms:W3CDTF">2012-10-09T23:53:27Z</dcterms:created>
  <dcterms:modified xsi:type="dcterms:W3CDTF">2018-01-05T05:33:32Z</dcterms:modified>
</cp:coreProperties>
</file>